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0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1.xml" ContentType="application/vnd.openxmlformats-officedocument.drawingml.chart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2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3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4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5.xml" ContentType="application/vnd.openxmlformats-officedocument.drawingml.chart+xml"/>
  <Override PartName="/ppt/notesSlides/notesSlide2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6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3.xml" ContentType="application/vnd.openxmlformats-officedocument.presentationml.notesSlide+xml"/>
  <Override PartName="/ppt/tags/tag39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7.xml" ContentType="application/vnd.openxmlformats-officedocument.drawingml.chart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1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40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19.xml" ContentType="application/vnd.openxmlformats-officedocument.drawingml.chart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harts/chart20.xml" ContentType="application/vnd.openxmlformats-officedocument.drawingml.chart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charts/chart21.xml" ContentType="application/vnd.openxmlformats-officedocument.drawingml.chart+xml"/>
  <Override PartName="/ppt/tags/tag41.xml" ContentType="application/vnd.openxmlformats-officedocument.presentationml.tags+xml"/>
  <Override PartName="/ppt/notesSlides/notesSlide36.xml" ContentType="application/vnd.openxmlformats-officedocument.presentationml.notesSlide+xml"/>
  <Override PartName="/ppt/charts/chart22.xml" ContentType="application/vnd.openxmlformats-officedocument.drawingml.chart+xml"/>
  <Override PartName="/ppt/notesSlides/notesSlide37.xml" ContentType="application/vnd.openxmlformats-officedocument.presentationml.notesSlide+xml"/>
  <Override PartName="/ppt/charts/chart23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38.xml" ContentType="application/vnd.openxmlformats-officedocument.presentationml.notesSlide+xml"/>
  <Override PartName="/ppt/charts/chart24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39.xml" ContentType="application/vnd.openxmlformats-officedocument.presentationml.notesSlide+xml"/>
  <Override PartName="/ppt/charts/chart25.xml" ContentType="application/vnd.openxmlformats-officedocument.drawingml.chart+xml"/>
  <Override PartName="/ppt/notesSlides/notesSlide40.xml" ContentType="application/vnd.openxmlformats-officedocument.presentationml.notesSlide+xml"/>
  <Override PartName="/ppt/charts/chart2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41.xml" ContentType="application/vnd.openxmlformats-officedocument.presentationml.notesSlide+xml"/>
  <Override PartName="/ppt/charts/chart2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52"/>
  </p:notesMasterIdLst>
  <p:handoutMasterIdLst>
    <p:handoutMasterId r:id="rId53"/>
  </p:handoutMasterIdLst>
  <p:sldIdLst>
    <p:sldId id="1433" r:id="rId2"/>
    <p:sldId id="1634" r:id="rId3"/>
    <p:sldId id="1622" r:id="rId4"/>
    <p:sldId id="1654" r:id="rId5"/>
    <p:sldId id="1653" r:id="rId6"/>
    <p:sldId id="1669" r:id="rId7"/>
    <p:sldId id="1652" r:id="rId8"/>
    <p:sldId id="1715" r:id="rId9"/>
    <p:sldId id="1739" r:id="rId10"/>
    <p:sldId id="1728" r:id="rId11"/>
    <p:sldId id="1731" r:id="rId12"/>
    <p:sldId id="1740" r:id="rId13"/>
    <p:sldId id="1760" r:id="rId14"/>
    <p:sldId id="1733" r:id="rId15"/>
    <p:sldId id="1734" r:id="rId16"/>
    <p:sldId id="1710" r:id="rId17"/>
    <p:sldId id="1711" r:id="rId18"/>
    <p:sldId id="1755" r:id="rId19"/>
    <p:sldId id="1649" r:id="rId20"/>
    <p:sldId id="1656" r:id="rId21"/>
    <p:sldId id="1766" r:id="rId22"/>
    <p:sldId id="1657" r:id="rId23"/>
    <p:sldId id="1659" r:id="rId24"/>
    <p:sldId id="1660" r:id="rId25"/>
    <p:sldId id="1717" r:id="rId26"/>
    <p:sldId id="1718" r:id="rId27"/>
    <p:sldId id="1765" r:id="rId28"/>
    <p:sldId id="1720" r:id="rId29"/>
    <p:sldId id="1650" r:id="rId30"/>
    <p:sldId id="1644" r:id="rId31"/>
    <p:sldId id="1693" r:id="rId32"/>
    <p:sldId id="1749" r:id="rId33"/>
    <p:sldId id="1750" r:id="rId34"/>
    <p:sldId id="1751" r:id="rId35"/>
    <p:sldId id="1721" r:id="rId36"/>
    <p:sldId id="1761" r:id="rId37"/>
    <p:sldId id="1722" r:id="rId38"/>
    <p:sldId id="1663" r:id="rId39"/>
    <p:sldId id="1767" r:id="rId40"/>
    <p:sldId id="1745" r:id="rId41"/>
    <p:sldId id="1753" r:id="rId42"/>
    <p:sldId id="1754" r:id="rId43"/>
    <p:sldId id="1664" r:id="rId44"/>
    <p:sldId id="1665" r:id="rId45"/>
    <p:sldId id="1666" r:id="rId46"/>
    <p:sldId id="1735" r:id="rId47"/>
    <p:sldId id="1762" r:id="rId48"/>
    <p:sldId id="1763" r:id="rId49"/>
    <p:sldId id="1764" r:id="rId50"/>
    <p:sldId id="1697" r:id="rId51"/>
  </p:sldIdLst>
  <p:sldSz cx="12192000" cy="6858000"/>
  <p:notesSz cx="6761163" cy="9942513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pos="2026" userDrawn="1">
          <p15:clr>
            <a:srgbClr val="A4A3A4"/>
          </p15:clr>
        </p15:guide>
        <p15:guide id="6" orient="horz" pos="4065" userDrawn="1">
          <p15:clr>
            <a:srgbClr val="A4A3A4"/>
          </p15:clr>
        </p15:guide>
        <p15:guide id="7" pos="56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291E"/>
    <a:srgbClr val="2599B8"/>
    <a:srgbClr val="A4A3A4"/>
    <a:srgbClr val="009EBE"/>
    <a:srgbClr val="3A2B2E"/>
    <a:srgbClr val="184735"/>
    <a:srgbClr val="B3A643"/>
    <a:srgbClr val="2B8041"/>
    <a:srgbClr val="11432F"/>
    <a:srgbClr val="3D2E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088" autoAdjust="0"/>
    <p:restoredTop sz="94434" autoAdjust="0"/>
  </p:normalViewPr>
  <p:slideViewPr>
    <p:cSldViewPr snapToGrid="0">
      <p:cViewPr varScale="1">
        <p:scale>
          <a:sx n="104" d="100"/>
          <a:sy n="104" d="100"/>
        </p:scale>
        <p:origin x="120" y="306"/>
      </p:cViewPr>
      <p:guideLst>
        <p:guide orient="horz" pos="2160"/>
        <p:guide pos="3840"/>
        <p:guide pos="211"/>
        <p:guide pos="7469"/>
        <p:guide pos="2026"/>
        <p:guide orient="horz" pos="4065"/>
        <p:guide pos="56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4" d="100"/>
          <a:sy n="64" d="100"/>
        </p:scale>
        <p:origin x="3115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1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2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3.xlsx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4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5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6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095179798416017"/>
          <c:y val="7.7089642507129547E-2"/>
          <c:w val="0.42214021037532878"/>
          <c:h val="0.845820714985740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40 a más años</c:v>
                </c:pt>
                <c:pt idx="1">
                  <c:v>25 a 39 años</c:v>
                </c:pt>
                <c:pt idx="2">
                  <c:v>18 a 24 años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44</c:v>
                </c:pt>
                <c:pt idx="1">
                  <c:v>0.37</c:v>
                </c:pt>
                <c:pt idx="2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852-491F-A3A6-EAD8ACE722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652629888"/>
        <c:axId val="-652629344"/>
      </c:barChart>
      <c:catAx>
        <c:axId val="-6526298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652629344"/>
        <c:crosses val="autoZero"/>
        <c:auto val="1"/>
        <c:lblAlgn val="ctr"/>
        <c:lblOffset val="100"/>
        <c:noMultiLvlLbl val="0"/>
      </c:catAx>
      <c:valAx>
        <c:axId val="-652629344"/>
        <c:scaling>
          <c:orientation val="minMax"/>
          <c:max val="0.5"/>
        </c:scaling>
        <c:delete val="1"/>
        <c:axPos val="b"/>
        <c:numFmt formatCode="0%" sourceLinked="1"/>
        <c:majorTickMark val="out"/>
        <c:minorTickMark val="none"/>
        <c:tickLblPos val="nextTo"/>
        <c:crossAx val="-652629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160514541387051E-2"/>
          <c:y val="6.834887334887337E-3"/>
          <c:w val="0.65360587609697873"/>
          <c:h val="0.969123833757421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rgbClr val="938518"/>
            </a:solidFill>
          </c:spPr>
          <c:invertIfNegative val="1"/>
          <c:dPt>
            <c:idx val="16"/>
            <c:invertIfNegative val="1"/>
            <c:bubble3D val="0"/>
            <c:spPr>
              <a:solidFill>
                <a:schemeClr val="accent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1</c:f>
              <c:strCache>
                <c:ptCount val="10"/>
                <c:pt idx="0">
                  <c:v>Pedir un favor sexual a cambio de un trámite o servicio</c:v>
                </c:pt>
                <c:pt idx="1">
                  <c:v>Que un magistrado supremo influya en las decisiones de jueces o fiscales de menor jerarquía para favorecer a sus allegados</c:v>
                </c:pt>
                <c:pt idx="2">
                  <c:v>Que un parlamentario promueva leyes a favor de quienes financiaron su campaña política</c:v>
                </c:pt>
                <c:pt idx="3">
                  <c:v>Que una autoridad elegida entregue contratos de grandes obras públicas a empresarios que financiaron su campaña</c:v>
                </c:pt>
                <c:pt idx="4">
                  <c:v>Que una autoridad elegida coloque a simpatizantes poco calificados en puestos clave</c:v>
                </c:pt>
                <c:pt idx="5">
                  <c:v>Evadir impuestos si sabe que no lo descubrirán</c:v>
                </c:pt>
                <c:pt idx="6">
                  <c:v>Dar bienes o pagar una “propina” para que le perdonen una multa o para agilizar un trámite o servicio público</c:v>
                </c:pt>
                <c:pt idx="7">
                  <c:v>Buscar un pariente o amigo que es funcionario público para que lo favorezca en un servicio</c:v>
                </c:pt>
                <c:pt idx="8">
                  <c:v>Comprar productos piratas o instalar servicios piratas (cable, Internet, etc.)</c:v>
                </c:pt>
                <c:pt idx="9">
                  <c:v>No pedir factura para evitar el IGV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0">
                  <c:v>0.33100000000000002</c:v>
                </c:pt>
                <c:pt idx="1">
                  <c:v>0.29600000000000004</c:v>
                </c:pt>
                <c:pt idx="2">
                  <c:v>0.28699999999999998</c:v>
                </c:pt>
                <c:pt idx="3">
                  <c:v>0.28499999999999998</c:v>
                </c:pt>
                <c:pt idx="4">
                  <c:v>0.27100000000000002</c:v>
                </c:pt>
                <c:pt idx="5">
                  <c:v>0.26899999999999996</c:v>
                </c:pt>
                <c:pt idx="6">
                  <c:v>0.26600000000000001</c:v>
                </c:pt>
                <c:pt idx="7">
                  <c:v>0.247</c:v>
                </c:pt>
                <c:pt idx="8">
                  <c:v>0.22500000000000001</c:v>
                </c:pt>
                <c:pt idx="9">
                  <c:v>0.216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5"/>
        <c:axId val="-563304144"/>
        <c:axId val="-563307408"/>
      </c:barChart>
      <c:catAx>
        <c:axId val="-56330414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one"/>
        <c:crossAx val="-563307408"/>
        <c:crosses val="autoZero"/>
        <c:auto val="1"/>
        <c:lblAlgn val="ctr"/>
        <c:lblOffset val="100"/>
        <c:noMultiLvlLbl val="0"/>
      </c:catAx>
      <c:valAx>
        <c:axId val="-56330740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one"/>
        <c:crossAx val="-5633041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93803418803418"/>
          <c:y val="8.3994708994708997E-3"/>
          <c:w val="0.79412393162393158"/>
          <c:h val="0.9832010582010581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65A-4ACB-BD7E-EF22BDA2A140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65A-4ACB-BD7E-EF22BDA2A140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82</c:v>
                </c:pt>
                <c:pt idx="1">
                  <c:v>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65A-4ACB-BD7E-EF22BDA2A1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803732195588E-2"/>
          <c:y val="6.834887334887337E-3"/>
          <c:w val="0.63363361754083924"/>
          <c:h val="0.969123833757421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rgbClr val="6FCAE2"/>
            </a:solidFill>
          </c:spPr>
          <c:invertIfNegative val="1"/>
          <c:dPt>
            <c:idx val="2"/>
            <c:invertIfNegative val="1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B48-483F-BB22-64C0F1BF2BF3}"/>
              </c:ext>
            </c:extLst>
          </c:dPt>
          <c:dPt>
            <c:idx val="4"/>
            <c:invertIfNegative val="1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B48-483F-BB22-64C0F1BF2BF3}"/>
              </c:ext>
            </c:extLst>
          </c:dPt>
          <c:dPt>
            <c:idx val="5"/>
            <c:invertIfNegative val="1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B48-483F-BB22-64C0F1BF2BF3}"/>
              </c:ext>
            </c:extLst>
          </c:dPt>
          <c:dPt>
            <c:idx val="6"/>
            <c:invertIfNegative val="1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B48-483F-BB22-64C0F1BF2BF3}"/>
              </c:ext>
            </c:extLst>
          </c:dPt>
          <c:dPt>
            <c:idx val="9"/>
            <c:invertIfNegative val="1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4B48-483F-BB22-64C0F1BF2BF3}"/>
              </c:ext>
            </c:extLst>
          </c:dPt>
          <c:dPt>
            <c:idx val="10"/>
            <c:invertIfNegative val="1"/>
            <c:bubble3D val="0"/>
            <c:spPr>
              <a:solidFill>
                <a:schemeClr val="accent1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4B48-483F-BB22-64C0F1BF2BF3}"/>
              </c:ext>
            </c:extLst>
          </c:dPt>
          <c:dPt>
            <c:idx val="16"/>
            <c:invertIfNegative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6</c:f>
              <c:strCache>
                <c:ptCount val="15"/>
                <c:pt idx="0">
                  <c:v>Total nacional</c:v>
                </c:pt>
                <c:pt idx="1">
                  <c:v>Lima</c:v>
                </c:pt>
                <c:pt idx="2">
                  <c:v>Interior</c:v>
                </c:pt>
                <c:pt idx="3">
                  <c:v>Norte</c:v>
                </c:pt>
                <c:pt idx="4">
                  <c:v>Centro </c:v>
                </c:pt>
                <c:pt idx="5">
                  <c:v>Sur </c:v>
                </c:pt>
                <c:pt idx="6">
                  <c:v>Oriente</c:v>
                </c:pt>
                <c:pt idx="7">
                  <c:v>NSE A/B</c:v>
                </c:pt>
                <c:pt idx="8">
                  <c:v>NSE C</c:v>
                </c:pt>
                <c:pt idx="9">
                  <c:v>NSE D/E</c:v>
                </c:pt>
                <c:pt idx="10">
                  <c:v>Hombre </c:v>
                </c:pt>
                <c:pt idx="11">
                  <c:v>Mujer</c:v>
                </c:pt>
                <c:pt idx="12">
                  <c:v>18-24 años</c:v>
                </c:pt>
                <c:pt idx="13">
                  <c:v>25-39 años</c:v>
                </c:pt>
                <c:pt idx="14">
                  <c:v>40 a más </c:v>
                </c:pt>
              </c:strCache>
            </c:strRef>
          </c:cat>
          <c:val>
            <c:numRef>
              <c:f>Hoja1!$B$2:$B$16</c:f>
              <c:numCache>
                <c:formatCode>0%</c:formatCode>
                <c:ptCount val="15"/>
                <c:pt idx="0">
                  <c:v>0.13300000000000001</c:v>
                </c:pt>
                <c:pt idx="1">
                  <c:v>0.10199999999999999</c:v>
                </c:pt>
                <c:pt idx="2">
                  <c:v>0.157</c:v>
                </c:pt>
                <c:pt idx="3">
                  <c:v>0.13600000000000001</c:v>
                </c:pt>
                <c:pt idx="4">
                  <c:v>0.17499999999999999</c:v>
                </c:pt>
                <c:pt idx="5">
                  <c:v>0.16500000000000001</c:v>
                </c:pt>
                <c:pt idx="6">
                  <c:v>0.17399999999999999</c:v>
                </c:pt>
                <c:pt idx="7">
                  <c:v>9.5000000000000001E-2</c:v>
                </c:pt>
                <c:pt idx="8">
                  <c:v>0.114</c:v>
                </c:pt>
                <c:pt idx="9">
                  <c:v>0.16699999999999998</c:v>
                </c:pt>
                <c:pt idx="10">
                  <c:v>0.156</c:v>
                </c:pt>
                <c:pt idx="11">
                  <c:v>0.11</c:v>
                </c:pt>
                <c:pt idx="12">
                  <c:v>0.14199999999999999</c:v>
                </c:pt>
                <c:pt idx="13">
                  <c:v>0.13100000000000001</c:v>
                </c:pt>
                <c:pt idx="14">
                  <c:v>0.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5"/>
        <c:axId val="-563300336"/>
        <c:axId val="-563298160"/>
      </c:barChart>
      <c:catAx>
        <c:axId val="-563300336"/>
        <c:scaling>
          <c:orientation val="maxMin"/>
        </c:scaling>
        <c:delete val="0"/>
        <c:axPos val="r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>
                <a:latin typeface="Corbel" panose="020B0503020204020204" pitchFamily="34" charset="0"/>
              </a:defRPr>
            </a:pPr>
            <a:endParaRPr lang="es-PE"/>
          </a:p>
        </c:txPr>
        <c:crossAx val="-563298160"/>
        <c:crosses val="autoZero"/>
        <c:auto val="1"/>
        <c:lblAlgn val="ctr"/>
        <c:lblOffset val="100"/>
        <c:noMultiLvlLbl val="0"/>
      </c:catAx>
      <c:valAx>
        <c:axId val="-563298160"/>
        <c:scaling>
          <c:orientation val="maxMin"/>
        </c:scaling>
        <c:delete val="1"/>
        <c:axPos val="t"/>
        <c:numFmt formatCode="0%" sourceLinked="1"/>
        <c:majorTickMark val="out"/>
        <c:minorTickMark val="none"/>
        <c:tickLblPos val="nextTo"/>
        <c:crossAx val="-5633003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294785793288328E-2"/>
          <c:y val="0.27513134207237244"/>
          <c:w val="0.91154559916235323"/>
          <c:h val="0.552474633691952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08</c:v>
                </c:pt>
              </c:strCache>
            </c:strRef>
          </c:tx>
          <c:invertIfNegative val="0"/>
          <c:dPt>
            <c:idx val="16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5</c:f>
              <c:strCache>
                <c:ptCount val="4"/>
                <c:pt idx="0">
                  <c:v>Porque si uno no paga las cosas no funcionan</c:v>
                </c:pt>
                <c:pt idx="1">
                  <c:v>Para evitar sanciones mayores</c:v>
                </c:pt>
                <c:pt idx="2">
                  <c:v>Todos lo hacen / Es como una costumbre</c:v>
                </c:pt>
                <c:pt idx="3">
                  <c:v>Los funcionarios ganan poco y así les ayudamos</c:v>
                </c:pt>
              </c:strCache>
            </c:strRef>
          </c:cat>
          <c:val>
            <c:numRef>
              <c:f>Hoja1!$B$2:$B$5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0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5</c:f>
              <c:strCache>
                <c:ptCount val="4"/>
                <c:pt idx="0">
                  <c:v>Porque si uno no paga las cosas no funcionan</c:v>
                </c:pt>
                <c:pt idx="1">
                  <c:v>Para evitar sanciones mayores</c:v>
                </c:pt>
                <c:pt idx="2">
                  <c:v>Todos lo hacen / Es como una costumbre</c:v>
                </c:pt>
                <c:pt idx="3">
                  <c:v>Los funcionarios ganan poco y así les ayudamos</c:v>
                </c:pt>
              </c:strCache>
            </c:strRef>
          </c:cat>
          <c:val>
            <c:numRef>
              <c:f>Hoja1!$C$2:$C$5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290-4C3E-9A27-37E7EA5FF692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5</c:f>
              <c:strCache>
                <c:ptCount val="4"/>
                <c:pt idx="0">
                  <c:v>Porque si uno no paga las cosas no funcionan</c:v>
                </c:pt>
                <c:pt idx="1">
                  <c:v>Para evitar sanciones mayores</c:v>
                </c:pt>
                <c:pt idx="2">
                  <c:v>Todos lo hacen / Es como una costumbre</c:v>
                </c:pt>
                <c:pt idx="3">
                  <c:v>Los funcionarios ganan poco y así les ayudamos</c:v>
                </c:pt>
              </c:strCache>
            </c:strRef>
          </c:cat>
          <c:val>
            <c:numRef>
              <c:f>Hoja1!$D$2:$D$5</c:f>
              <c:numCache>
                <c:formatCode>0%</c:formatCode>
                <c:ptCount val="4"/>
                <c:pt idx="0">
                  <c:v>0.44</c:v>
                </c:pt>
                <c:pt idx="1">
                  <c:v>0.5</c:v>
                </c:pt>
                <c:pt idx="2">
                  <c:v>0.1</c:v>
                </c:pt>
                <c:pt idx="3">
                  <c:v>0.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290-4C3E-9A27-37E7EA5FF692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5</c:f>
              <c:strCache>
                <c:ptCount val="4"/>
                <c:pt idx="0">
                  <c:v>Porque si uno no paga las cosas no funcionan</c:v>
                </c:pt>
                <c:pt idx="1">
                  <c:v>Para evitar sanciones mayores</c:v>
                </c:pt>
                <c:pt idx="2">
                  <c:v>Todos lo hacen / Es como una costumbre</c:v>
                </c:pt>
                <c:pt idx="3">
                  <c:v>Los funcionarios ganan poco y así les ayudamos</c:v>
                </c:pt>
              </c:strCache>
            </c:strRef>
          </c:cat>
          <c:val>
            <c:numRef>
              <c:f>Hoja1!$E$2:$E$5</c:f>
              <c:numCache>
                <c:formatCode>0%</c:formatCode>
                <c:ptCount val="4"/>
                <c:pt idx="0">
                  <c:v>0.37</c:v>
                </c:pt>
                <c:pt idx="1">
                  <c:v>0.52</c:v>
                </c:pt>
                <c:pt idx="2">
                  <c:v>0.12</c:v>
                </c:pt>
                <c:pt idx="3">
                  <c:v>0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290-4C3E-9A27-37E7EA5FF692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5</c:f>
              <c:strCache>
                <c:ptCount val="4"/>
                <c:pt idx="0">
                  <c:v>Porque si uno no paga las cosas no funcionan</c:v>
                </c:pt>
                <c:pt idx="1">
                  <c:v>Para evitar sanciones mayores</c:v>
                </c:pt>
                <c:pt idx="2">
                  <c:v>Todos lo hacen / Es como una costumbre</c:v>
                </c:pt>
                <c:pt idx="3">
                  <c:v>Los funcionarios ganan poco y así les ayudamos</c:v>
                </c:pt>
              </c:strCache>
            </c:strRef>
          </c:cat>
          <c:val>
            <c:numRef>
              <c:f>Hoja1!$F$2:$F$5</c:f>
              <c:numCache>
                <c:formatCode>0%</c:formatCode>
                <c:ptCount val="4"/>
                <c:pt idx="0">
                  <c:v>0.45</c:v>
                </c:pt>
                <c:pt idx="1">
                  <c:v>0.41</c:v>
                </c:pt>
                <c:pt idx="2">
                  <c:v>0.2</c:v>
                </c:pt>
                <c:pt idx="3">
                  <c:v>0.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C290-4C3E-9A27-37E7EA5FF692}"/>
            </c:ext>
          </c:extLst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5</c:f>
              <c:strCache>
                <c:ptCount val="4"/>
                <c:pt idx="0">
                  <c:v>Porque si uno no paga las cosas no funcionan</c:v>
                </c:pt>
                <c:pt idx="1">
                  <c:v>Para evitar sanciones mayores</c:v>
                </c:pt>
                <c:pt idx="2">
                  <c:v>Todos lo hacen / Es como una costumbre</c:v>
                </c:pt>
                <c:pt idx="3">
                  <c:v>Los funcionarios ganan poco y así les ayudamos</c:v>
                </c:pt>
              </c:strCache>
            </c:strRef>
          </c:cat>
          <c:val>
            <c:numRef>
              <c:f>Hoja1!$G$2:$G$5</c:f>
              <c:numCache>
                <c:formatCode>0%</c:formatCode>
                <c:ptCount val="4"/>
                <c:pt idx="0">
                  <c:v>0.501</c:v>
                </c:pt>
                <c:pt idx="1">
                  <c:v>0.371</c:v>
                </c:pt>
                <c:pt idx="2">
                  <c:v>0.17600000000000002</c:v>
                </c:pt>
                <c:pt idx="3">
                  <c:v>0.1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C290-4C3E-9A27-37E7EA5FF6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-563299792"/>
        <c:axId val="-563298704"/>
      </c:barChart>
      <c:catAx>
        <c:axId val="-5632997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Corbel" panose="020B0503020204020204" pitchFamily="34" charset="0"/>
              </a:defRPr>
            </a:pPr>
            <a:endParaRPr lang="es-PE"/>
          </a:p>
        </c:txPr>
        <c:crossAx val="-563298704"/>
        <c:crosses val="autoZero"/>
        <c:auto val="1"/>
        <c:lblAlgn val="ctr"/>
        <c:lblOffset val="100"/>
        <c:noMultiLvlLbl val="0"/>
      </c:catAx>
      <c:valAx>
        <c:axId val="-56329870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563299792"/>
        <c:crosses val="autoZero"/>
        <c:crossBetween val="between"/>
      </c:valAx>
    </c:plotArea>
    <c:legend>
      <c:legendPos val="l"/>
      <c:layout>
        <c:manualLayout>
          <c:xMode val="edge"/>
          <c:yMode val="edge"/>
          <c:x val="7.599059248523822E-2"/>
          <c:y val="0.13189203255641002"/>
          <c:w val="0.90465626017468748"/>
          <c:h val="7.6351778134877618E-2"/>
        </c:manualLayout>
      </c:layout>
      <c:overlay val="0"/>
      <c:txPr>
        <a:bodyPr/>
        <a:lstStyle/>
        <a:p>
          <a:pPr>
            <a:defRPr>
              <a:latin typeface="Corbel" panose="020B0503020204020204" pitchFamily="34" charset="0"/>
            </a:defRPr>
          </a:pPr>
          <a:endParaRPr lang="es-P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93803418803418"/>
          <c:y val="8.3994708994708997E-3"/>
          <c:w val="0.79412393162393158"/>
          <c:h val="0.98320105820105819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E04-4EE4-992F-042C5EB185F8}"/>
              </c:ext>
            </c:extLst>
          </c:dPt>
          <c:dPt>
            <c:idx val="1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E04-4EE4-992F-042C5EB185F8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91</c:v>
                </c:pt>
                <c:pt idx="1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E04-4EE4-992F-042C5EB185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803732195588E-2"/>
          <c:y val="6.834887334887337E-3"/>
          <c:w val="0.63363361754083924"/>
          <c:h val="0.969123833757421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rgbClr val="8DB795"/>
            </a:solidFill>
          </c:spPr>
          <c:invertIfNegative val="1"/>
          <c:dPt>
            <c:idx val="2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BCD-473C-92BB-B1FACADBE64D}"/>
              </c:ext>
            </c:extLst>
          </c:dPt>
          <c:dPt>
            <c:idx val="3"/>
            <c:invertIfNegative val="1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BCD-473C-92BB-B1FACADBE64D}"/>
              </c:ext>
            </c:extLst>
          </c:dPt>
          <c:dPt>
            <c:idx val="4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BCD-473C-92BB-B1FACADBE64D}"/>
              </c:ext>
            </c:extLst>
          </c:dPt>
          <c:dPt>
            <c:idx val="5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BCD-473C-92BB-B1FACADBE64D}"/>
              </c:ext>
            </c:extLst>
          </c:dPt>
          <c:dPt>
            <c:idx val="7"/>
            <c:invertIfNegative val="1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BCD-473C-92BB-B1FACADBE64D}"/>
              </c:ext>
            </c:extLst>
          </c:dPt>
          <c:dPt>
            <c:idx val="10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BCD-473C-92BB-B1FACADBE64D}"/>
              </c:ext>
            </c:extLst>
          </c:dPt>
          <c:dPt>
            <c:idx val="11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BCD-473C-92BB-B1FACADBE64D}"/>
              </c:ext>
            </c:extLst>
          </c:dPt>
          <c:dPt>
            <c:idx val="12"/>
            <c:invertIfNegative val="1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CBCD-473C-92BB-B1FACADBE64D}"/>
              </c:ext>
            </c:extLst>
          </c:dPt>
          <c:dPt>
            <c:idx val="16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7</c:f>
              <c:strCache>
                <c:ptCount val="16"/>
                <c:pt idx="0">
                  <c:v>Total nacional</c:v>
                </c:pt>
                <c:pt idx="1">
                  <c:v>Lima</c:v>
                </c:pt>
                <c:pt idx="2">
                  <c:v>Costa Norte</c:v>
                </c:pt>
                <c:pt idx="3">
                  <c:v>Costa Sur</c:v>
                </c:pt>
                <c:pt idx="4">
                  <c:v>Sierra Norte</c:v>
                </c:pt>
                <c:pt idx="5">
                  <c:v>Sierrra Centro</c:v>
                </c:pt>
                <c:pt idx="6">
                  <c:v>Sierra Sur</c:v>
                </c:pt>
                <c:pt idx="7">
                  <c:v>Oriente</c:v>
                </c:pt>
                <c:pt idx="8">
                  <c:v>NSE A/B</c:v>
                </c:pt>
                <c:pt idx="9">
                  <c:v>NSE C</c:v>
                </c:pt>
                <c:pt idx="10">
                  <c:v>NSE D/E</c:v>
                </c:pt>
                <c:pt idx="11">
                  <c:v>Nivel básico</c:v>
                </c:pt>
                <c:pt idx="12">
                  <c:v>Nivel superior</c:v>
                </c:pt>
                <c:pt idx="13">
                  <c:v>18-24 años</c:v>
                </c:pt>
                <c:pt idx="14">
                  <c:v>25-39 años</c:v>
                </c:pt>
                <c:pt idx="15">
                  <c:v>40 a más </c:v>
                </c:pt>
              </c:strCache>
            </c:strRef>
          </c:cat>
          <c:val>
            <c:numRef>
              <c:f>Hoja1!$B$2:$B$17</c:f>
              <c:numCache>
                <c:formatCode>0%</c:formatCode>
                <c:ptCount val="16"/>
                <c:pt idx="0">
                  <c:v>0.58499999999999996</c:v>
                </c:pt>
                <c:pt idx="1">
                  <c:v>0.56999999999999995</c:v>
                </c:pt>
                <c:pt idx="2">
                  <c:v>0.61399999999999999</c:v>
                </c:pt>
                <c:pt idx="3">
                  <c:v>0.69699999999999995</c:v>
                </c:pt>
                <c:pt idx="4">
                  <c:v>0.57599999999999996</c:v>
                </c:pt>
                <c:pt idx="5">
                  <c:v>0.441</c:v>
                </c:pt>
                <c:pt idx="6">
                  <c:v>0.46600000000000003</c:v>
                </c:pt>
                <c:pt idx="7">
                  <c:v>0.69599999999999995</c:v>
                </c:pt>
                <c:pt idx="8">
                  <c:v>0.63100000000000001</c:v>
                </c:pt>
                <c:pt idx="9">
                  <c:v>0.57600000000000007</c:v>
                </c:pt>
                <c:pt idx="10">
                  <c:v>0.56999999999999995</c:v>
                </c:pt>
                <c:pt idx="11">
                  <c:v>0.55000000000000004</c:v>
                </c:pt>
                <c:pt idx="12">
                  <c:v>0.64</c:v>
                </c:pt>
                <c:pt idx="13">
                  <c:v>0.53</c:v>
                </c:pt>
                <c:pt idx="14">
                  <c:v>0.57200000000000006</c:v>
                </c:pt>
                <c:pt idx="15">
                  <c:v>0.6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5"/>
        <c:axId val="-563311216"/>
        <c:axId val="-563312848"/>
      </c:barChart>
      <c:catAx>
        <c:axId val="-563311216"/>
        <c:scaling>
          <c:orientation val="maxMin"/>
        </c:scaling>
        <c:delete val="0"/>
        <c:axPos val="r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Corbel" panose="020B0503020204020204" pitchFamily="34" charset="0"/>
              </a:defRPr>
            </a:pPr>
            <a:endParaRPr lang="es-PE"/>
          </a:p>
        </c:txPr>
        <c:crossAx val="-563312848"/>
        <c:crosses val="autoZero"/>
        <c:auto val="1"/>
        <c:lblAlgn val="ctr"/>
        <c:lblOffset val="100"/>
        <c:noMultiLvlLbl val="0"/>
      </c:catAx>
      <c:valAx>
        <c:axId val="-563312848"/>
        <c:scaling>
          <c:orientation val="maxMin"/>
        </c:scaling>
        <c:delete val="1"/>
        <c:axPos val="t"/>
        <c:numFmt formatCode="0%" sourceLinked="1"/>
        <c:majorTickMark val="out"/>
        <c:minorTickMark val="none"/>
        <c:tickLblPos val="nextTo"/>
        <c:crossAx val="-5633112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5803732195588E-2"/>
          <c:y val="6.834887334887337E-3"/>
          <c:w val="0.63363361754083924"/>
          <c:h val="0.969123833757421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rgbClr val="8DB795"/>
            </a:solidFill>
          </c:spPr>
          <c:invertIfNegative val="1"/>
          <c:dPt>
            <c:idx val="2"/>
            <c:invertIfNegative val="1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3E4-4C8E-9F7E-9612C2E71A58}"/>
              </c:ext>
            </c:extLst>
          </c:dPt>
          <c:dPt>
            <c:idx val="3"/>
            <c:invertIfNegative val="1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3E4-4C8E-9F7E-9612C2E71A58}"/>
              </c:ext>
            </c:extLst>
          </c:dPt>
          <c:dPt>
            <c:idx val="5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3E4-4C8E-9F7E-9612C2E71A58}"/>
              </c:ext>
            </c:extLst>
          </c:dPt>
          <c:dPt>
            <c:idx val="6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3E4-4C8E-9F7E-9612C2E71A58}"/>
              </c:ext>
            </c:extLst>
          </c:dPt>
          <c:dPt>
            <c:idx val="9"/>
            <c:invertIfNegative val="1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3E4-4C8E-9F7E-9612C2E71A58}"/>
              </c:ext>
            </c:extLst>
          </c:dPt>
          <c:dPt>
            <c:idx val="10"/>
            <c:invertIfNegative val="1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3E4-4C8E-9F7E-9612C2E71A58}"/>
              </c:ext>
            </c:extLst>
          </c:dPt>
          <c:dPt>
            <c:idx val="16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4</c:f>
              <c:strCache>
                <c:ptCount val="13"/>
                <c:pt idx="0">
                  <c:v>Total nacional</c:v>
                </c:pt>
                <c:pt idx="1">
                  <c:v>Lima</c:v>
                </c:pt>
                <c:pt idx="2">
                  <c:v>Interior</c:v>
                </c:pt>
                <c:pt idx="3">
                  <c:v>NSE A/B</c:v>
                </c:pt>
                <c:pt idx="4">
                  <c:v>NSE C</c:v>
                </c:pt>
                <c:pt idx="5">
                  <c:v>NSE D/E</c:v>
                </c:pt>
                <c:pt idx="6">
                  <c:v>Hombre </c:v>
                </c:pt>
                <c:pt idx="7">
                  <c:v>Mujer</c:v>
                </c:pt>
                <c:pt idx="8">
                  <c:v>Educación básica</c:v>
                </c:pt>
                <c:pt idx="9">
                  <c:v>Educación superior</c:v>
                </c:pt>
                <c:pt idx="10">
                  <c:v>18-24 años</c:v>
                </c:pt>
                <c:pt idx="11">
                  <c:v>25-39 años</c:v>
                </c:pt>
                <c:pt idx="12">
                  <c:v>40 a más </c:v>
                </c:pt>
              </c:strCache>
            </c:strRef>
          </c:cat>
          <c:val>
            <c:numRef>
              <c:f>Hoja1!$B$2:$B$14</c:f>
              <c:numCache>
                <c:formatCode>0%</c:formatCode>
                <c:ptCount val="13"/>
                <c:pt idx="0">
                  <c:v>9.8000000000000004E-2</c:v>
                </c:pt>
                <c:pt idx="1">
                  <c:v>7.400000000000001E-2</c:v>
                </c:pt>
                <c:pt idx="2">
                  <c:v>0.11599999999999999</c:v>
                </c:pt>
                <c:pt idx="3">
                  <c:v>0.122</c:v>
                </c:pt>
                <c:pt idx="4">
                  <c:v>7.4999999999999997E-2</c:v>
                </c:pt>
                <c:pt idx="5">
                  <c:v>0.10400000000000001</c:v>
                </c:pt>
                <c:pt idx="6">
                  <c:v>9.6000000000000002E-2</c:v>
                </c:pt>
                <c:pt idx="7">
                  <c:v>9.9000000000000005E-2</c:v>
                </c:pt>
                <c:pt idx="8">
                  <c:v>0.08</c:v>
                </c:pt>
                <c:pt idx="9">
                  <c:v>0.13</c:v>
                </c:pt>
                <c:pt idx="10">
                  <c:v>0.13</c:v>
                </c:pt>
                <c:pt idx="11">
                  <c:v>0.10199999999999999</c:v>
                </c:pt>
                <c:pt idx="12">
                  <c:v>0.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5"/>
        <c:axId val="-563307952"/>
        <c:axId val="-563305232"/>
      </c:barChart>
      <c:catAx>
        <c:axId val="-563307952"/>
        <c:scaling>
          <c:orientation val="maxMin"/>
        </c:scaling>
        <c:delete val="0"/>
        <c:axPos val="r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>
                <a:latin typeface="Corbel" panose="020B0503020204020204" pitchFamily="34" charset="0"/>
              </a:defRPr>
            </a:pPr>
            <a:endParaRPr lang="es-PE"/>
          </a:p>
        </c:txPr>
        <c:crossAx val="-563305232"/>
        <c:crosses val="autoZero"/>
        <c:auto val="1"/>
        <c:lblAlgn val="ctr"/>
        <c:lblOffset val="100"/>
        <c:noMultiLvlLbl val="0"/>
      </c:catAx>
      <c:valAx>
        <c:axId val="-563305232"/>
        <c:scaling>
          <c:orientation val="maxMin"/>
        </c:scaling>
        <c:delete val="1"/>
        <c:axPos val="t"/>
        <c:numFmt formatCode="0%" sourceLinked="1"/>
        <c:majorTickMark val="out"/>
        <c:minorTickMark val="none"/>
        <c:tickLblPos val="nextTo"/>
        <c:crossAx val="-5633079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643890096867542"/>
          <c:y val="0.16746823072506598"/>
          <c:w val="0.33344112558922023"/>
          <c:h val="0.83253176927493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2700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tx2"/>
              </a:solidFill>
              <a:ln w="1270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823-40B3-99A1-A28C0E85C445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270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823-40B3-99A1-A28C0E85C445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4823-40B3-99A1-A28C0E85C445}"/>
              </c:ext>
            </c:extLst>
          </c:dPt>
          <c:dLbls>
            <c:dLbl>
              <c:idx val="0"/>
              <c:layout>
                <c:manualLayout>
                  <c:x val="-3.5816630478628387E-4"/>
                  <c:y val="-1.7801486634302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823-40B3-99A1-A28C0E85C445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Corbel" panose="020B0503020204020204" pitchFamily="34" charset="0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chemeClr val="bg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í</c:v>
                </c:pt>
                <c:pt idx="1">
                  <c:v>No</c:v>
                </c:pt>
                <c:pt idx="2">
                  <c:v>No precisa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51</c:v>
                </c:pt>
                <c:pt idx="1">
                  <c:v>0.57600000000000007</c:v>
                </c:pt>
                <c:pt idx="2">
                  <c:v>0.273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4823-40B3-99A1-A28C0E85C4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 w="24851">
          <a:noFill/>
        </a:ln>
      </c:spPr>
    </c:plotArea>
    <c:legend>
      <c:legendPos val="t"/>
      <c:layout>
        <c:manualLayout>
          <c:xMode val="edge"/>
          <c:yMode val="edge"/>
          <c:x val="0.27874817485362496"/>
          <c:y val="9.4552695779971885E-2"/>
          <c:w val="0.42064436346677847"/>
          <c:h val="9.4533152209535939E-2"/>
        </c:manualLayout>
      </c:layout>
      <c:overlay val="0"/>
      <c:txPr>
        <a:bodyPr/>
        <a:lstStyle/>
        <a:p>
          <a:pPr>
            <a:defRPr sz="1600">
              <a:latin typeface="Corbel" panose="020B0503020204020204" pitchFamily="34" charset="0"/>
            </a:defRPr>
          </a:pPr>
          <a:endParaRPr lang="es-PE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es-PE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099031991077E-2"/>
          <c:y val="0.2119330243723434"/>
          <c:w val="0.99805655623168099"/>
          <c:h val="0.692891016915940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Congreso de la República</c:v>
                </c:pt>
                <c:pt idx="1">
                  <c:v>Poder Judicial</c:v>
                </c:pt>
                <c:pt idx="2">
                  <c:v>Partidos políticos*</c:v>
                </c:pt>
                <c:pt idx="3">
                  <c:v>Policía Nacional</c:v>
                </c:pt>
                <c:pt idx="4">
                  <c:v>Fiscalía de la Nación</c:v>
                </c:pt>
                <c:pt idx="5">
                  <c:v>Municipalidades</c:v>
                </c:pt>
                <c:pt idx="6">
                  <c:v>Gobiernos regionales</c:v>
                </c:pt>
                <c:pt idx="7">
                  <c:v>Gobierno de turno**</c:v>
                </c:pt>
              </c:strCache>
            </c:strRef>
          </c:cat>
          <c:val>
            <c:numRef>
              <c:f>Hoja1!$B$2:$B$20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8C7-4AD7-AF73-266610354CA6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Congreso de la República</c:v>
                </c:pt>
                <c:pt idx="1">
                  <c:v>Poder Judicial</c:v>
                </c:pt>
                <c:pt idx="2">
                  <c:v>Partidos políticos*</c:v>
                </c:pt>
                <c:pt idx="3">
                  <c:v>Policía Nacional</c:v>
                </c:pt>
                <c:pt idx="4">
                  <c:v>Fiscalía de la Nación</c:v>
                </c:pt>
                <c:pt idx="5">
                  <c:v>Municipalidades</c:v>
                </c:pt>
                <c:pt idx="6">
                  <c:v>Gobiernos regionales</c:v>
                </c:pt>
                <c:pt idx="7">
                  <c:v>Gobierno de turno**</c:v>
                </c:pt>
              </c:strCache>
            </c:strRef>
          </c:cat>
          <c:val>
            <c:numRef>
              <c:f>Hoja1!$C$2:$C$20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8C7-4AD7-AF73-266610354CA6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6857975235174259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D94-4E3B-9AB4-AF4723112116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4571983490116164E-3"/>
                  <c:y val="-5.1147334066290707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D94-4E3B-9AB4-AF4723112116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5714979362645207E-3"/>
                  <c:y val="2.789886814072277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8D94-4E3B-9AB4-AF472311211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Congreso de la República</c:v>
                </c:pt>
                <c:pt idx="1">
                  <c:v>Poder Judicial</c:v>
                </c:pt>
                <c:pt idx="2">
                  <c:v>Partidos políticos*</c:v>
                </c:pt>
                <c:pt idx="3">
                  <c:v>Policía Nacional</c:v>
                </c:pt>
                <c:pt idx="4">
                  <c:v>Fiscalía de la Nación</c:v>
                </c:pt>
                <c:pt idx="5">
                  <c:v>Municipalidades</c:v>
                </c:pt>
                <c:pt idx="6">
                  <c:v>Gobiernos regionales</c:v>
                </c:pt>
                <c:pt idx="7">
                  <c:v>Gobierno de turno**</c:v>
                </c:pt>
              </c:strCache>
            </c:strRef>
          </c:cat>
          <c:val>
            <c:numRef>
              <c:f>Hoja1!$D$2:$D$20</c:f>
              <c:numCache>
                <c:formatCode>0%</c:formatCode>
                <c:ptCount val="8"/>
                <c:pt idx="0">
                  <c:v>0.44</c:v>
                </c:pt>
                <c:pt idx="1">
                  <c:v>0.47</c:v>
                </c:pt>
                <c:pt idx="3">
                  <c:v>0.42</c:v>
                </c:pt>
                <c:pt idx="4">
                  <c:v>0.19</c:v>
                </c:pt>
                <c:pt idx="7">
                  <c:v>0.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5C-4AF5-8F35-1EAB67DA5AAC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3.342898761758794E-3"/>
                  <c:y val="-1.0229466813258141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D94-4E3B-9AB4-AF4723112116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3.342898761758794E-3"/>
                  <c:y val="2.789886814072174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8D94-4E3B-9AB4-AF472311211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Congreso de la República</c:v>
                </c:pt>
                <c:pt idx="1">
                  <c:v>Poder Judicial</c:v>
                </c:pt>
                <c:pt idx="2">
                  <c:v>Partidos políticos*</c:v>
                </c:pt>
                <c:pt idx="3">
                  <c:v>Policía Nacional</c:v>
                </c:pt>
                <c:pt idx="4">
                  <c:v>Fiscalía de la Nación</c:v>
                </c:pt>
                <c:pt idx="5">
                  <c:v>Municipalidades</c:v>
                </c:pt>
                <c:pt idx="6">
                  <c:v>Gobiernos regionales</c:v>
                </c:pt>
                <c:pt idx="7">
                  <c:v>Gobierno de turno**</c:v>
                </c:pt>
              </c:strCache>
            </c:strRef>
          </c:cat>
          <c:val>
            <c:numRef>
              <c:f>Hoja1!$E$2:$E$20</c:f>
              <c:numCache>
                <c:formatCode>0%</c:formatCode>
                <c:ptCount val="8"/>
                <c:pt idx="0">
                  <c:v>0.45</c:v>
                </c:pt>
                <c:pt idx="1">
                  <c:v>0.48</c:v>
                </c:pt>
                <c:pt idx="3">
                  <c:v>0.36</c:v>
                </c:pt>
                <c:pt idx="4">
                  <c:v>0.21</c:v>
                </c:pt>
                <c:pt idx="5">
                  <c:v>0.22</c:v>
                </c:pt>
                <c:pt idx="6">
                  <c:v>0.27</c:v>
                </c:pt>
                <c:pt idx="7">
                  <c:v>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D94-4E3B-9AB4-AF4723112116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rgbClr val="FF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6.6857975235174241E-3"/>
                  <c:y val="-2.789886814072277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8D94-4E3B-9AB4-AF4723112116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0000"/>
                      </a:solidFill>
                      <a:latin typeface="Corbel" panose="020B0503020204020204" pitchFamily="34" charset="0"/>
                      <a:ea typeface="+mn-ea"/>
                      <a:cs typeface="+mn-cs"/>
                    </a:defRPr>
                  </a:pPr>
                  <a:endParaRPr lang="es-P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Congreso de la República</c:v>
                </c:pt>
                <c:pt idx="1">
                  <c:v>Poder Judicial</c:v>
                </c:pt>
                <c:pt idx="2">
                  <c:v>Partidos políticos*</c:v>
                </c:pt>
                <c:pt idx="3">
                  <c:v>Policía Nacional</c:v>
                </c:pt>
                <c:pt idx="4">
                  <c:v>Fiscalía de la Nación</c:v>
                </c:pt>
                <c:pt idx="5">
                  <c:v>Municipalidades</c:v>
                </c:pt>
                <c:pt idx="6">
                  <c:v>Gobiernos regionales</c:v>
                </c:pt>
                <c:pt idx="7">
                  <c:v>Gobierno de turno**</c:v>
                </c:pt>
              </c:strCache>
            </c:strRef>
          </c:cat>
          <c:val>
            <c:numRef>
              <c:f>Hoja1!$F$2:$F$20</c:f>
              <c:numCache>
                <c:formatCode>0%</c:formatCode>
                <c:ptCount val="8"/>
                <c:pt idx="0">
                  <c:v>0.755</c:v>
                </c:pt>
                <c:pt idx="1">
                  <c:v>0.47299999999999998</c:v>
                </c:pt>
                <c:pt idx="2">
                  <c:v>0.308</c:v>
                </c:pt>
                <c:pt idx="3">
                  <c:v>0.26</c:v>
                </c:pt>
                <c:pt idx="4">
                  <c:v>0.25900000000000001</c:v>
                </c:pt>
                <c:pt idx="5">
                  <c:v>0.23899999999999999</c:v>
                </c:pt>
                <c:pt idx="6">
                  <c:v>0.20899999999999999</c:v>
                </c:pt>
                <c:pt idx="7">
                  <c:v>9.9000000000000005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8D94-4E3B-9AB4-AF47231121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-553259760"/>
        <c:axId val="-553254320"/>
      </c:barChart>
      <c:catAx>
        <c:axId val="-553259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53254320"/>
        <c:crosses val="autoZero"/>
        <c:auto val="0"/>
        <c:lblAlgn val="ctr"/>
        <c:lblOffset val="100"/>
        <c:noMultiLvlLbl val="1"/>
      </c:catAx>
      <c:valAx>
        <c:axId val="-55325432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-553259760"/>
        <c:crossesAt val="1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1958291152268239"/>
          <c:y val="0.20122838496747475"/>
          <c:w val="0.24698810085973039"/>
          <c:h val="8.97838299038960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6084285131347"/>
          <c:y val="0.12128477001134376"/>
          <c:w val="0.33344112558922023"/>
          <c:h val="0.83253176927493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2700">
              <a:solidFill>
                <a:schemeClr val="bg1"/>
              </a:solidFill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2AB7-421D-9A9D-562075C0595D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1270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2AB7-421D-9A9D-562075C0595D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2AB7-421D-9A9D-562075C0595D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270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AB7-421D-9A9D-562075C0595D}"/>
              </c:ext>
            </c:extLst>
          </c:dPt>
          <c:dLbls>
            <c:dLbl>
              <c:idx val="0"/>
              <c:layout>
                <c:manualLayout>
                  <c:x val="1.9596588033428383E-2"/>
                  <c:y val="-0.1020603851190552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AB7-421D-9A9D-562075C0595D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9.7982940167141916E-3"/>
                  <c:y val="-0.1391732524350753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Corbel" panose="020B0503020204020204" pitchFamily="34" charset="0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AB7-421D-9A9D-562075C0595D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chemeClr val="bg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Los dos por igual</c:v>
                </c:pt>
                <c:pt idx="1">
                  <c:v>Los políticos que reciben las coimas</c:v>
                </c:pt>
                <c:pt idx="2">
                  <c:v>Las empresas que pagan las coimas</c:v>
                </c:pt>
                <c:pt idx="3">
                  <c:v>NS/NP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74099999999999999</c:v>
                </c:pt>
                <c:pt idx="1">
                  <c:v>0.192</c:v>
                </c:pt>
                <c:pt idx="2">
                  <c:v>5.7999999999999996E-2</c:v>
                </c:pt>
                <c:pt idx="3">
                  <c:v>0.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AB7-421D-9A9D-562075C059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 w="24851">
          <a:noFill/>
        </a:ln>
      </c:spPr>
    </c:plotArea>
    <c:legend>
      <c:legendPos val="t"/>
      <c:layout>
        <c:manualLayout>
          <c:xMode val="edge"/>
          <c:yMode val="edge"/>
          <c:x val="0.50463993986187228"/>
          <c:y val="0.14707589383226097"/>
          <c:w val="0.40667868914036004"/>
          <c:h val="0.73986181301470821"/>
        </c:manualLayout>
      </c:layout>
      <c:overlay val="0"/>
      <c:txPr>
        <a:bodyPr/>
        <a:lstStyle/>
        <a:p>
          <a:pPr>
            <a:defRPr sz="1800">
              <a:latin typeface="Corbel" panose="020B0503020204020204" pitchFamily="34" charset="0"/>
            </a:defRPr>
          </a:pPr>
          <a:endParaRPr lang="es-PE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es-P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037434812222296E-3"/>
          <c:y val="3.978278093756478E-2"/>
          <c:w val="0.99362981174731102"/>
          <c:h val="0.535261133762650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C$1</c:f>
              <c:strCache>
                <c:ptCount val="2"/>
                <c:pt idx="0">
                  <c:v>Educación básica</c:v>
                </c:pt>
                <c:pt idx="1">
                  <c:v>Educación superior</c:v>
                </c:pt>
              </c:strCache>
            </c:strRef>
          </c:cat>
          <c:val>
            <c:numRef>
              <c:f>Hoja1!$B$2:$C$2</c:f>
              <c:numCache>
                <c:formatCode>0%</c:formatCode>
                <c:ptCount val="2"/>
                <c:pt idx="0">
                  <c:v>0.61</c:v>
                </c:pt>
                <c:pt idx="1">
                  <c:v>0.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7C8-4BC5-8054-416DBE5A8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6"/>
        <c:overlap val="-27"/>
        <c:axId val="-565729872"/>
        <c:axId val="-565720624"/>
      </c:barChart>
      <c:catAx>
        <c:axId val="-565729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-565720624"/>
        <c:crosses val="autoZero"/>
        <c:auto val="1"/>
        <c:lblAlgn val="ctr"/>
        <c:lblOffset val="100"/>
        <c:noMultiLvlLbl val="0"/>
      </c:catAx>
      <c:valAx>
        <c:axId val="-56572062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565729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s-PE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4737647941346368"/>
          <c:y val="2.3488294970240752E-2"/>
          <c:w val="0.41115196813146404"/>
          <c:h val="0.969379958377096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lta tolerancia (totalmente de acuerdo + de acuerdo)</c:v>
                </c:pt>
              </c:strCache>
            </c:strRef>
          </c:tx>
          <c:spPr>
            <a:solidFill>
              <a:srgbClr val="2599B8"/>
            </a:solidFill>
          </c:spPr>
          <c:invertIfNegative val="1"/>
          <c:dPt>
            <c:idx val="16"/>
            <c:invertIfNegative val="1"/>
            <c:bubble3D val="0"/>
            <c:spPr>
              <a:solidFill>
                <a:schemeClr val="accent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dLbl>
              <c:idx val="0"/>
              <c:layout>
                <c:manualLayout>
                  <c:x val="5.7248111240562963E-3"/>
                  <c:y val="-2.60784839160437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723A-4B72-9C7B-14CDCE72214E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4.579848899245037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723A-4B72-9C7B-14CDCE72214E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8.0147355736788148E-3"/>
                  <c:y val="-2.60784839160437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23A-4B72-9C7B-14CDCE72214E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6.8697733488675555E-3"/>
                  <c:y val="-2.60784839160437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723A-4B72-9C7B-14CDCE72214E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5.7248111240562121E-3"/>
                  <c:y val="-5.215696783208741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723A-4B72-9C7B-14CDCE72214E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6.869773348867555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723A-4B72-9C7B-14CDCE72214E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8.0147355736788148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723A-4B72-9C7B-14CDCE72214E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layout>
                <c:manualLayout>
                  <c:x val="3.4348866744336941E-3"/>
                  <c:y val="-2.607848391604418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723A-4B72-9C7B-14CDCE72214E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2</c:f>
              <c:strCache>
                <c:ptCount val="11"/>
                <c:pt idx="0">
                  <c:v>Pedir un favor sexual a cambio de un trámite o servicio</c:v>
                </c:pt>
                <c:pt idx="1">
                  <c:v>Que una autoridad elegida coloque a simpatizantes poco calificados en puestos clave</c:v>
                </c:pt>
                <c:pt idx="2">
                  <c:v>Que un magistrado supremo influya en las decisiones de jueces o fiscales de menor jerarquía para favorecer a sus allegados</c:v>
                </c:pt>
                <c:pt idx="3">
                  <c:v>Que un parlamentario promueva leyes a favor de quienes financiaron su campaña política</c:v>
                </c:pt>
                <c:pt idx="4">
                  <c:v>Dar bienes o pagar una “propina” para que le perdonen una multa o para agilizar un trámite o servicio público</c:v>
                </c:pt>
                <c:pt idx="5">
                  <c:v>Que una autoridad elegida entregue contratos de grandes obras públicas a empresarios que financiaron su campaña</c:v>
                </c:pt>
                <c:pt idx="6">
                  <c:v>Evadir impuestos si sabe que no lo descubrirán</c:v>
                </c:pt>
                <c:pt idx="7">
                  <c:v>Comprar productos piratas o instalar servicios piratas (cable, Internet, etc.)</c:v>
                </c:pt>
                <c:pt idx="8">
                  <c:v>Buscar un pariente o amigo que es funcionario público para que lo favorezca en un servicio</c:v>
                </c:pt>
                <c:pt idx="9">
                  <c:v>No pedir factura para evitar el IGV</c:v>
                </c:pt>
                <c:pt idx="10">
                  <c:v>Cuando se sabe de algo corrupto es mejor quedarse callado</c:v>
                </c:pt>
              </c:strCache>
            </c:strRef>
          </c:cat>
          <c:val>
            <c:numRef>
              <c:f>Hoja1!$B$2:$B$12</c:f>
              <c:numCache>
                <c:formatCode>0%</c:formatCode>
                <c:ptCount val="11"/>
                <c:pt idx="0">
                  <c:v>3.3000000000000002E-2</c:v>
                </c:pt>
                <c:pt idx="1">
                  <c:v>3.4000000000000002E-2</c:v>
                </c:pt>
                <c:pt idx="2">
                  <c:v>3.6000000000000004E-2</c:v>
                </c:pt>
                <c:pt idx="3">
                  <c:v>4.2999999999999997E-2</c:v>
                </c:pt>
                <c:pt idx="4">
                  <c:v>4.2999999999999997E-2</c:v>
                </c:pt>
                <c:pt idx="5">
                  <c:v>4.4000000000000004E-2</c:v>
                </c:pt>
                <c:pt idx="6">
                  <c:v>4.5999999999999999E-2</c:v>
                </c:pt>
                <c:pt idx="7">
                  <c:v>6.4000000000000001E-2</c:v>
                </c:pt>
                <c:pt idx="8">
                  <c:v>6.6000000000000003E-2</c:v>
                </c:pt>
                <c:pt idx="9">
                  <c:v>7.5999999999999998E-2</c:v>
                </c:pt>
                <c:pt idx="10">
                  <c:v>8.5999999999999993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Tolerancia media (ni de acuerdo ni en desacuerdo + en desacuerdo)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2</c:f>
              <c:strCache>
                <c:ptCount val="11"/>
                <c:pt idx="0">
                  <c:v>Pedir un favor sexual a cambio de un trámite o servicio</c:v>
                </c:pt>
                <c:pt idx="1">
                  <c:v>Que una autoridad elegida coloque a simpatizantes poco calificados en puestos clave</c:v>
                </c:pt>
                <c:pt idx="2">
                  <c:v>Que un magistrado supremo influya en las decisiones de jueces o fiscales de menor jerarquía para favorecer a sus allegados</c:v>
                </c:pt>
                <c:pt idx="3">
                  <c:v>Que un parlamentario promueva leyes a favor de quienes financiaron su campaña política</c:v>
                </c:pt>
                <c:pt idx="4">
                  <c:v>Dar bienes o pagar una “propina” para que le perdonen una multa o para agilizar un trámite o servicio público</c:v>
                </c:pt>
                <c:pt idx="5">
                  <c:v>Que una autoridad elegida entregue contratos de grandes obras públicas a empresarios que financiaron su campaña</c:v>
                </c:pt>
                <c:pt idx="6">
                  <c:v>Evadir impuestos si sabe que no lo descubrirán</c:v>
                </c:pt>
                <c:pt idx="7">
                  <c:v>Comprar productos piratas o instalar servicios piratas (cable, Internet, etc.)</c:v>
                </c:pt>
                <c:pt idx="8">
                  <c:v>Buscar un pariente o amigo que es funcionario público para que lo favorezca en un servicio</c:v>
                </c:pt>
                <c:pt idx="9">
                  <c:v>No pedir factura para evitar el IGV</c:v>
                </c:pt>
                <c:pt idx="10">
                  <c:v>Cuando se sabe de algo corrupto es mejor quedarse callado</c:v>
                </c:pt>
              </c:strCache>
            </c:strRef>
          </c:cat>
          <c:val>
            <c:numRef>
              <c:f>Hoja1!$C$2:$C$12</c:f>
              <c:numCache>
                <c:formatCode>0%</c:formatCode>
                <c:ptCount val="11"/>
                <c:pt idx="0">
                  <c:v>0.61199999999999999</c:v>
                </c:pt>
                <c:pt idx="1">
                  <c:v>0.65599999999999992</c:v>
                </c:pt>
                <c:pt idx="2">
                  <c:v>0.64400000000000002</c:v>
                </c:pt>
                <c:pt idx="3">
                  <c:v>0.65099999999999991</c:v>
                </c:pt>
                <c:pt idx="4">
                  <c:v>0.7</c:v>
                </c:pt>
                <c:pt idx="5">
                  <c:v>0.64900000000000002</c:v>
                </c:pt>
                <c:pt idx="6">
                  <c:v>0.72699999999999998</c:v>
                </c:pt>
                <c:pt idx="7">
                  <c:v>0.73299999999999998</c:v>
                </c:pt>
                <c:pt idx="8">
                  <c:v>0.69900000000000007</c:v>
                </c:pt>
                <c:pt idx="9">
                  <c:v>0.72599999999999998</c:v>
                </c:pt>
                <c:pt idx="10">
                  <c:v>0.68799999999999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723A-4B72-9C7B-14CDCE72214E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Rechazo definido (totalmente en desacuerdo)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2</c:f>
              <c:strCache>
                <c:ptCount val="11"/>
                <c:pt idx="0">
                  <c:v>Pedir un favor sexual a cambio de un trámite o servicio</c:v>
                </c:pt>
                <c:pt idx="1">
                  <c:v>Que una autoridad elegida coloque a simpatizantes poco calificados en puestos clave</c:v>
                </c:pt>
                <c:pt idx="2">
                  <c:v>Que un magistrado supremo influya en las decisiones de jueces o fiscales de menor jerarquía para favorecer a sus allegados</c:v>
                </c:pt>
                <c:pt idx="3">
                  <c:v>Que un parlamentario promueva leyes a favor de quienes financiaron su campaña política</c:v>
                </c:pt>
                <c:pt idx="4">
                  <c:v>Dar bienes o pagar una “propina” para que le perdonen una multa o para agilizar un trámite o servicio público</c:v>
                </c:pt>
                <c:pt idx="5">
                  <c:v>Que una autoridad elegida entregue contratos de grandes obras públicas a empresarios que financiaron su campaña</c:v>
                </c:pt>
                <c:pt idx="6">
                  <c:v>Evadir impuestos si sabe que no lo descubrirán</c:v>
                </c:pt>
                <c:pt idx="7">
                  <c:v>Comprar productos piratas o instalar servicios piratas (cable, Internet, etc.)</c:v>
                </c:pt>
                <c:pt idx="8">
                  <c:v>Buscar un pariente o amigo que es funcionario público para que lo favorezca en un servicio</c:v>
                </c:pt>
                <c:pt idx="9">
                  <c:v>No pedir factura para evitar el IGV</c:v>
                </c:pt>
                <c:pt idx="10">
                  <c:v>Cuando se sabe de algo corrupto es mejor quedarse callado</c:v>
                </c:pt>
              </c:strCache>
            </c:strRef>
          </c:cat>
          <c:val>
            <c:numRef>
              <c:f>Hoja1!$D$2:$D$12</c:f>
              <c:numCache>
                <c:formatCode>0%</c:formatCode>
                <c:ptCount val="11"/>
                <c:pt idx="0">
                  <c:v>0.34799999999999998</c:v>
                </c:pt>
                <c:pt idx="1">
                  <c:v>0.30499999999999999</c:v>
                </c:pt>
                <c:pt idx="2">
                  <c:v>0.313</c:v>
                </c:pt>
                <c:pt idx="3">
                  <c:v>0.29899999999999999</c:v>
                </c:pt>
                <c:pt idx="4">
                  <c:v>0.248</c:v>
                </c:pt>
                <c:pt idx="5">
                  <c:v>0.29799999999999999</c:v>
                </c:pt>
                <c:pt idx="6">
                  <c:v>0.21600000000000003</c:v>
                </c:pt>
                <c:pt idx="7">
                  <c:v>0.19</c:v>
                </c:pt>
                <c:pt idx="8">
                  <c:v>0.22600000000000001</c:v>
                </c:pt>
                <c:pt idx="9">
                  <c:v>0.184</c:v>
                </c:pt>
                <c:pt idx="10">
                  <c:v>0.2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723A-4B72-9C7B-14CDCE7221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-553253232"/>
        <c:axId val="-553252688"/>
      </c:barChart>
      <c:catAx>
        <c:axId val="-55325323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Corbel" panose="020B0503020204020204" pitchFamily="34" charset="0"/>
              </a:defRPr>
            </a:pPr>
            <a:endParaRPr lang="es-PE"/>
          </a:p>
        </c:txPr>
        <c:crossAx val="-553252688"/>
        <c:crosses val="autoZero"/>
        <c:auto val="1"/>
        <c:lblAlgn val="ctr"/>
        <c:lblOffset val="100"/>
        <c:noMultiLvlLbl val="0"/>
      </c:catAx>
      <c:valAx>
        <c:axId val="-553252688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-5532532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2849358401935658"/>
          <c:y val="8.2739021112278141E-2"/>
          <c:w val="0.16463664263177588"/>
          <c:h val="0.88667872026513805"/>
        </c:manualLayout>
      </c:layout>
      <c:overlay val="0"/>
      <c:txPr>
        <a:bodyPr/>
        <a:lstStyle/>
        <a:p>
          <a:pPr>
            <a:defRPr sz="1600">
              <a:latin typeface="Corbel" panose="020B0503020204020204" pitchFamily="34" charset="0"/>
            </a:defRPr>
          </a:pPr>
          <a:endParaRPr lang="es-P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1759875328084004"/>
          <c:y val="3.2704744690876898E-2"/>
          <c:w val="0.36838418635171744"/>
          <c:h val="0.95053535718253501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Columna1</c:v>
                </c:pt>
              </c:strCache>
            </c:strRef>
          </c:tx>
          <c:invertIfNegative val="0"/>
          <c:val>
            <c:numRef>
              <c:f>Sheet1!$A$2:$A$17</c:f>
              <c:numCache>
                <c:formatCode>@</c:formatCode>
                <c:ptCount val="1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C88-48A2-89E2-99C9CC3E902A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Muy buena/ buena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marL="0" algn="ctr" defTabSz="914400" rtl="0" eaLnBrk="1" fontAlgn="b" latinLnBrk="0" hangingPunct="1">
                  <a:defRPr lang="es-PE" sz="1400" b="0" i="0" u="none" strike="noStrike" kern="1200" baseline="0">
                    <a:solidFill>
                      <a:srgbClr val="FFFFFF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:$B$17</c:f>
              <c:numCache>
                <c:formatCode>0%</c:formatCode>
                <c:ptCount val="16"/>
                <c:pt idx="0">
                  <c:v>0.46100000000000002</c:v>
                </c:pt>
                <c:pt idx="1">
                  <c:v>0.32899999999999996</c:v>
                </c:pt>
                <c:pt idx="2">
                  <c:v>0.221</c:v>
                </c:pt>
                <c:pt idx="3">
                  <c:v>0.22</c:v>
                </c:pt>
                <c:pt idx="4">
                  <c:v>0.20699999999999999</c:v>
                </c:pt>
                <c:pt idx="5">
                  <c:v>0.19899999999999998</c:v>
                </c:pt>
                <c:pt idx="6">
                  <c:v>0.188</c:v>
                </c:pt>
                <c:pt idx="7">
                  <c:v>0.16300000000000001</c:v>
                </c:pt>
                <c:pt idx="8">
                  <c:v>0.11800000000000001</c:v>
                </c:pt>
                <c:pt idx="9">
                  <c:v>0.11699999999999999</c:v>
                </c:pt>
                <c:pt idx="10">
                  <c:v>0.107</c:v>
                </c:pt>
                <c:pt idx="11">
                  <c:v>0.10099999999999999</c:v>
                </c:pt>
                <c:pt idx="12">
                  <c:v>8.5999999999999993E-2</c:v>
                </c:pt>
                <c:pt idx="13">
                  <c:v>8.5000000000000006E-2</c:v>
                </c:pt>
                <c:pt idx="14">
                  <c:v>5.0999999999999997E-2</c:v>
                </c:pt>
                <c:pt idx="15">
                  <c:v>4.800000000000000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C88-48A2-89E2-99C9CC3E902A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Ni buena ni mal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marL="0" algn="ctr" defTabSz="914400" rtl="0" eaLnBrk="1" fontAlgn="b" latinLnBrk="0" hangingPunct="1">
                  <a:defRPr lang="es-PE" sz="1400" b="0" i="0" u="none" strike="noStrike" kern="1200" baseline="0">
                    <a:solidFill>
                      <a:srgbClr val="FFFFFF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:$C$17</c:f>
              <c:numCache>
                <c:formatCode>0%</c:formatCode>
                <c:ptCount val="16"/>
                <c:pt idx="0">
                  <c:v>0.24299999999999999</c:v>
                </c:pt>
                <c:pt idx="1">
                  <c:v>0.37799999999999995</c:v>
                </c:pt>
                <c:pt idx="2">
                  <c:v>0.28399999999999997</c:v>
                </c:pt>
                <c:pt idx="3">
                  <c:v>0.373</c:v>
                </c:pt>
                <c:pt idx="4">
                  <c:v>0.34700000000000003</c:v>
                </c:pt>
                <c:pt idx="5">
                  <c:v>0.35600000000000004</c:v>
                </c:pt>
                <c:pt idx="6">
                  <c:v>0.29799999999999999</c:v>
                </c:pt>
                <c:pt idx="7">
                  <c:v>0.32200000000000001</c:v>
                </c:pt>
                <c:pt idx="8">
                  <c:v>0.33200000000000002</c:v>
                </c:pt>
                <c:pt idx="9">
                  <c:v>0.315</c:v>
                </c:pt>
                <c:pt idx="10">
                  <c:v>0.245</c:v>
                </c:pt>
                <c:pt idx="11">
                  <c:v>0.36</c:v>
                </c:pt>
                <c:pt idx="12">
                  <c:v>0.29799999999999999</c:v>
                </c:pt>
                <c:pt idx="13">
                  <c:v>0.28600000000000003</c:v>
                </c:pt>
                <c:pt idx="14">
                  <c:v>0.13200000000000001</c:v>
                </c:pt>
                <c:pt idx="15">
                  <c:v>0.1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C88-48A2-89E2-99C9CC3E902A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Muy mala / mal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marL="0" algn="ctr" defTabSz="914400" rtl="0" eaLnBrk="1" fontAlgn="b" latinLnBrk="0" hangingPunct="1">
                  <a:defRPr lang="es-PE" sz="1400" b="0" i="0" u="none" strike="noStrike" kern="1200" baseline="0">
                    <a:solidFill>
                      <a:srgbClr val="FFFFFF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D$2:$D$17</c:f>
              <c:numCache>
                <c:formatCode>0%</c:formatCode>
                <c:ptCount val="16"/>
                <c:pt idx="0">
                  <c:v>0.25600000000000001</c:v>
                </c:pt>
                <c:pt idx="1">
                  <c:v>0.27600000000000002</c:v>
                </c:pt>
                <c:pt idx="2">
                  <c:v>0.41799999999999998</c:v>
                </c:pt>
                <c:pt idx="3">
                  <c:v>0.39100000000000001</c:v>
                </c:pt>
                <c:pt idx="4">
                  <c:v>0.308</c:v>
                </c:pt>
                <c:pt idx="5">
                  <c:v>0.38299999999999995</c:v>
                </c:pt>
                <c:pt idx="6">
                  <c:v>0.48499999999999999</c:v>
                </c:pt>
                <c:pt idx="7">
                  <c:v>0.439</c:v>
                </c:pt>
                <c:pt idx="8">
                  <c:v>0.54200000000000004</c:v>
                </c:pt>
                <c:pt idx="9">
                  <c:v>0.61</c:v>
                </c:pt>
                <c:pt idx="10">
                  <c:v>0.63900000000000001</c:v>
                </c:pt>
                <c:pt idx="11">
                  <c:v>0.47899999999999998</c:v>
                </c:pt>
                <c:pt idx="12">
                  <c:v>0.59599999999999997</c:v>
                </c:pt>
                <c:pt idx="13">
                  <c:v>0.59699999999999998</c:v>
                </c:pt>
                <c:pt idx="14">
                  <c:v>0.80599999999999994</c:v>
                </c:pt>
                <c:pt idx="15">
                  <c:v>0.750999999999999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8C88-48A2-89E2-99C9CC3E902A}"/>
            </c:ext>
          </c:extLst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NS/NP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marL="0" algn="ctr" defTabSz="914400" rtl="0" eaLnBrk="1" fontAlgn="b" latinLnBrk="0" hangingPunct="1">
                  <a:defRPr lang="es-PE" sz="1400" b="0" i="0" u="none" strike="noStrike" kern="1200" baseline="0">
                    <a:solidFill>
                      <a:schemeClr val="bg1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E$2:$E$17</c:f>
              <c:numCache>
                <c:formatCode>0%</c:formatCode>
                <c:ptCount val="16"/>
                <c:pt idx="0">
                  <c:v>4.0999999999999995E-2</c:v>
                </c:pt>
                <c:pt idx="1">
                  <c:v>1.7000000000000001E-2</c:v>
                </c:pt>
                <c:pt idx="2">
                  <c:v>7.6999999999999999E-2</c:v>
                </c:pt>
                <c:pt idx="3">
                  <c:v>1.6E-2</c:v>
                </c:pt>
                <c:pt idx="4">
                  <c:v>0.13900000000000001</c:v>
                </c:pt>
                <c:pt idx="5">
                  <c:v>6.2E-2</c:v>
                </c:pt>
                <c:pt idx="6">
                  <c:v>2.7999999999999997E-2</c:v>
                </c:pt>
                <c:pt idx="7">
                  <c:v>7.6999999999999999E-2</c:v>
                </c:pt>
                <c:pt idx="8">
                  <c:v>9.0000000000000011E-3</c:v>
                </c:pt>
                <c:pt idx="9">
                  <c:v>7.400000000000001E-2</c:v>
                </c:pt>
                <c:pt idx="10">
                  <c:v>0.01</c:v>
                </c:pt>
                <c:pt idx="11">
                  <c:v>0.06</c:v>
                </c:pt>
                <c:pt idx="12">
                  <c:v>2.1000000000000001E-2</c:v>
                </c:pt>
                <c:pt idx="13">
                  <c:v>3.2000000000000001E-2</c:v>
                </c:pt>
                <c:pt idx="14">
                  <c:v>0.01</c:v>
                </c:pt>
                <c:pt idx="15">
                  <c:v>1.499999999999999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E77-4E72-BE1C-105D7D64D9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-553257040"/>
        <c:axId val="-553264112"/>
      </c:barChart>
      <c:catAx>
        <c:axId val="-55325704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one"/>
        <c:crossAx val="-553264112"/>
        <c:crosses val="autoZero"/>
        <c:auto val="1"/>
        <c:lblAlgn val="ctr"/>
        <c:lblOffset val="100"/>
        <c:noMultiLvlLbl val="0"/>
      </c:catAx>
      <c:valAx>
        <c:axId val="-553264112"/>
        <c:scaling>
          <c:orientation val="minMax"/>
          <c:max val="1"/>
          <c:min val="0"/>
        </c:scaling>
        <c:delete val="1"/>
        <c:axPos val="t"/>
        <c:numFmt formatCode="0%" sourceLinked="1"/>
        <c:majorTickMark val="none"/>
        <c:minorTickMark val="none"/>
        <c:tickLblPos val="none"/>
        <c:crossAx val="-553257040"/>
        <c:crosses val="autoZero"/>
        <c:crossBetween val="between"/>
        <c:majorUnit val="0.2"/>
      </c:valAx>
    </c:plotArea>
    <c:plotVisOnly val="1"/>
    <c:dispBlanksAs val="gap"/>
    <c:showDLblsOverMax val="0"/>
  </c:chart>
  <c:txPr>
    <a:bodyPr/>
    <a:lstStyle/>
    <a:p>
      <a:pPr marL="0" algn="l" defTabSz="914400" rtl="0" eaLnBrk="1" fontAlgn="b" latinLnBrk="0" hangingPunct="1">
        <a:defRPr lang="es-PE" sz="1200" b="0" i="0" u="none" strike="noStrike" kern="1200" dirty="0">
          <a:solidFill>
            <a:srgbClr val="000000"/>
          </a:solidFill>
          <a:latin typeface="+mn-lt"/>
          <a:ea typeface="+mn-ea"/>
          <a:cs typeface="+mn-cs"/>
        </a:defRPr>
      </a:pPr>
      <a:endParaRPr lang="es-PE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083712747871441"/>
          <c:y val="0.15818994409326434"/>
          <c:w val="0.33344112558922023"/>
          <c:h val="0.83253176927493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2700">
              <a:solidFill>
                <a:schemeClr val="bg1"/>
              </a:solidFill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E683-4592-87ED-B26B25727DFD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  <a:ln w="1270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E683-4592-87ED-B26B25727DFD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E683-4592-87ED-B26B25727DFD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270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683-4592-87ED-B26B25727DFD}"/>
              </c:ext>
            </c:extLst>
          </c:dPt>
          <c:dLbls>
            <c:dLbl>
              <c:idx val="0"/>
              <c:layout>
                <c:manualLayout>
                  <c:x val="1.3997562881020274E-2"/>
                  <c:y val="-0.1438123608495778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800" b="1">
                      <a:solidFill>
                        <a:schemeClr val="tx1"/>
                      </a:solidFill>
                      <a:latin typeface="Corbel" panose="020B0503020204020204" pitchFamily="34" charset="0"/>
                    </a:defRPr>
                  </a:pPr>
                  <a:endParaRPr lang="es-P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683-4592-87ED-B26B25727DFD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1">
                    <a:solidFill>
                      <a:schemeClr val="bg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Bastante efectivos</c:v>
                </c:pt>
                <c:pt idx="1">
                  <c:v>Algo efectivos</c:v>
                </c:pt>
                <c:pt idx="2">
                  <c:v>Poco efectivos</c:v>
                </c:pt>
                <c:pt idx="3">
                  <c:v>Nada efectivo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03</c:v>
                </c:pt>
                <c:pt idx="1">
                  <c:v>0.23</c:v>
                </c:pt>
                <c:pt idx="2">
                  <c:v>0.45</c:v>
                </c:pt>
                <c:pt idx="3">
                  <c:v>0.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E683-4592-87ED-B26B25727D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 w="24851">
          <a:noFill/>
        </a:ln>
      </c:spPr>
    </c:plotArea>
    <c:legend>
      <c:legendPos val="t"/>
      <c:layout>
        <c:manualLayout>
          <c:xMode val="edge"/>
          <c:yMode val="edge"/>
          <c:x val="0.74276214561680542"/>
          <c:y val="0.18591245235325166"/>
          <c:w val="0.25723785438319446"/>
          <c:h val="0.73986181301470821"/>
        </c:manualLayout>
      </c:layout>
      <c:overlay val="0"/>
      <c:txPr>
        <a:bodyPr/>
        <a:lstStyle/>
        <a:p>
          <a:pPr>
            <a:defRPr sz="1600">
              <a:latin typeface="Corbel" panose="020B0503020204020204" pitchFamily="34" charset="0"/>
            </a:defRPr>
          </a:pPr>
          <a:endParaRPr lang="es-PE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es-PE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579118894177567E-2"/>
          <c:y val="0.15854634184944214"/>
          <c:w val="0.873612491908067"/>
          <c:h val="0.72730029201895952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xVal>
            <c:numRef>
              <c:f>'[correlaciones proetica.xlsx]Hoja2'!$B$3:$B$1859</c:f>
              <c:numCache>
                <c:formatCode>General</c:formatCode>
                <c:ptCount val="1857"/>
                <c:pt idx="0">
                  <c:v>3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1</c:v>
                </c:pt>
                <c:pt idx="10">
                  <c:v>4</c:v>
                </c:pt>
                <c:pt idx="11">
                  <c:v>3</c:v>
                </c:pt>
                <c:pt idx="12">
                  <c:v>1</c:v>
                </c:pt>
                <c:pt idx="13">
                  <c:v>4</c:v>
                </c:pt>
                <c:pt idx="14">
                  <c:v>2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4</c:v>
                </c:pt>
                <c:pt idx="19">
                  <c:v>2</c:v>
                </c:pt>
                <c:pt idx="20">
                  <c:v>1</c:v>
                </c:pt>
                <c:pt idx="21">
                  <c:v>2</c:v>
                </c:pt>
                <c:pt idx="22">
                  <c:v>2</c:v>
                </c:pt>
                <c:pt idx="23">
                  <c:v>3</c:v>
                </c:pt>
                <c:pt idx="24">
                  <c:v>2</c:v>
                </c:pt>
                <c:pt idx="25">
                  <c:v>1</c:v>
                </c:pt>
                <c:pt idx="26">
                  <c:v>2</c:v>
                </c:pt>
                <c:pt idx="27">
                  <c:v>2</c:v>
                </c:pt>
                <c:pt idx="28">
                  <c:v>3</c:v>
                </c:pt>
                <c:pt idx="29">
                  <c:v>1</c:v>
                </c:pt>
                <c:pt idx="30">
                  <c:v>4</c:v>
                </c:pt>
                <c:pt idx="31">
                  <c:v>2</c:v>
                </c:pt>
                <c:pt idx="32">
                  <c:v>1</c:v>
                </c:pt>
                <c:pt idx="33">
                  <c:v>2</c:v>
                </c:pt>
                <c:pt idx="34">
                  <c:v>3</c:v>
                </c:pt>
                <c:pt idx="35">
                  <c:v>1</c:v>
                </c:pt>
                <c:pt idx="36">
                  <c:v>4</c:v>
                </c:pt>
                <c:pt idx="38">
                  <c:v>2</c:v>
                </c:pt>
                <c:pt idx="39">
                  <c:v>2</c:v>
                </c:pt>
                <c:pt idx="40">
                  <c:v>2</c:v>
                </c:pt>
                <c:pt idx="41">
                  <c:v>2</c:v>
                </c:pt>
                <c:pt idx="42">
                  <c:v>3</c:v>
                </c:pt>
                <c:pt idx="43">
                  <c:v>2</c:v>
                </c:pt>
                <c:pt idx="44">
                  <c:v>3</c:v>
                </c:pt>
                <c:pt idx="45">
                  <c:v>3</c:v>
                </c:pt>
                <c:pt idx="46">
                  <c:v>1</c:v>
                </c:pt>
                <c:pt idx="47">
                  <c:v>2</c:v>
                </c:pt>
                <c:pt idx="48">
                  <c:v>2</c:v>
                </c:pt>
                <c:pt idx="49">
                  <c:v>2</c:v>
                </c:pt>
                <c:pt idx="50">
                  <c:v>1</c:v>
                </c:pt>
                <c:pt idx="51">
                  <c:v>1</c:v>
                </c:pt>
                <c:pt idx="52">
                  <c:v>2</c:v>
                </c:pt>
                <c:pt idx="53">
                  <c:v>3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2</c:v>
                </c:pt>
                <c:pt idx="59">
                  <c:v>1</c:v>
                </c:pt>
                <c:pt idx="60">
                  <c:v>3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3</c:v>
                </c:pt>
                <c:pt idx="65">
                  <c:v>3</c:v>
                </c:pt>
                <c:pt idx="66">
                  <c:v>3</c:v>
                </c:pt>
                <c:pt idx="67">
                  <c:v>3</c:v>
                </c:pt>
                <c:pt idx="68">
                  <c:v>3</c:v>
                </c:pt>
                <c:pt idx="69">
                  <c:v>3</c:v>
                </c:pt>
                <c:pt idx="70">
                  <c:v>1</c:v>
                </c:pt>
                <c:pt idx="71">
                  <c:v>2</c:v>
                </c:pt>
                <c:pt idx="72">
                  <c:v>2</c:v>
                </c:pt>
                <c:pt idx="73">
                  <c:v>3</c:v>
                </c:pt>
                <c:pt idx="74">
                  <c:v>3</c:v>
                </c:pt>
                <c:pt idx="75">
                  <c:v>2</c:v>
                </c:pt>
                <c:pt idx="76">
                  <c:v>1</c:v>
                </c:pt>
                <c:pt idx="77">
                  <c:v>3</c:v>
                </c:pt>
                <c:pt idx="78">
                  <c:v>1</c:v>
                </c:pt>
                <c:pt idx="79">
                  <c:v>3</c:v>
                </c:pt>
                <c:pt idx="80">
                  <c:v>2</c:v>
                </c:pt>
                <c:pt idx="81">
                  <c:v>1</c:v>
                </c:pt>
                <c:pt idx="82">
                  <c:v>1</c:v>
                </c:pt>
                <c:pt idx="83">
                  <c:v>2</c:v>
                </c:pt>
                <c:pt idx="84">
                  <c:v>2</c:v>
                </c:pt>
                <c:pt idx="85">
                  <c:v>3</c:v>
                </c:pt>
                <c:pt idx="86">
                  <c:v>3</c:v>
                </c:pt>
                <c:pt idx="87">
                  <c:v>2</c:v>
                </c:pt>
                <c:pt idx="88">
                  <c:v>1</c:v>
                </c:pt>
                <c:pt idx="89">
                  <c:v>1</c:v>
                </c:pt>
                <c:pt idx="90">
                  <c:v>2</c:v>
                </c:pt>
                <c:pt idx="91">
                  <c:v>2</c:v>
                </c:pt>
                <c:pt idx="92">
                  <c:v>2</c:v>
                </c:pt>
                <c:pt idx="93">
                  <c:v>3</c:v>
                </c:pt>
                <c:pt idx="94">
                  <c:v>2</c:v>
                </c:pt>
                <c:pt idx="95">
                  <c:v>2</c:v>
                </c:pt>
                <c:pt idx="96">
                  <c:v>3</c:v>
                </c:pt>
                <c:pt idx="97">
                  <c:v>2</c:v>
                </c:pt>
                <c:pt idx="98">
                  <c:v>3</c:v>
                </c:pt>
                <c:pt idx="99">
                  <c:v>2</c:v>
                </c:pt>
                <c:pt idx="100">
                  <c:v>2</c:v>
                </c:pt>
                <c:pt idx="101">
                  <c:v>2</c:v>
                </c:pt>
                <c:pt idx="103">
                  <c:v>2</c:v>
                </c:pt>
                <c:pt idx="104">
                  <c:v>3</c:v>
                </c:pt>
                <c:pt idx="105">
                  <c:v>3</c:v>
                </c:pt>
                <c:pt idx="107">
                  <c:v>2</c:v>
                </c:pt>
                <c:pt idx="108">
                  <c:v>3</c:v>
                </c:pt>
                <c:pt idx="109">
                  <c:v>2</c:v>
                </c:pt>
                <c:pt idx="110">
                  <c:v>3</c:v>
                </c:pt>
                <c:pt idx="111">
                  <c:v>3</c:v>
                </c:pt>
                <c:pt idx="112">
                  <c:v>2</c:v>
                </c:pt>
                <c:pt idx="113">
                  <c:v>3</c:v>
                </c:pt>
                <c:pt idx="114">
                  <c:v>3</c:v>
                </c:pt>
                <c:pt idx="115">
                  <c:v>3</c:v>
                </c:pt>
                <c:pt idx="116">
                  <c:v>2</c:v>
                </c:pt>
                <c:pt idx="117">
                  <c:v>3</c:v>
                </c:pt>
                <c:pt idx="118">
                  <c:v>3</c:v>
                </c:pt>
                <c:pt idx="119">
                  <c:v>1</c:v>
                </c:pt>
                <c:pt idx="120">
                  <c:v>3</c:v>
                </c:pt>
                <c:pt idx="121">
                  <c:v>2</c:v>
                </c:pt>
                <c:pt idx="122">
                  <c:v>3</c:v>
                </c:pt>
                <c:pt idx="123">
                  <c:v>2</c:v>
                </c:pt>
                <c:pt idx="124">
                  <c:v>2</c:v>
                </c:pt>
                <c:pt idx="125">
                  <c:v>2</c:v>
                </c:pt>
                <c:pt idx="126">
                  <c:v>3</c:v>
                </c:pt>
                <c:pt idx="127">
                  <c:v>1</c:v>
                </c:pt>
                <c:pt idx="128">
                  <c:v>2</c:v>
                </c:pt>
                <c:pt idx="129">
                  <c:v>2</c:v>
                </c:pt>
                <c:pt idx="130">
                  <c:v>2</c:v>
                </c:pt>
                <c:pt idx="131">
                  <c:v>2</c:v>
                </c:pt>
                <c:pt idx="132">
                  <c:v>2</c:v>
                </c:pt>
                <c:pt idx="133">
                  <c:v>2</c:v>
                </c:pt>
                <c:pt idx="134">
                  <c:v>1</c:v>
                </c:pt>
                <c:pt idx="135">
                  <c:v>3</c:v>
                </c:pt>
                <c:pt idx="136">
                  <c:v>1</c:v>
                </c:pt>
                <c:pt idx="137">
                  <c:v>2</c:v>
                </c:pt>
                <c:pt idx="138">
                  <c:v>2</c:v>
                </c:pt>
                <c:pt idx="139">
                  <c:v>1</c:v>
                </c:pt>
                <c:pt idx="140">
                  <c:v>2</c:v>
                </c:pt>
                <c:pt idx="141">
                  <c:v>2</c:v>
                </c:pt>
                <c:pt idx="142">
                  <c:v>2</c:v>
                </c:pt>
                <c:pt idx="143">
                  <c:v>1</c:v>
                </c:pt>
                <c:pt idx="144">
                  <c:v>2</c:v>
                </c:pt>
                <c:pt idx="145">
                  <c:v>2</c:v>
                </c:pt>
                <c:pt idx="146">
                  <c:v>3</c:v>
                </c:pt>
                <c:pt idx="147">
                  <c:v>2</c:v>
                </c:pt>
                <c:pt idx="148">
                  <c:v>3</c:v>
                </c:pt>
                <c:pt idx="149">
                  <c:v>2</c:v>
                </c:pt>
                <c:pt idx="150">
                  <c:v>2</c:v>
                </c:pt>
                <c:pt idx="151">
                  <c:v>4</c:v>
                </c:pt>
                <c:pt idx="152">
                  <c:v>2</c:v>
                </c:pt>
                <c:pt idx="153">
                  <c:v>1</c:v>
                </c:pt>
                <c:pt idx="154">
                  <c:v>2</c:v>
                </c:pt>
                <c:pt idx="155">
                  <c:v>4</c:v>
                </c:pt>
                <c:pt idx="156">
                  <c:v>2</c:v>
                </c:pt>
                <c:pt idx="157">
                  <c:v>2</c:v>
                </c:pt>
                <c:pt idx="158">
                  <c:v>2</c:v>
                </c:pt>
                <c:pt idx="159">
                  <c:v>4</c:v>
                </c:pt>
                <c:pt idx="161">
                  <c:v>2</c:v>
                </c:pt>
                <c:pt idx="162">
                  <c:v>3</c:v>
                </c:pt>
                <c:pt idx="163">
                  <c:v>2</c:v>
                </c:pt>
                <c:pt idx="164">
                  <c:v>3</c:v>
                </c:pt>
                <c:pt idx="165">
                  <c:v>2</c:v>
                </c:pt>
                <c:pt idx="166">
                  <c:v>1</c:v>
                </c:pt>
                <c:pt idx="167">
                  <c:v>2</c:v>
                </c:pt>
                <c:pt idx="168">
                  <c:v>2</c:v>
                </c:pt>
                <c:pt idx="169">
                  <c:v>1</c:v>
                </c:pt>
                <c:pt idx="170">
                  <c:v>2</c:v>
                </c:pt>
                <c:pt idx="171">
                  <c:v>3</c:v>
                </c:pt>
                <c:pt idx="172">
                  <c:v>2</c:v>
                </c:pt>
                <c:pt idx="173">
                  <c:v>3</c:v>
                </c:pt>
                <c:pt idx="174">
                  <c:v>2</c:v>
                </c:pt>
                <c:pt idx="175">
                  <c:v>3</c:v>
                </c:pt>
                <c:pt idx="176">
                  <c:v>2</c:v>
                </c:pt>
                <c:pt idx="177">
                  <c:v>2</c:v>
                </c:pt>
                <c:pt idx="178">
                  <c:v>2</c:v>
                </c:pt>
                <c:pt idx="179">
                  <c:v>2</c:v>
                </c:pt>
                <c:pt idx="180">
                  <c:v>1</c:v>
                </c:pt>
                <c:pt idx="181">
                  <c:v>4</c:v>
                </c:pt>
                <c:pt idx="182">
                  <c:v>1</c:v>
                </c:pt>
                <c:pt idx="183">
                  <c:v>2</c:v>
                </c:pt>
                <c:pt idx="184">
                  <c:v>3</c:v>
                </c:pt>
                <c:pt idx="185">
                  <c:v>2</c:v>
                </c:pt>
                <c:pt idx="186">
                  <c:v>2</c:v>
                </c:pt>
                <c:pt idx="187">
                  <c:v>2</c:v>
                </c:pt>
                <c:pt idx="188">
                  <c:v>3</c:v>
                </c:pt>
                <c:pt idx="189">
                  <c:v>1</c:v>
                </c:pt>
                <c:pt idx="190">
                  <c:v>2</c:v>
                </c:pt>
                <c:pt idx="191">
                  <c:v>1</c:v>
                </c:pt>
                <c:pt idx="192">
                  <c:v>1</c:v>
                </c:pt>
                <c:pt idx="193">
                  <c:v>1</c:v>
                </c:pt>
                <c:pt idx="194">
                  <c:v>3</c:v>
                </c:pt>
                <c:pt idx="195">
                  <c:v>3</c:v>
                </c:pt>
                <c:pt idx="196">
                  <c:v>1</c:v>
                </c:pt>
                <c:pt idx="197">
                  <c:v>2</c:v>
                </c:pt>
                <c:pt idx="198">
                  <c:v>2</c:v>
                </c:pt>
                <c:pt idx="199">
                  <c:v>2</c:v>
                </c:pt>
                <c:pt idx="200">
                  <c:v>1</c:v>
                </c:pt>
                <c:pt idx="201">
                  <c:v>3</c:v>
                </c:pt>
                <c:pt idx="202">
                  <c:v>1</c:v>
                </c:pt>
                <c:pt idx="203">
                  <c:v>2</c:v>
                </c:pt>
                <c:pt idx="204">
                  <c:v>3</c:v>
                </c:pt>
                <c:pt idx="205">
                  <c:v>2</c:v>
                </c:pt>
                <c:pt idx="206">
                  <c:v>2</c:v>
                </c:pt>
                <c:pt idx="207">
                  <c:v>3</c:v>
                </c:pt>
                <c:pt idx="208">
                  <c:v>3</c:v>
                </c:pt>
                <c:pt idx="209">
                  <c:v>2</c:v>
                </c:pt>
                <c:pt idx="210">
                  <c:v>2</c:v>
                </c:pt>
                <c:pt idx="211">
                  <c:v>3</c:v>
                </c:pt>
                <c:pt idx="212">
                  <c:v>2</c:v>
                </c:pt>
                <c:pt idx="213">
                  <c:v>2</c:v>
                </c:pt>
                <c:pt idx="214">
                  <c:v>2</c:v>
                </c:pt>
                <c:pt idx="215">
                  <c:v>1</c:v>
                </c:pt>
                <c:pt idx="216">
                  <c:v>2</c:v>
                </c:pt>
                <c:pt idx="217">
                  <c:v>2</c:v>
                </c:pt>
                <c:pt idx="218">
                  <c:v>1</c:v>
                </c:pt>
                <c:pt idx="219">
                  <c:v>1</c:v>
                </c:pt>
                <c:pt idx="220">
                  <c:v>2</c:v>
                </c:pt>
                <c:pt idx="221">
                  <c:v>2</c:v>
                </c:pt>
                <c:pt idx="222">
                  <c:v>2</c:v>
                </c:pt>
                <c:pt idx="224">
                  <c:v>2</c:v>
                </c:pt>
                <c:pt idx="225">
                  <c:v>2</c:v>
                </c:pt>
                <c:pt idx="226">
                  <c:v>2</c:v>
                </c:pt>
                <c:pt idx="227">
                  <c:v>2</c:v>
                </c:pt>
                <c:pt idx="228">
                  <c:v>4</c:v>
                </c:pt>
                <c:pt idx="229">
                  <c:v>2</c:v>
                </c:pt>
                <c:pt idx="230">
                  <c:v>2</c:v>
                </c:pt>
                <c:pt idx="231">
                  <c:v>2</c:v>
                </c:pt>
                <c:pt idx="232">
                  <c:v>2</c:v>
                </c:pt>
                <c:pt idx="233">
                  <c:v>2</c:v>
                </c:pt>
                <c:pt idx="234">
                  <c:v>2</c:v>
                </c:pt>
                <c:pt idx="235">
                  <c:v>2</c:v>
                </c:pt>
                <c:pt idx="236">
                  <c:v>2</c:v>
                </c:pt>
                <c:pt idx="239">
                  <c:v>2</c:v>
                </c:pt>
                <c:pt idx="240">
                  <c:v>2</c:v>
                </c:pt>
                <c:pt idx="241">
                  <c:v>1</c:v>
                </c:pt>
                <c:pt idx="242">
                  <c:v>2</c:v>
                </c:pt>
                <c:pt idx="243">
                  <c:v>3</c:v>
                </c:pt>
                <c:pt idx="244">
                  <c:v>2</c:v>
                </c:pt>
                <c:pt idx="245">
                  <c:v>1</c:v>
                </c:pt>
                <c:pt idx="246">
                  <c:v>2</c:v>
                </c:pt>
                <c:pt idx="247">
                  <c:v>2</c:v>
                </c:pt>
                <c:pt idx="248">
                  <c:v>1</c:v>
                </c:pt>
                <c:pt idx="249">
                  <c:v>2</c:v>
                </c:pt>
                <c:pt idx="250">
                  <c:v>4</c:v>
                </c:pt>
                <c:pt idx="251">
                  <c:v>2</c:v>
                </c:pt>
                <c:pt idx="252">
                  <c:v>2</c:v>
                </c:pt>
                <c:pt idx="253">
                  <c:v>3</c:v>
                </c:pt>
                <c:pt idx="254">
                  <c:v>2</c:v>
                </c:pt>
                <c:pt idx="255">
                  <c:v>2</c:v>
                </c:pt>
                <c:pt idx="256">
                  <c:v>1</c:v>
                </c:pt>
                <c:pt idx="257">
                  <c:v>2</c:v>
                </c:pt>
                <c:pt idx="258">
                  <c:v>2</c:v>
                </c:pt>
                <c:pt idx="259">
                  <c:v>1</c:v>
                </c:pt>
                <c:pt idx="260">
                  <c:v>1</c:v>
                </c:pt>
                <c:pt idx="261">
                  <c:v>1</c:v>
                </c:pt>
                <c:pt idx="262">
                  <c:v>2</c:v>
                </c:pt>
                <c:pt idx="263">
                  <c:v>3</c:v>
                </c:pt>
                <c:pt idx="264">
                  <c:v>3</c:v>
                </c:pt>
                <c:pt idx="265">
                  <c:v>2</c:v>
                </c:pt>
                <c:pt idx="266">
                  <c:v>2</c:v>
                </c:pt>
                <c:pt idx="267">
                  <c:v>3</c:v>
                </c:pt>
                <c:pt idx="268">
                  <c:v>2</c:v>
                </c:pt>
                <c:pt idx="269">
                  <c:v>2</c:v>
                </c:pt>
                <c:pt idx="270">
                  <c:v>2</c:v>
                </c:pt>
                <c:pt idx="271">
                  <c:v>2</c:v>
                </c:pt>
                <c:pt idx="272">
                  <c:v>1</c:v>
                </c:pt>
                <c:pt idx="273">
                  <c:v>1</c:v>
                </c:pt>
                <c:pt idx="274">
                  <c:v>1</c:v>
                </c:pt>
                <c:pt idx="275">
                  <c:v>1</c:v>
                </c:pt>
                <c:pt idx="276">
                  <c:v>2</c:v>
                </c:pt>
                <c:pt idx="277">
                  <c:v>1</c:v>
                </c:pt>
                <c:pt idx="278">
                  <c:v>2</c:v>
                </c:pt>
                <c:pt idx="279">
                  <c:v>1</c:v>
                </c:pt>
                <c:pt idx="280">
                  <c:v>1</c:v>
                </c:pt>
                <c:pt idx="281">
                  <c:v>1</c:v>
                </c:pt>
                <c:pt idx="282">
                  <c:v>2</c:v>
                </c:pt>
                <c:pt idx="283">
                  <c:v>3</c:v>
                </c:pt>
                <c:pt idx="284">
                  <c:v>3</c:v>
                </c:pt>
                <c:pt idx="285">
                  <c:v>3</c:v>
                </c:pt>
                <c:pt idx="286">
                  <c:v>2</c:v>
                </c:pt>
                <c:pt idx="287">
                  <c:v>3</c:v>
                </c:pt>
                <c:pt idx="288">
                  <c:v>1</c:v>
                </c:pt>
                <c:pt idx="289">
                  <c:v>1</c:v>
                </c:pt>
                <c:pt idx="290">
                  <c:v>1</c:v>
                </c:pt>
                <c:pt idx="291">
                  <c:v>2</c:v>
                </c:pt>
                <c:pt idx="292">
                  <c:v>3</c:v>
                </c:pt>
                <c:pt idx="293">
                  <c:v>2</c:v>
                </c:pt>
                <c:pt idx="294">
                  <c:v>2</c:v>
                </c:pt>
                <c:pt idx="295">
                  <c:v>4</c:v>
                </c:pt>
                <c:pt idx="296">
                  <c:v>2</c:v>
                </c:pt>
                <c:pt idx="297">
                  <c:v>1</c:v>
                </c:pt>
                <c:pt idx="298">
                  <c:v>3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2</c:v>
                </c:pt>
                <c:pt idx="303">
                  <c:v>2</c:v>
                </c:pt>
                <c:pt idx="304">
                  <c:v>1</c:v>
                </c:pt>
                <c:pt idx="305">
                  <c:v>2</c:v>
                </c:pt>
                <c:pt idx="306">
                  <c:v>3</c:v>
                </c:pt>
                <c:pt idx="307">
                  <c:v>2</c:v>
                </c:pt>
                <c:pt idx="308">
                  <c:v>3</c:v>
                </c:pt>
                <c:pt idx="309">
                  <c:v>1</c:v>
                </c:pt>
                <c:pt idx="310">
                  <c:v>2</c:v>
                </c:pt>
                <c:pt idx="311">
                  <c:v>2</c:v>
                </c:pt>
                <c:pt idx="312">
                  <c:v>1</c:v>
                </c:pt>
                <c:pt idx="313">
                  <c:v>3</c:v>
                </c:pt>
                <c:pt idx="314">
                  <c:v>3</c:v>
                </c:pt>
                <c:pt idx="315">
                  <c:v>1</c:v>
                </c:pt>
                <c:pt idx="316">
                  <c:v>1</c:v>
                </c:pt>
                <c:pt idx="317">
                  <c:v>3</c:v>
                </c:pt>
                <c:pt idx="318">
                  <c:v>1</c:v>
                </c:pt>
                <c:pt idx="320">
                  <c:v>2</c:v>
                </c:pt>
                <c:pt idx="321">
                  <c:v>1</c:v>
                </c:pt>
                <c:pt idx="322">
                  <c:v>3</c:v>
                </c:pt>
                <c:pt idx="323">
                  <c:v>3</c:v>
                </c:pt>
                <c:pt idx="324">
                  <c:v>3</c:v>
                </c:pt>
                <c:pt idx="325">
                  <c:v>1</c:v>
                </c:pt>
                <c:pt idx="326">
                  <c:v>2</c:v>
                </c:pt>
                <c:pt idx="327">
                  <c:v>1</c:v>
                </c:pt>
                <c:pt idx="328">
                  <c:v>2</c:v>
                </c:pt>
                <c:pt idx="329">
                  <c:v>2</c:v>
                </c:pt>
                <c:pt idx="330">
                  <c:v>2</c:v>
                </c:pt>
                <c:pt idx="331">
                  <c:v>1</c:v>
                </c:pt>
                <c:pt idx="332">
                  <c:v>4</c:v>
                </c:pt>
                <c:pt idx="333">
                  <c:v>1</c:v>
                </c:pt>
                <c:pt idx="334">
                  <c:v>2</c:v>
                </c:pt>
                <c:pt idx="335">
                  <c:v>1</c:v>
                </c:pt>
                <c:pt idx="336">
                  <c:v>2</c:v>
                </c:pt>
                <c:pt idx="337">
                  <c:v>1</c:v>
                </c:pt>
                <c:pt idx="338">
                  <c:v>2</c:v>
                </c:pt>
                <c:pt idx="339">
                  <c:v>3</c:v>
                </c:pt>
                <c:pt idx="340">
                  <c:v>2</c:v>
                </c:pt>
                <c:pt idx="341">
                  <c:v>3</c:v>
                </c:pt>
                <c:pt idx="342">
                  <c:v>3</c:v>
                </c:pt>
                <c:pt idx="343">
                  <c:v>3</c:v>
                </c:pt>
                <c:pt idx="344">
                  <c:v>1</c:v>
                </c:pt>
                <c:pt idx="345">
                  <c:v>2</c:v>
                </c:pt>
                <c:pt idx="346">
                  <c:v>1</c:v>
                </c:pt>
                <c:pt idx="347">
                  <c:v>3</c:v>
                </c:pt>
                <c:pt idx="348">
                  <c:v>1</c:v>
                </c:pt>
                <c:pt idx="349">
                  <c:v>1</c:v>
                </c:pt>
                <c:pt idx="350">
                  <c:v>1</c:v>
                </c:pt>
                <c:pt idx="351">
                  <c:v>2</c:v>
                </c:pt>
                <c:pt idx="352">
                  <c:v>1</c:v>
                </c:pt>
                <c:pt idx="353">
                  <c:v>3</c:v>
                </c:pt>
                <c:pt idx="354">
                  <c:v>2</c:v>
                </c:pt>
                <c:pt idx="355">
                  <c:v>3</c:v>
                </c:pt>
                <c:pt idx="356">
                  <c:v>3</c:v>
                </c:pt>
                <c:pt idx="357">
                  <c:v>3</c:v>
                </c:pt>
                <c:pt idx="358">
                  <c:v>3</c:v>
                </c:pt>
                <c:pt idx="359">
                  <c:v>2</c:v>
                </c:pt>
                <c:pt idx="360">
                  <c:v>3</c:v>
                </c:pt>
                <c:pt idx="361">
                  <c:v>3</c:v>
                </c:pt>
                <c:pt idx="362">
                  <c:v>3</c:v>
                </c:pt>
                <c:pt idx="363">
                  <c:v>2</c:v>
                </c:pt>
                <c:pt idx="364">
                  <c:v>1</c:v>
                </c:pt>
                <c:pt idx="365">
                  <c:v>2</c:v>
                </c:pt>
                <c:pt idx="366">
                  <c:v>1</c:v>
                </c:pt>
                <c:pt idx="367">
                  <c:v>2</c:v>
                </c:pt>
                <c:pt idx="368">
                  <c:v>2</c:v>
                </c:pt>
                <c:pt idx="369">
                  <c:v>2</c:v>
                </c:pt>
                <c:pt idx="370">
                  <c:v>2</c:v>
                </c:pt>
                <c:pt idx="371">
                  <c:v>2</c:v>
                </c:pt>
                <c:pt idx="372">
                  <c:v>2</c:v>
                </c:pt>
                <c:pt idx="373">
                  <c:v>2</c:v>
                </c:pt>
                <c:pt idx="374">
                  <c:v>3</c:v>
                </c:pt>
                <c:pt idx="375">
                  <c:v>2</c:v>
                </c:pt>
                <c:pt idx="376">
                  <c:v>2</c:v>
                </c:pt>
                <c:pt idx="377">
                  <c:v>1</c:v>
                </c:pt>
                <c:pt idx="378">
                  <c:v>3</c:v>
                </c:pt>
                <c:pt idx="379">
                  <c:v>3</c:v>
                </c:pt>
                <c:pt idx="380">
                  <c:v>2</c:v>
                </c:pt>
                <c:pt idx="381">
                  <c:v>1</c:v>
                </c:pt>
                <c:pt idx="382">
                  <c:v>2</c:v>
                </c:pt>
                <c:pt idx="383">
                  <c:v>1</c:v>
                </c:pt>
                <c:pt idx="384">
                  <c:v>4</c:v>
                </c:pt>
                <c:pt idx="385">
                  <c:v>1</c:v>
                </c:pt>
                <c:pt idx="386">
                  <c:v>2</c:v>
                </c:pt>
                <c:pt idx="387">
                  <c:v>1</c:v>
                </c:pt>
                <c:pt idx="388">
                  <c:v>2</c:v>
                </c:pt>
                <c:pt idx="389">
                  <c:v>2</c:v>
                </c:pt>
                <c:pt idx="390">
                  <c:v>3</c:v>
                </c:pt>
                <c:pt idx="391">
                  <c:v>3</c:v>
                </c:pt>
                <c:pt idx="392">
                  <c:v>1</c:v>
                </c:pt>
                <c:pt idx="393">
                  <c:v>4</c:v>
                </c:pt>
                <c:pt idx="394">
                  <c:v>2</c:v>
                </c:pt>
                <c:pt idx="395">
                  <c:v>1</c:v>
                </c:pt>
                <c:pt idx="396">
                  <c:v>2</c:v>
                </c:pt>
                <c:pt idx="397">
                  <c:v>3</c:v>
                </c:pt>
                <c:pt idx="398">
                  <c:v>2</c:v>
                </c:pt>
                <c:pt idx="399">
                  <c:v>3</c:v>
                </c:pt>
                <c:pt idx="400">
                  <c:v>2</c:v>
                </c:pt>
                <c:pt idx="401">
                  <c:v>2</c:v>
                </c:pt>
                <c:pt idx="402">
                  <c:v>2</c:v>
                </c:pt>
                <c:pt idx="403">
                  <c:v>3</c:v>
                </c:pt>
                <c:pt idx="404">
                  <c:v>2</c:v>
                </c:pt>
                <c:pt idx="405">
                  <c:v>2</c:v>
                </c:pt>
                <c:pt idx="406">
                  <c:v>2</c:v>
                </c:pt>
                <c:pt idx="407">
                  <c:v>3</c:v>
                </c:pt>
                <c:pt idx="408">
                  <c:v>3</c:v>
                </c:pt>
                <c:pt idx="409">
                  <c:v>3</c:v>
                </c:pt>
                <c:pt idx="410">
                  <c:v>4</c:v>
                </c:pt>
                <c:pt idx="411">
                  <c:v>3</c:v>
                </c:pt>
                <c:pt idx="412">
                  <c:v>3</c:v>
                </c:pt>
                <c:pt idx="413">
                  <c:v>2</c:v>
                </c:pt>
                <c:pt idx="414">
                  <c:v>1</c:v>
                </c:pt>
                <c:pt idx="415">
                  <c:v>1</c:v>
                </c:pt>
                <c:pt idx="416">
                  <c:v>1</c:v>
                </c:pt>
                <c:pt idx="417">
                  <c:v>1</c:v>
                </c:pt>
                <c:pt idx="418">
                  <c:v>1</c:v>
                </c:pt>
                <c:pt idx="419">
                  <c:v>2</c:v>
                </c:pt>
                <c:pt idx="420">
                  <c:v>2</c:v>
                </c:pt>
                <c:pt idx="421">
                  <c:v>3</c:v>
                </c:pt>
                <c:pt idx="422">
                  <c:v>3</c:v>
                </c:pt>
                <c:pt idx="423">
                  <c:v>3</c:v>
                </c:pt>
                <c:pt idx="424">
                  <c:v>1</c:v>
                </c:pt>
                <c:pt idx="425">
                  <c:v>3</c:v>
                </c:pt>
                <c:pt idx="426">
                  <c:v>3</c:v>
                </c:pt>
                <c:pt idx="427">
                  <c:v>3</c:v>
                </c:pt>
                <c:pt idx="428">
                  <c:v>3</c:v>
                </c:pt>
                <c:pt idx="429">
                  <c:v>3</c:v>
                </c:pt>
                <c:pt idx="430">
                  <c:v>2</c:v>
                </c:pt>
                <c:pt idx="431">
                  <c:v>1</c:v>
                </c:pt>
                <c:pt idx="432">
                  <c:v>3</c:v>
                </c:pt>
                <c:pt idx="433">
                  <c:v>1</c:v>
                </c:pt>
                <c:pt idx="434">
                  <c:v>1</c:v>
                </c:pt>
                <c:pt idx="435">
                  <c:v>2</c:v>
                </c:pt>
                <c:pt idx="436">
                  <c:v>2</c:v>
                </c:pt>
                <c:pt idx="437">
                  <c:v>3</c:v>
                </c:pt>
                <c:pt idx="438">
                  <c:v>2</c:v>
                </c:pt>
                <c:pt idx="439">
                  <c:v>3</c:v>
                </c:pt>
                <c:pt idx="440">
                  <c:v>2</c:v>
                </c:pt>
                <c:pt idx="441">
                  <c:v>2</c:v>
                </c:pt>
                <c:pt idx="442">
                  <c:v>4</c:v>
                </c:pt>
                <c:pt idx="443">
                  <c:v>4</c:v>
                </c:pt>
                <c:pt idx="444">
                  <c:v>2</c:v>
                </c:pt>
                <c:pt idx="445">
                  <c:v>2</c:v>
                </c:pt>
                <c:pt idx="446">
                  <c:v>3</c:v>
                </c:pt>
                <c:pt idx="447">
                  <c:v>2</c:v>
                </c:pt>
                <c:pt idx="448">
                  <c:v>4</c:v>
                </c:pt>
                <c:pt idx="449">
                  <c:v>3</c:v>
                </c:pt>
                <c:pt idx="450">
                  <c:v>2</c:v>
                </c:pt>
                <c:pt idx="451">
                  <c:v>1</c:v>
                </c:pt>
                <c:pt idx="452">
                  <c:v>2</c:v>
                </c:pt>
                <c:pt idx="453">
                  <c:v>3</c:v>
                </c:pt>
                <c:pt idx="454">
                  <c:v>2</c:v>
                </c:pt>
                <c:pt idx="455">
                  <c:v>2</c:v>
                </c:pt>
                <c:pt idx="456">
                  <c:v>2</c:v>
                </c:pt>
                <c:pt idx="457">
                  <c:v>1</c:v>
                </c:pt>
                <c:pt idx="458">
                  <c:v>2</c:v>
                </c:pt>
                <c:pt idx="459">
                  <c:v>2</c:v>
                </c:pt>
                <c:pt idx="460">
                  <c:v>2</c:v>
                </c:pt>
                <c:pt idx="461">
                  <c:v>2</c:v>
                </c:pt>
                <c:pt idx="462">
                  <c:v>2</c:v>
                </c:pt>
                <c:pt idx="463">
                  <c:v>2</c:v>
                </c:pt>
                <c:pt idx="464">
                  <c:v>3</c:v>
                </c:pt>
                <c:pt idx="465">
                  <c:v>3</c:v>
                </c:pt>
                <c:pt idx="466">
                  <c:v>1</c:v>
                </c:pt>
                <c:pt idx="467">
                  <c:v>2</c:v>
                </c:pt>
                <c:pt idx="468">
                  <c:v>2</c:v>
                </c:pt>
                <c:pt idx="469">
                  <c:v>2</c:v>
                </c:pt>
                <c:pt idx="470">
                  <c:v>2</c:v>
                </c:pt>
                <c:pt idx="471">
                  <c:v>2</c:v>
                </c:pt>
                <c:pt idx="473">
                  <c:v>1</c:v>
                </c:pt>
                <c:pt idx="474">
                  <c:v>3</c:v>
                </c:pt>
                <c:pt idx="475">
                  <c:v>3</c:v>
                </c:pt>
                <c:pt idx="476">
                  <c:v>1</c:v>
                </c:pt>
                <c:pt idx="477">
                  <c:v>2</c:v>
                </c:pt>
                <c:pt idx="478">
                  <c:v>2</c:v>
                </c:pt>
                <c:pt idx="479">
                  <c:v>2</c:v>
                </c:pt>
                <c:pt idx="480">
                  <c:v>2</c:v>
                </c:pt>
                <c:pt idx="481">
                  <c:v>1</c:v>
                </c:pt>
                <c:pt idx="482">
                  <c:v>2</c:v>
                </c:pt>
                <c:pt idx="484">
                  <c:v>2</c:v>
                </c:pt>
                <c:pt idx="485">
                  <c:v>1</c:v>
                </c:pt>
                <c:pt idx="486">
                  <c:v>2</c:v>
                </c:pt>
                <c:pt idx="487">
                  <c:v>2</c:v>
                </c:pt>
                <c:pt idx="488">
                  <c:v>3</c:v>
                </c:pt>
                <c:pt idx="489">
                  <c:v>1</c:v>
                </c:pt>
                <c:pt idx="490">
                  <c:v>3</c:v>
                </c:pt>
                <c:pt idx="491">
                  <c:v>2</c:v>
                </c:pt>
                <c:pt idx="492">
                  <c:v>2</c:v>
                </c:pt>
                <c:pt idx="493">
                  <c:v>3</c:v>
                </c:pt>
                <c:pt idx="494">
                  <c:v>2</c:v>
                </c:pt>
                <c:pt idx="495">
                  <c:v>2</c:v>
                </c:pt>
                <c:pt idx="496">
                  <c:v>2</c:v>
                </c:pt>
                <c:pt idx="497">
                  <c:v>2</c:v>
                </c:pt>
                <c:pt idx="498">
                  <c:v>3</c:v>
                </c:pt>
                <c:pt idx="499">
                  <c:v>2</c:v>
                </c:pt>
                <c:pt idx="500">
                  <c:v>2</c:v>
                </c:pt>
                <c:pt idx="501">
                  <c:v>4</c:v>
                </c:pt>
                <c:pt idx="502">
                  <c:v>3</c:v>
                </c:pt>
                <c:pt idx="503">
                  <c:v>3</c:v>
                </c:pt>
                <c:pt idx="504">
                  <c:v>1</c:v>
                </c:pt>
                <c:pt idx="506">
                  <c:v>2</c:v>
                </c:pt>
                <c:pt idx="507">
                  <c:v>3</c:v>
                </c:pt>
                <c:pt idx="508">
                  <c:v>1</c:v>
                </c:pt>
                <c:pt idx="509">
                  <c:v>1</c:v>
                </c:pt>
                <c:pt idx="510">
                  <c:v>2</c:v>
                </c:pt>
                <c:pt idx="511">
                  <c:v>3</c:v>
                </c:pt>
                <c:pt idx="512">
                  <c:v>2</c:v>
                </c:pt>
                <c:pt idx="513">
                  <c:v>1</c:v>
                </c:pt>
                <c:pt idx="514">
                  <c:v>2</c:v>
                </c:pt>
                <c:pt idx="515">
                  <c:v>1</c:v>
                </c:pt>
                <c:pt idx="516">
                  <c:v>2</c:v>
                </c:pt>
                <c:pt idx="517">
                  <c:v>2</c:v>
                </c:pt>
                <c:pt idx="518">
                  <c:v>2</c:v>
                </c:pt>
                <c:pt idx="519">
                  <c:v>3</c:v>
                </c:pt>
                <c:pt idx="520">
                  <c:v>2</c:v>
                </c:pt>
                <c:pt idx="521">
                  <c:v>2</c:v>
                </c:pt>
                <c:pt idx="522">
                  <c:v>4</c:v>
                </c:pt>
                <c:pt idx="523">
                  <c:v>2</c:v>
                </c:pt>
                <c:pt idx="524">
                  <c:v>2</c:v>
                </c:pt>
                <c:pt idx="525">
                  <c:v>2</c:v>
                </c:pt>
                <c:pt idx="526">
                  <c:v>3</c:v>
                </c:pt>
                <c:pt idx="527">
                  <c:v>2</c:v>
                </c:pt>
                <c:pt idx="528">
                  <c:v>2</c:v>
                </c:pt>
                <c:pt idx="529">
                  <c:v>2</c:v>
                </c:pt>
                <c:pt idx="530">
                  <c:v>2</c:v>
                </c:pt>
                <c:pt idx="531">
                  <c:v>2</c:v>
                </c:pt>
                <c:pt idx="532">
                  <c:v>2</c:v>
                </c:pt>
                <c:pt idx="534">
                  <c:v>2</c:v>
                </c:pt>
                <c:pt idx="535">
                  <c:v>4</c:v>
                </c:pt>
                <c:pt idx="536">
                  <c:v>3</c:v>
                </c:pt>
                <c:pt idx="537">
                  <c:v>2</c:v>
                </c:pt>
                <c:pt idx="538">
                  <c:v>1</c:v>
                </c:pt>
                <c:pt idx="539">
                  <c:v>3</c:v>
                </c:pt>
                <c:pt idx="540">
                  <c:v>3</c:v>
                </c:pt>
                <c:pt idx="541">
                  <c:v>4</c:v>
                </c:pt>
                <c:pt idx="542">
                  <c:v>1</c:v>
                </c:pt>
                <c:pt idx="543">
                  <c:v>3</c:v>
                </c:pt>
                <c:pt idx="544">
                  <c:v>3</c:v>
                </c:pt>
                <c:pt idx="545">
                  <c:v>3</c:v>
                </c:pt>
                <c:pt idx="546">
                  <c:v>2</c:v>
                </c:pt>
                <c:pt idx="547">
                  <c:v>2</c:v>
                </c:pt>
                <c:pt idx="548">
                  <c:v>4</c:v>
                </c:pt>
                <c:pt idx="549">
                  <c:v>1</c:v>
                </c:pt>
                <c:pt idx="550">
                  <c:v>1</c:v>
                </c:pt>
                <c:pt idx="551">
                  <c:v>1</c:v>
                </c:pt>
                <c:pt idx="552">
                  <c:v>2</c:v>
                </c:pt>
                <c:pt idx="553">
                  <c:v>3</c:v>
                </c:pt>
                <c:pt idx="554">
                  <c:v>1</c:v>
                </c:pt>
                <c:pt idx="555">
                  <c:v>2</c:v>
                </c:pt>
                <c:pt idx="556">
                  <c:v>2</c:v>
                </c:pt>
                <c:pt idx="557">
                  <c:v>3</c:v>
                </c:pt>
                <c:pt idx="558">
                  <c:v>1</c:v>
                </c:pt>
                <c:pt idx="559">
                  <c:v>1</c:v>
                </c:pt>
                <c:pt idx="560">
                  <c:v>1</c:v>
                </c:pt>
                <c:pt idx="561">
                  <c:v>1</c:v>
                </c:pt>
                <c:pt idx="562">
                  <c:v>2</c:v>
                </c:pt>
                <c:pt idx="563">
                  <c:v>1</c:v>
                </c:pt>
                <c:pt idx="564">
                  <c:v>2</c:v>
                </c:pt>
                <c:pt idx="565">
                  <c:v>1</c:v>
                </c:pt>
                <c:pt idx="566">
                  <c:v>1</c:v>
                </c:pt>
                <c:pt idx="567">
                  <c:v>2</c:v>
                </c:pt>
                <c:pt idx="568">
                  <c:v>2</c:v>
                </c:pt>
                <c:pt idx="569">
                  <c:v>2</c:v>
                </c:pt>
                <c:pt idx="570">
                  <c:v>2</c:v>
                </c:pt>
                <c:pt idx="571">
                  <c:v>1</c:v>
                </c:pt>
                <c:pt idx="572">
                  <c:v>3</c:v>
                </c:pt>
                <c:pt idx="573">
                  <c:v>2</c:v>
                </c:pt>
                <c:pt idx="574">
                  <c:v>3</c:v>
                </c:pt>
                <c:pt idx="575">
                  <c:v>1</c:v>
                </c:pt>
                <c:pt idx="576">
                  <c:v>1</c:v>
                </c:pt>
                <c:pt idx="577">
                  <c:v>3</c:v>
                </c:pt>
                <c:pt idx="578">
                  <c:v>1</c:v>
                </c:pt>
                <c:pt idx="579">
                  <c:v>2</c:v>
                </c:pt>
                <c:pt idx="580">
                  <c:v>3</c:v>
                </c:pt>
                <c:pt idx="581">
                  <c:v>3</c:v>
                </c:pt>
                <c:pt idx="582">
                  <c:v>1</c:v>
                </c:pt>
                <c:pt idx="583">
                  <c:v>4</c:v>
                </c:pt>
                <c:pt idx="584">
                  <c:v>1</c:v>
                </c:pt>
                <c:pt idx="585">
                  <c:v>1</c:v>
                </c:pt>
                <c:pt idx="586">
                  <c:v>1</c:v>
                </c:pt>
                <c:pt idx="587">
                  <c:v>1</c:v>
                </c:pt>
                <c:pt idx="588">
                  <c:v>2</c:v>
                </c:pt>
                <c:pt idx="589">
                  <c:v>3</c:v>
                </c:pt>
                <c:pt idx="590">
                  <c:v>2</c:v>
                </c:pt>
                <c:pt idx="591">
                  <c:v>3</c:v>
                </c:pt>
                <c:pt idx="592">
                  <c:v>4</c:v>
                </c:pt>
                <c:pt idx="593">
                  <c:v>2</c:v>
                </c:pt>
                <c:pt idx="594">
                  <c:v>3</c:v>
                </c:pt>
                <c:pt idx="595">
                  <c:v>3</c:v>
                </c:pt>
                <c:pt idx="596">
                  <c:v>3</c:v>
                </c:pt>
                <c:pt idx="597">
                  <c:v>3</c:v>
                </c:pt>
                <c:pt idx="598">
                  <c:v>3</c:v>
                </c:pt>
                <c:pt idx="599">
                  <c:v>3</c:v>
                </c:pt>
                <c:pt idx="600">
                  <c:v>3</c:v>
                </c:pt>
                <c:pt idx="601">
                  <c:v>1</c:v>
                </c:pt>
                <c:pt idx="602">
                  <c:v>1</c:v>
                </c:pt>
                <c:pt idx="603">
                  <c:v>2</c:v>
                </c:pt>
                <c:pt idx="604">
                  <c:v>2</c:v>
                </c:pt>
                <c:pt idx="605">
                  <c:v>2</c:v>
                </c:pt>
                <c:pt idx="606">
                  <c:v>2</c:v>
                </c:pt>
                <c:pt idx="607">
                  <c:v>1</c:v>
                </c:pt>
                <c:pt idx="608">
                  <c:v>2</c:v>
                </c:pt>
                <c:pt idx="609">
                  <c:v>2</c:v>
                </c:pt>
                <c:pt idx="610">
                  <c:v>2</c:v>
                </c:pt>
                <c:pt idx="611">
                  <c:v>2</c:v>
                </c:pt>
                <c:pt idx="612">
                  <c:v>1</c:v>
                </c:pt>
                <c:pt idx="613">
                  <c:v>2</c:v>
                </c:pt>
                <c:pt idx="614">
                  <c:v>4</c:v>
                </c:pt>
                <c:pt idx="615">
                  <c:v>3</c:v>
                </c:pt>
                <c:pt idx="616">
                  <c:v>3</c:v>
                </c:pt>
                <c:pt idx="617">
                  <c:v>2</c:v>
                </c:pt>
                <c:pt idx="618">
                  <c:v>2</c:v>
                </c:pt>
                <c:pt idx="619">
                  <c:v>3</c:v>
                </c:pt>
                <c:pt idx="620">
                  <c:v>2</c:v>
                </c:pt>
                <c:pt idx="621">
                  <c:v>1</c:v>
                </c:pt>
                <c:pt idx="622">
                  <c:v>3</c:v>
                </c:pt>
                <c:pt idx="623">
                  <c:v>1</c:v>
                </c:pt>
                <c:pt idx="624">
                  <c:v>2</c:v>
                </c:pt>
                <c:pt idx="625">
                  <c:v>3</c:v>
                </c:pt>
                <c:pt idx="626">
                  <c:v>3</c:v>
                </c:pt>
                <c:pt idx="627">
                  <c:v>3</c:v>
                </c:pt>
                <c:pt idx="628">
                  <c:v>3</c:v>
                </c:pt>
                <c:pt idx="629">
                  <c:v>3</c:v>
                </c:pt>
                <c:pt idx="630">
                  <c:v>1</c:v>
                </c:pt>
                <c:pt idx="631">
                  <c:v>3</c:v>
                </c:pt>
                <c:pt idx="632">
                  <c:v>2</c:v>
                </c:pt>
                <c:pt idx="633">
                  <c:v>2</c:v>
                </c:pt>
                <c:pt idx="634">
                  <c:v>2</c:v>
                </c:pt>
                <c:pt idx="635">
                  <c:v>1</c:v>
                </c:pt>
                <c:pt idx="636">
                  <c:v>1</c:v>
                </c:pt>
                <c:pt idx="637">
                  <c:v>1</c:v>
                </c:pt>
                <c:pt idx="638">
                  <c:v>2</c:v>
                </c:pt>
                <c:pt idx="639">
                  <c:v>3</c:v>
                </c:pt>
                <c:pt idx="640">
                  <c:v>3</c:v>
                </c:pt>
                <c:pt idx="641">
                  <c:v>2</c:v>
                </c:pt>
                <c:pt idx="642">
                  <c:v>3</c:v>
                </c:pt>
                <c:pt idx="643">
                  <c:v>2</c:v>
                </c:pt>
                <c:pt idx="644">
                  <c:v>2</c:v>
                </c:pt>
                <c:pt idx="645">
                  <c:v>2</c:v>
                </c:pt>
                <c:pt idx="646">
                  <c:v>1</c:v>
                </c:pt>
                <c:pt idx="647">
                  <c:v>2</c:v>
                </c:pt>
                <c:pt idx="648">
                  <c:v>2</c:v>
                </c:pt>
                <c:pt idx="649">
                  <c:v>2</c:v>
                </c:pt>
                <c:pt idx="650">
                  <c:v>2</c:v>
                </c:pt>
                <c:pt idx="651">
                  <c:v>1</c:v>
                </c:pt>
                <c:pt idx="652">
                  <c:v>2</c:v>
                </c:pt>
                <c:pt idx="653">
                  <c:v>3</c:v>
                </c:pt>
                <c:pt idx="654">
                  <c:v>2</c:v>
                </c:pt>
                <c:pt idx="655">
                  <c:v>2</c:v>
                </c:pt>
                <c:pt idx="656">
                  <c:v>2</c:v>
                </c:pt>
                <c:pt idx="657">
                  <c:v>1</c:v>
                </c:pt>
                <c:pt idx="658">
                  <c:v>4</c:v>
                </c:pt>
                <c:pt idx="659">
                  <c:v>3</c:v>
                </c:pt>
                <c:pt idx="660">
                  <c:v>3</c:v>
                </c:pt>
                <c:pt idx="661">
                  <c:v>1</c:v>
                </c:pt>
                <c:pt idx="662">
                  <c:v>2</c:v>
                </c:pt>
                <c:pt idx="663">
                  <c:v>3</c:v>
                </c:pt>
                <c:pt idx="666">
                  <c:v>1</c:v>
                </c:pt>
                <c:pt idx="667">
                  <c:v>2</c:v>
                </c:pt>
                <c:pt idx="668">
                  <c:v>1</c:v>
                </c:pt>
                <c:pt idx="669">
                  <c:v>1</c:v>
                </c:pt>
                <c:pt idx="670">
                  <c:v>3</c:v>
                </c:pt>
                <c:pt idx="671">
                  <c:v>3</c:v>
                </c:pt>
                <c:pt idx="672">
                  <c:v>3</c:v>
                </c:pt>
                <c:pt idx="673">
                  <c:v>2</c:v>
                </c:pt>
                <c:pt idx="674">
                  <c:v>1</c:v>
                </c:pt>
                <c:pt idx="675">
                  <c:v>3</c:v>
                </c:pt>
                <c:pt idx="676">
                  <c:v>3</c:v>
                </c:pt>
                <c:pt idx="677">
                  <c:v>2</c:v>
                </c:pt>
                <c:pt idx="678">
                  <c:v>4</c:v>
                </c:pt>
                <c:pt idx="679">
                  <c:v>2</c:v>
                </c:pt>
                <c:pt idx="680">
                  <c:v>1</c:v>
                </c:pt>
                <c:pt idx="681">
                  <c:v>3</c:v>
                </c:pt>
                <c:pt idx="682">
                  <c:v>1</c:v>
                </c:pt>
                <c:pt idx="683">
                  <c:v>2</c:v>
                </c:pt>
                <c:pt idx="684">
                  <c:v>1</c:v>
                </c:pt>
                <c:pt idx="685">
                  <c:v>1</c:v>
                </c:pt>
                <c:pt idx="686">
                  <c:v>2</c:v>
                </c:pt>
                <c:pt idx="687">
                  <c:v>2</c:v>
                </c:pt>
                <c:pt idx="688">
                  <c:v>3</c:v>
                </c:pt>
                <c:pt idx="689">
                  <c:v>1</c:v>
                </c:pt>
                <c:pt idx="690">
                  <c:v>2</c:v>
                </c:pt>
                <c:pt idx="691">
                  <c:v>1</c:v>
                </c:pt>
                <c:pt idx="692">
                  <c:v>3</c:v>
                </c:pt>
                <c:pt idx="693">
                  <c:v>2</c:v>
                </c:pt>
                <c:pt idx="694">
                  <c:v>2</c:v>
                </c:pt>
                <c:pt idx="695">
                  <c:v>2</c:v>
                </c:pt>
                <c:pt idx="696">
                  <c:v>2</c:v>
                </c:pt>
                <c:pt idx="697">
                  <c:v>3</c:v>
                </c:pt>
                <c:pt idx="699">
                  <c:v>1</c:v>
                </c:pt>
                <c:pt idx="700">
                  <c:v>1</c:v>
                </c:pt>
                <c:pt idx="701">
                  <c:v>1</c:v>
                </c:pt>
                <c:pt idx="702">
                  <c:v>1</c:v>
                </c:pt>
                <c:pt idx="703">
                  <c:v>3</c:v>
                </c:pt>
                <c:pt idx="704">
                  <c:v>2</c:v>
                </c:pt>
                <c:pt idx="705">
                  <c:v>3</c:v>
                </c:pt>
                <c:pt idx="706">
                  <c:v>2</c:v>
                </c:pt>
                <c:pt idx="707">
                  <c:v>1</c:v>
                </c:pt>
                <c:pt idx="708">
                  <c:v>3</c:v>
                </c:pt>
                <c:pt idx="709">
                  <c:v>2</c:v>
                </c:pt>
                <c:pt idx="710">
                  <c:v>1</c:v>
                </c:pt>
                <c:pt idx="711">
                  <c:v>2</c:v>
                </c:pt>
                <c:pt idx="712">
                  <c:v>1</c:v>
                </c:pt>
                <c:pt idx="713">
                  <c:v>2</c:v>
                </c:pt>
                <c:pt idx="714">
                  <c:v>2</c:v>
                </c:pt>
                <c:pt idx="715">
                  <c:v>3</c:v>
                </c:pt>
                <c:pt idx="716">
                  <c:v>2</c:v>
                </c:pt>
                <c:pt idx="717">
                  <c:v>2</c:v>
                </c:pt>
                <c:pt idx="718">
                  <c:v>2</c:v>
                </c:pt>
                <c:pt idx="719">
                  <c:v>2</c:v>
                </c:pt>
                <c:pt idx="720">
                  <c:v>2</c:v>
                </c:pt>
                <c:pt idx="721">
                  <c:v>1</c:v>
                </c:pt>
                <c:pt idx="722">
                  <c:v>1</c:v>
                </c:pt>
                <c:pt idx="723">
                  <c:v>1</c:v>
                </c:pt>
                <c:pt idx="724">
                  <c:v>1</c:v>
                </c:pt>
                <c:pt idx="725">
                  <c:v>1</c:v>
                </c:pt>
                <c:pt idx="726">
                  <c:v>1</c:v>
                </c:pt>
                <c:pt idx="727">
                  <c:v>1</c:v>
                </c:pt>
                <c:pt idx="728">
                  <c:v>1</c:v>
                </c:pt>
                <c:pt idx="729">
                  <c:v>2</c:v>
                </c:pt>
                <c:pt idx="730">
                  <c:v>2</c:v>
                </c:pt>
                <c:pt idx="731">
                  <c:v>2</c:v>
                </c:pt>
                <c:pt idx="732">
                  <c:v>2</c:v>
                </c:pt>
                <c:pt idx="733">
                  <c:v>2</c:v>
                </c:pt>
                <c:pt idx="734">
                  <c:v>1</c:v>
                </c:pt>
                <c:pt idx="735">
                  <c:v>3</c:v>
                </c:pt>
                <c:pt idx="736">
                  <c:v>3</c:v>
                </c:pt>
                <c:pt idx="737">
                  <c:v>3</c:v>
                </c:pt>
                <c:pt idx="738">
                  <c:v>3</c:v>
                </c:pt>
                <c:pt idx="739">
                  <c:v>1</c:v>
                </c:pt>
                <c:pt idx="740">
                  <c:v>2</c:v>
                </c:pt>
                <c:pt idx="741">
                  <c:v>2</c:v>
                </c:pt>
                <c:pt idx="742">
                  <c:v>2</c:v>
                </c:pt>
                <c:pt idx="743">
                  <c:v>3</c:v>
                </c:pt>
                <c:pt idx="744">
                  <c:v>1</c:v>
                </c:pt>
                <c:pt idx="745">
                  <c:v>2</c:v>
                </c:pt>
                <c:pt idx="747">
                  <c:v>2</c:v>
                </c:pt>
                <c:pt idx="748">
                  <c:v>2</c:v>
                </c:pt>
                <c:pt idx="749">
                  <c:v>2</c:v>
                </c:pt>
                <c:pt idx="750">
                  <c:v>2</c:v>
                </c:pt>
                <c:pt idx="751">
                  <c:v>2</c:v>
                </c:pt>
                <c:pt idx="752">
                  <c:v>2</c:v>
                </c:pt>
                <c:pt idx="753">
                  <c:v>2</c:v>
                </c:pt>
                <c:pt idx="754">
                  <c:v>2</c:v>
                </c:pt>
                <c:pt idx="755">
                  <c:v>1</c:v>
                </c:pt>
                <c:pt idx="756">
                  <c:v>1</c:v>
                </c:pt>
                <c:pt idx="757">
                  <c:v>3</c:v>
                </c:pt>
                <c:pt idx="758">
                  <c:v>2</c:v>
                </c:pt>
                <c:pt idx="759">
                  <c:v>2</c:v>
                </c:pt>
                <c:pt idx="760">
                  <c:v>2</c:v>
                </c:pt>
                <c:pt idx="761">
                  <c:v>2</c:v>
                </c:pt>
                <c:pt idx="762">
                  <c:v>3</c:v>
                </c:pt>
                <c:pt idx="763">
                  <c:v>1</c:v>
                </c:pt>
                <c:pt idx="764">
                  <c:v>1</c:v>
                </c:pt>
                <c:pt idx="765">
                  <c:v>2</c:v>
                </c:pt>
                <c:pt idx="766">
                  <c:v>2</c:v>
                </c:pt>
                <c:pt idx="767">
                  <c:v>1</c:v>
                </c:pt>
                <c:pt idx="768">
                  <c:v>1</c:v>
                </c:pt>
                <c:pt idx="769">
                  <c:v>2</c:v>
                </c:pt>
                <c:pt idx="770">
                  <c:v>1</c:v>
                </c:pt>
                <c:pt idx="771">
                  <c:v>1</c:v>
                </c:pt>
                <c:pt idx="772">
                  <c:v>1</c:v>
                </c:pt>
                <c:pt idx="774">
                  <c:v>2</c:v>
                </c:pt>
                <c:pt idx="777">
                  <c:v>2</c:v>
                </c:pt>
                <c:pt idx="778">
                  <c:v>2</c:v>
                </c:pt>
                <c:pt idx="779">
                  <c:v>2</c:v>
                </c:pt>
                <c:pt idx="780">
                  <c:v>2</c:v>
                </c:pt>
                <c:pt idx="781">
                  <c:v>2</c:v>
                </c:pt>
                <c:pt idx="782">
                  <c:v>3</c:v>
                </c:pt>
                <c:pt idx="783">
                  <c:v>1</c:v>
                </c:pt>
                <c:pt idx="784">
                  <c:v>1</c:v>
                </c:pt>
                <c:pt idx="785">
                  <c:v>1</c:v>
                </c:pt>
                <c:pt idx="786">
                  <c:v>1</c:v>
                </c:pt>
                <c:pt idx="788">
                  <c:v>1</c:v>
                </c:pt>
                <c:pt idx="789">
                  <c:v>2</c:v>
                </c:pt>
                <c:pt idx="790">
                  <c:v>2</c:v>
                </c:pt>
                <c:pt idx="791">
                  <c:v>2</c:v>
                </c:pt>
                <c:pt idx="792">
                  <c:v>2</c:v>
                </c:pt>
                <c:pt idx="793">
                  <c:v>1</c:v>
                </c:pt>
                <c:pt idx="794">
                  <c:v>2</c:v>
                </c:pt>
                <c:pt idx="795">
                  <c:v>1</c:v>
                </c:pt>
                <c:pt idx="796">
                  <c:v>1</c:v>
                </c:pt>
                <c:pt idx="797">
                  <c:v>2</c:v>
                </c:pt>
                <c:pt idx="798">
                  <c:v>3</c:v>
                </c:pt>
                <c:pt idx="799">
                  <c:v>1</c:v>
                </c:pt>
                <c:pt idx="800">
                  <c:v>2</c:v>
                </c:pt>
                <c:pt idx="801">
                  <c:v>1</c:v>
                </c:pt>
                <c:pt idx="802">
                  <c:v>3</c:v>
                </c:pt>
                <c:pt idx="803">
                  <c:v>1</c:v>
                </c:pt>
                <c:pt idx="804">
                  <c:v>1</c:v>
                </c:pt>
                <c:pt idx="805">
                  <c:v>3</c:v>
                </c:pt>
                <c:pt idx="806">
                  <c:v>1</c:v>
                </c:pt>
                <c:pt idx="807">
                  <c:v>2</c:v>
                </c:pt>
                <c:pt idx="808">
                  <c:v>3</c:v>
                </c:pt>
                <c:pt idx="809">
                  <c:v>2</c:v>
                </c:pt>
                <c:pt idx="810">
                  <c:v>1</c:v>
                </c:pt>
                <c:pt idx="811">
                  <c:v>1</c:v>
                </c:pt>
                <c:pt idx="812">
                  <c:v>1</c:v>
                </c:pt>
                <c:pt idx="813">
                  <c:v>3</c:v>
                </c:pt>
                <c:pt idx="814">
                  <c:v>2</c:v>
                </c:pt>
                <c:pt idx="815">
                  <c:v>3</c:v>
                </c:pt>
                <c:pt idx="817">
                  <c:v>3</c:v>
                </c:pt>
                <c:pt idx="818">
                  <c:v>2</c:v>
                </c:pt>
                <c:pt idx="819">
                  <c:v>3</c:v>
                </c:pt>
                <c:pt idx="820">
                  <c:v>2</c:v>
                </c:pt>
                <c:pt idx="821">
                  <c:v>3</c:v>
                </c:pt>
                <c:pt idx="822">
                  <c:v>4</c:v>
                </c:pt>
                <c:pt idx="823">
                  <c:v>3</c:v>
                </c:pt>
                <c:pt idx="824">
                  <c:v>2</c:v>
                </c:pt>
                <c:pt idx="825">
                  <c:v>2</c:v>
                </c:pt>
                <c:pt idx="826">
                  <c:v>2</c:v>
                </c:pt>
                <c:pt idx="827">
                  <c:v>2</c:v>
                </c:pt>
                <c:pt idx="828">
                  <c:v>2</c:v>
                </c:pt>
                <c:pt idx="829">
                  <c:v>2</c:v>
                </c:pt>
                <c:pt idx="830">
                  <c:v>2</c:v>
                </c:pt>
                <c:pt idx="831">
                  <c:v>2</c:v>
                </c:pt>
                <c:pt idx="832">
                  <c:v>2</c:v>
                </c:pt>
                <c:pt idx="833">
                  <c:v>1</c:v>
                </c:pt>
                <c:pt idx="834">
                  <c:v>3</c:v>
                </c:pt>
                <c:pt idx="835">
                  <c:v>1</c:v>
                </c:pt>
                <c:pt idx="836">
                  <c:v>3</c:v>
                </c:pt>
                <c:pt idx="837">
                  <c:v>1</c:v>
                </c:pt>
                <c:pt idx="838">
                  <c:v>1</c:v>
                </c:pt>
                <c:pt idx="839">
                  <c:v>2</c:v>
                </c:pt>
                <c:pt idx="840">
                  <c:v>2</c:v>
                </c:pt>
                <c:pt idx="841">
                  <c:v>1</c:v>
                </c:pt>
                <c:pt idx="842">
                  <c:v>2</c:v>
                </c:pt>
                <c:pt idx="843">
                  <c:v>3</c:v>
                </c:pt>
                <c:pt idx="844">
                  <c:v>3</c:v>
                </c:pt>
                <c:pt idx="845">
                  <c:v>3</c:v>
                </c:pt>
                <c:pt idx="846">
                  <c:v>1</c:v>
                </c:pt>
                <c:pt idx="847">
                  <c:v>2</c:v>
                </c:pt>
                <c:pt idx="848">
                  <c:v>1</c:v>
                </c:pt>
                <c:pt idx="849">
                  <c:v>2</c:v>
                </c:pt>
                <c:pt idx="850">
                  <c:v>2</c:v>
                </c:pt>
                <c:pt idx="851">
                  <c:v>1</c:v>
                </c:pt>
                <c:pt idx="852">
                  <c:v>2</c:v>
                </c:pt>
                <c:pt idx="853">
                  <c:v>2</c:v>
                </c:pt>
                <c:pt idx="854">
                  <c:v>2</c:v>
                </c:pt>
                <c:pt idx="855">
                  <c:v>2</c:v>
                </c:pt>
                <c:pt idx="856">
                  <c:v>1</c:v>
                </c:pt>
                <c:pt idx="857">
                  <c:v>2</c:v>
                </c:pt>
                <c:pt idx="858">
                  <c:v>1</c:v>
                </c:pt>
                <c:pt idx="859">
                  <c:v>1</c:v>
                </c:pt>
                <c:pt idx="860">
                  <c:v>2</c:v>
                </c:pt>
                <c:pt idx="861">
                  <c:v>2</c:v>
                </c:pt>
                <c:pt idx="862">
                  <c:v>3</c:v>
                </c:pt>
                <c:pt idx="863">
                  <c:v>2</c:v>
                </c:pt>
                <c:pt idx="864">
                  <c:v>2</c:v>
                </c:pt>
                <c:pt idx="865">
                  <c:v>2</c:v>
                </c:pt>
                <c:pt idx="866">
                  <c:v>1</c:v>
                </c:pt>
                <c:pt idx="867">
                  <c:v>1</c:v>
                </c:pt>
                <c:pt idx="868">
                  <c:v>2</c:v>
                </c:pt>
                <c:pt idx="869">
                  <c:v>1</c:v>
                </c:pt>
                <c:pt idx="870">
                  <c:v>3</c:v>
                </c:pt>
                <c:pt idx="871">
                  <c:v>3</c:v>
                </c:pt>
                <c:pt idx="872">
                  <c:v>1</c:v>
                </c:pt>
                <c:pt idx="873">
                  <c:v>2</c:v>
                </c:pt>
                <c:pt idx="874">
                  <c:v>3</c:v>
                </c:pt>
                <c:pt idx="875">
                  <c:v>3</c:v>
                </c:pt>
                <c:pt idx="876">
                  <c:v>1</c:v>
                </c:pt>
                <c:pt idx="877">
                  <c:v>2</c:v>
                </c:pt>
                <c:pt idx="878">
                  <c:v>2</c:v>
                </c:pt>
                <c:pt idx="879">
                  <c:v>1</c:v>
                </c:pt>
                <c:pt idx="880">
                  <c:v>3</c:v>
                </c:pt>
                <c:pt idx="881">
                  <c:v>2</c:v>
                </c:pt>
                <c:pt idx="882">
                  <c:v>2</c:v>
                </c:pt>
                <c:pt idx="883">
                  <c:v>1</c:v>
                </c:pt>
                <c:pt idx="884">
                  <c:v>2</c:v>
                </c:pt>
                <c:pt idx="885">
                  <c:v>3</c:v>
                </c:pt>
                <c:pt idx="886">
                  <c:v>2</c:v>
                </c:pt>
                <c:pt idx="887">
                  <c:v>4</c:v>
                </c:pt>
                <c:pt idx="888">
                  <c:v>3</c:v>
                </c:pt>
                <c:pt idx="889">
                  <c:v>2</c:v>
                </c:pt>
                <c:pt idx="890">
                  <c:v>3</c:v>
                </c:pt>
                <c:pt idx="891">
                  <c:v>2</c:v>
                </c:pt>
                <c:pt idx="892">
                  <c:v>2</c:v>
                </c:pt>
                <c:pt idx="893">
                  <c:v>2</c:v>
                </c:pt>
                <c:pt idx="894">
                  <c:v>2</c:v>
                </c:pt>
                <c:pt idx="895">
                  <c:v>1</c:v>
                </c:pt>
                <c:pt idx="896">
                  <c:v>2</c:v>
                </c:pt>
                <c:pt idx="897">
                  <c:v>3</c:v>
                </c:pt>
                <c:pt idx="898">
                  <c:v>3</c:v>
                </c:pt>
                <c:pt idx="899">
                  <c:v>3</c:v>
                </c:pt>
                <c:pt idx="900">
                  <c:v>3</c:v>
                </c:pt>
                <c:pt idx="901">
                  <c:v>3</c:v>
                </c:pt>
                <c:pt idx="902">
                  <c:v>3</c:v>
                </c:pt>
                <c:pt idx="903">
                  <c:v>3</c:v>
                </c:pt>
                <c:pt idx="904">
                  <c:v>3</c:v>
                </c:pt>
                <c:pt idx="905">
                  <c:v>3</c:v>
                </c:pt>
                <c:pt idx="906">
                  <c:v>3</c:v>
                </c:pt>
                <c:pt idx="907">
                  <c:v>1</c:v>
                </c:pt>
                <c:pt idx="908">
                  <c:v>2</c:v>
                </c:pt>
                <c:pt idx="909">
                  <c:v>2</c:v>
                </c:pt>
                <c:pt idx="910">
                  <c:v>2</c:v>
                </c:pt>
                <c:pt idx="911">
                  <c:v>1</c:v>
                </c:pt>
                <c:pt idx="912">
                  <c:v>2</c:v>
                </c:pt>
                <c:pt idx="913">
                  <c:v>1</c:v>
                </c:pt>
                <c:pt idx="914">
                  <c:v>2</c:v>
                </c:pt>
                <c:pt idx="915">
                  <c:v>1</c:v>
                </c:pt>
                <c:pt idx="916">
                  <c:v>3</c:v>
                </c:pt>
                <c:pt idx="917">
                  <c:v>2</c:v>
                </c:pt>
                <c:pt idx="918">
                  <c:v>2</c:v>
                </c:pt>
                <c:pt idx="919">
                  <c:v>1</c:v>
                </c:pt>
                <c:pt idx="920">
                  <c:v>2</c:v>
                </c:pt>
                <c:pt idx="921">
                  <c:v>2</c:v>
                </c:pt>
                <c:pt idx="922">
                  <c:v>2</c:v>
                </c:pt>
                <c:pt idx="923">
                  <c:v>1</c:v>
                </c:pt>
                <c:pt idx="924">
                  <c:v>4</c:v>
                </c:pt>
                <c:pt idx="925">
                  <c:v>3</c:v>
                </c:pt>
                <c:pt idx="926">
                  <c:v>2</c:v>
                </c:pt>
                <c:pt idx="927">
                  <c:v>4</c:v>
                </c:pt>
                <c:pt idx="928">
                  <c:v>2</c:v>
                </c:pt>
                <c:pt idx="929">
                  <c:v>2</c:v>
                </c:pt>
                <c:pt idx="930">
                  <c:v>2</c:v>
                </c:pt>
                <c:pt idx="931">
                  <c:v>2</c:v>
                </c:pt>
                <c:pt idx="932">
                  <c:v>1</c:v>
                </c:pt>
                <c:pt idx="933">
                  <c:v>2</c:v>
                </c:pt>
                <c:pt idx="934">
                  <c:v>2</c:v>
                </c:pt>
                <c:pt idx="935">
                  <c:v>2</c:v>
                </c:pt>
                <c:pt idx="936">
                  <c:v>3</c:v>
                </c:pt>
                <c:pt idx="937">
                  <c:v>4</c:v>
                </c:pt>
                <c:pt idx="938">
                  <c:v>2</c:v>
                </c:pt>
                <c:pt idx="939">
                  <c:v>3</c:v>
                </c:pt>
                <c:pt idx="940">
                  <c:v>2</c:v>
                </c:pt>
                <c:pt idx="941">
                  <c:v>1</c:v>
                </c:pt>
                <c:pt idx="942">
                  <c:v>2</c:v>
                </c:pt>
                <c:pt idx="943">
                  <c:v>2</c:v>
                </c:pt>
                <c:pt idx="944">
                  <c:v>2</c:v>
                </c:pt>
                <c:pt idx="945">
                  <c:v>1</c:v>
                </c:pt>
                <c:pt idx="946">
                  <c:v>2</c:v>
                </c:pt>
                <c:pt idx="947">
                  <c:v>2</c:v>
                </c:pt>
                <c:pt idx="948">
                  <c:v>2</c:v>
                </c:pt>
                <c:pt idx="949">
                  <c:v>2</c:v>
                </c:pt>
                <c:pt idx="950">
                  <c:v>3</c:v>
                </c:pt>
                <c:pt idx="951">
                  <c:v>1</c:v>
                </c:pt>
                <c:pt idx="952">
                  <c:v>3</c:v>
                </c:pt>
                <c:pt idx="953">
                  <c:v>2</c:v>
                </c:pt>
                <c:pt idx="954">
                  <c:v>3</c:v>
                </c:pt>
                <c:pt idx="955">
                  <c:v>2</c:v>
                </c:pt>
                <c:pt idx="956">
                  <c:v>3</c:v>
                </c:pt>
                <c:pt idx="957">
                  <c:v>1</c:v>
                </c:pt>
                <c:pt idx="958">
                  <c:v>2</c:v>
                </c:pt>
                <c:pt idx="959">
                  <c:v>2</c:v>
                </c:pt>
                <c:pt idx="960">
                  <c:v>3</c:v>
                </c:pt>
                <c:pt idx="961">
                  <c:v>3</c:v>
                </c:pt>
                <c:pt idx="962">
                  <c:v>2</c:v>
                </c:pt>
                <c:pt idx="964">
                  <c:v>3</c:v>
                </c:pt>
                <c:pt idx="965">
                  <c:v>2</c:v>
                </c:pt>
                <c:pt idx="966">
                  <c:v>3</c:v>
                </c:pt>
                <c:pt idx="967">
                  <c:v>2</c:v>
                </c:pt>
                <c:pt idx="968">
                  <c:v>2</c:v>
                </c:pt>
                <c:pt idx="969">
                  <c:v>3</c:v>
                </c:pt>
                <c:pt idx="970">
                  <c:v>2</c:v>
                </c:pt>
                <c:pt idx="971">
                  <c:v>2</c:v>
                </c:pt>
                <c:pt idx="972">
                  <c:v>2</c:v>
                </c:pt>
                <c:pt idx="973">
                  <c:v>3</c:v>
                </c:pt>
                <c:pt idx="976">
                  <c:v>2</c:v>
                </c:pt>
                <c:pt idx="977">
                  <c:v>2</c:v>
                </c:pt>
                <c:pt idx="978">
                  <c:v>2</c:v>
                </c:pt>
                <c:pt idx="980">
                  <c:v>1</c:v>
                </c:pt>
                <c:pt idx="981">
                  <c:v>2</c:v>
                </c:pt>
                <c:pt idx="982">
                  <c:v>2</c:v>
                </c:pt>
                <c:pt idx="983">
                  <c:v>2</c:v>
                </c:pt>
                <c:pt idx="984">
                  <c:v>2</c:v>
                </c:pt>
                <c:pt idx="985">
                  <c:v>2</c:v>
                </c:pt>
                <c:pt idx="986">
                  <c:v>2</c:v>
                </c:pt>
                <c:pt idx="987">
                  <c:v>1</c:v>
                </c:pt>
                <c:pt idx="988">
                  <c:v>2</c:v>
                </c:pt>
                <c:pt idx="989">
                  <c:v>2</c:v>
                </c:pt>
                <c:pt idx="990">
                  <c:v>2</c:v>
                </c:pt>
                <c:pt idx="991">
                  <c:v>2</c:v>
                </c:pt>
                <c:pt idx="992">
                  <c:v>1</c:v>
                </c:pt>
                <c:pt idx="993">
                  <c:v>3</c:v>
                </c:pt>
                <c:pt idx="994">
                  <c:v>1</c:v>
                </c:pt>
                <c:pt idx="995">
                  <c:v>4</c:v>
                </c:pt>
                <c:pt idx="996">
                  <c:v>1</c:v>
                </c:pt>
                <c:pt idx="997">
                  <c:v>2</c:v>
                </c:pt>
                <c:pt idx="998">
                  <c:v>2</c:v>
                </c:pt>
                <c:pt idx="999">
                  <c:v>1</c:v>
                </c:pt>
                <c:pt idx="1002">
                  <c:v>3</c:v>
                </c:pt>
                <c:pt idx="1003">
                  <c:v>2</c:v>
                </c:pt>
                <c:pt idx="1005">
                  <c:v>2</c:v>
                </c:pt>
                <c:pt idx="1006">
                  <c:v>2</c:v>
                </c:pt>
                <c:pt idx="1007">
                  <c:v>3</c:v>
                </c:pt>
                <c:pt idx="1008">
                  <c:v>1</c:v>
                </c:pt>
                <c:pt idx="1009">
                  <c:v>1</c:v>
                </c:pt>
                <c:pt idx="1010">
                  <c:v>1</c:v>
                </c:pt>
                <c:pt idx="1011">
                  <c:v>1</c:v>
                </c:pt>
                <c:pt idx="1012">
                  <c:v>3</c:v>
                </c:pt>
                <c:pt idx="1013">
                  <c:v>3</c:v>
                </c:pt>
                <c:pt idx="1014">
                  <c:v>3</c:v>
                </c:pt>
                <c:pt idx="1015">
                  <c:v>3</c:v>
                </c:pt>
                <c:pt idx="1016">
                  <c:v>2</c:v>
                </c:pt>
                <c:pt idx="1017">
                  <c:v>2</c:v>
                </c:pt>
                <c:pt idx="1018">
                  <c:v>3</c:v>
                </c:pt>
                <c:pt idx="1019">
                  <c:v>2</c:v>
                </c:pt>
                <c:pt idx="1020">
                  <c:v>2</c:v>
                </c:pt>
                <c:pt idx="1021">
                  <c:v>1</c:v>
                </c:pt>
                <c:pt idx="1022">
                  <c:v>1</c:v>
                </c:pt>
                <c:pt idx="1023">
                  <c:v>1</c:v>
                </c:pt>
                <c:pt idx="1024">
                  <c:v>1</c:v>
                </c:pt>
                <c:pt idx="1025">
                  <c:v>3</c:v>
                </c:pt>
                <c:pt idx="1026">
                  <c:v>2</c:v>
                </c:pt>
                <c:pt idx="1027">
                  <c:v>1</c:v>
                </c:pt>
                <c:pt idx="1028">
                  <c:v>2</c:v>
                </c:pt>
                <c:pt idx="1029">
                  <c:v>2</c:v>
                </c:pt>
                <c:pt idx="1030">
                  <c:v>2</c:v>
                </c:pt>
                <c:pt idx="1031">
                  <c:v>2</c:v>
                </c:pt>
                <c:pt idx="1032">
                  <c:v>2</c:v>
                </c:pt>
                <c:pt idx="1033">
                  <c:v>2</c:v>
                </c:pt>
                <c:pt idx="1034">
                  <c:v>1</c:v>
                </c:pt>
                <c:pt idx="1035">
                  <c:v>2</c:v>
                </c:pt>
                <c:pt idx="1036">
                  <c:v>1</c:v>
                </c:pt>
                <c:pt idx="1037">
                  <c:v>2</c:v>
                </c:pt>
                <c:pt idx="1038">
                  <c:v>3</c:v>
                </c:pt>
                <c:pt idx="1039">
                  <c:v>3</c:v>
                </c:pt>
                <c:pt idx="1040">
                  <c:v>1</c:v>
                </c:pt>
                <c:pt idx="1041">
                  <c:v>3</c:v>
                </c:pt>
                <c:pt idx="1042">
                  <c:v>3</c:v>
                </c:pt>
                <c:pt idx="1043">
                  <c:v>3</c:v>
                </c:pt>
                <c:pt idx="1044">
                  <c:v>1</c:v>
                </c:pt>
                <c:pt idx="1045">
                  <c:v>2</c:v>
                </c:pt>
                <c:pt idx="1046">
                  <c:v>3</c:v>
                </c:pt>
                <c:pt idx="1047">
                  <c:v>2</c:v>
                </c:pt>
                <c:pt idx="1048">
                  <c:v>3</c:v>
                </c:pt>
                <c:pt idx="1049">
                  <c:v>1</c:v>
                </c:pt>
                <c:pt idx="1050">
                  <c:v>2</c:v>
                </c:pt>
                <c:pt idx="1052">
                  <c:v>1</c:v>
                </c:pt>
                <c:pt idx="1053">
                  <c:v>2</c:v>
                </c:pt>
                <c:pt idx="1054">
                  <c:v>2</c:v>
                </c:pt>
                <c:pt idx="1055">
                  <c:v>2</c:v>
                </c:pt>
                <c:pt idx="1056">
                  <c:v>1</c:v>
                </c:pt>
                <c:pt idx="1058">
                  <c:v>1</c:v>
                </c:pt>
                <c:pt idx="1059">
                  <c:v>1</c:v>
                </c:pt>
                <c:pt idx="1060">
                  <c:v>1</c:v>
                </c:pt>
                <c:pt idx="1061">
                  <c:v>1</c:v>
                </c:pt>
                <c:pt idx="1062">
                  <c:v>3</c:v>
                </c:pt>
                <c:pt idx="1063">
                  <c:v>3</c:v>
                </c:pt>
                <c:pt idx="1064">
                  <c:v>2</c:v>
                </c:pt>
                <c:pt idx="1065">
                  <c:v>2</c:v>
                </c:pt>
                <c:pt idx="1066">
                  <c:v>2</c:v>
                </c:pt>
                <c:pt idx="1067">
                  <c:v>2</c:v>
                </c:pt>
                <c:pt idx="1068">
                  <c:v>2</c:v>
                </c:pt>
                <c:pt idx="1069">
                  <c:v>2</c:v>
                </c:pt>
                <c:pt idx="1070">
                  <c:v>2</c:v>
                </c:pt>
                <c:pt idx="1071">
                  <c:v>2</c:v>
                </c:pt>
                <c:pt idx="1072">
                  <c:v>2</c:v>
                </c:pt>
                <c:pt idx="1073">
                  <c:v>3</c:v>
                </c:pt>
                <c:pt idx="1074">
                  <c:v>3</c:v>
                </c:pt>
                <c:pt idx="1075">
                  <c:v>2</c:v>
                </c:pt>
                <c:pt idx="1076">
                  <c:v>2</c:v>
                </c:pt>
                <c:pt idx="1077">
                  <c:v>3</c:v>
                </c:pt>
                <c:pt idx="1078">
                  <c:v>2</c:v>
                </c:pt>
                <c:pt idx="1081">
                  <c:v>1</c:v>
                </c:pt>
                <c:pt idx="1082">
                  <c:v>3</c:v>
                </c:pt>
                <c:pt idx="1083">
                  <c:v>3</c:v>
                </c:pt>
                <c:pt idx="1084">
                  <c:v>2</c:v>
                </c:pt>
                <c:pt idx="1085">
                  <c:v>2</c:v>
                </c:pt>
                <c:pt idx="1086">
                  <c:v>2</c:v>
                </c:pt>
                <c:pt idx="1087">
                  <c:v>2</c:v>
                </c:pt>
                <c:pt idx="1088">
                  <c:v>2</c:v>
                </c:pt>
                <c:pt idx="1089">
                  <c:v>2</c:v>
                </c:pt>
                <c:pt idx="1090">
                  <c:v>2</c:v>
                </c:pt>
                <c:pt idx="1091">
                  <c:v>2</c:v>
                </c:pt>
                <c:pt idx="1092">
                  <c:v>2</c:v>
                </c:pt>
                <c:pt idx="1093">
                  <c:v>3</c:v>
                </c:pt>
                <c:pt idx="1094">
                  <c:v>2</c:v>
                </c:pt>
                <c:pt idx="1095">
                  <c:v>3</c:v>
                </c:pt>
                <c:pt idx="1096">
                  <c:v>2</c:v>
                </c:pt>
                <c:pt idx="1097">
                  <c:v>2</c:v>
                </c:pt>
                <c:pt idx="1098">
                  <c:v>2</c:v>
                </c:pt>
                <c:pt idx="1099">
                  <c:v>3</c:v>
                </c:pt>
                <c:pt idx="1100">
                  <c:v>3</c:v>
                </c:pt>
                <c:pt idx="1101">
                  <c:v>3</c:v>
                </c:pt>
                <c:pt idx="1102">
                  <c:v>1</c:v>
                </c:pt>
                <c:pt idx="1103">
                  <c:v>1</c:v>
                </c:pt>
                <c:pt idx="1104">
                  <c:v>2</c:v>
                </c:pt>
                <c:pt idx="1105">
                  <c:v>2</c:v>
                </c:pt>
                <c:pt idx="1106">
                  <c:v>2</c:v>
                </c:pt>
                <c:pt idx="1107">
                  <c:v>2</c:v>
                </c:pt>
                <c:pt idx="1108">
                  <c:v>2</c:v>
                </c:pt>
                <c:pt idx="1109">
                  <c:v>1</c:v>
                </c:pt>
                <c:pt idx="1110">
                  <c:v>2</c:v>
                </c:pt>
                <c:pt idx="1111">
                  <c:v>1</c:v>
                </c:pt>
                <c:pt idx="1112">
                  <c:v>1</c:v>
                </c:pt>
                <c:pt idx="1113">
                  <c:v>3</c:v>
                </c:pt>
                <c:pt idx="1114">
                  <c:v>3</c:v>
                </c:pt>
                <c:pt idx="1115">
                  <c:v>1</c:v>
                </c:pt>
                <c:pt idx="1117">
                  <c:v>2</c:v>
                </c:pt>
                <c:pt idx="1118">
                  <c:v>1</c:v>
                </c:pt>
                <c:pt idx="1119">
                  <c:v>2</c:v>
                </c:pt>
                <c:pt idx="1120">
                  <c:v>3</c:v>
                </c:pt>
                <c:pt idx="1121">
                  <c:v>1</c:v>
                </c:pt>
                <c:pt idx="1122">
                  <c:v>1</c:v>
                </c:pt>
                <c:pt idx="1123">
                  <c:v>2</c:v>
                </c:pt>
                <c:pt idx="1124">
                  <c:v>1</c:v>
                </c:pt>
                <c:pt idx="1125">
                  <c:v>3</c:v>
                </c:pt>
                <c:pt idx="1126">
                  <c:v>1</c:v>
                </c:pt>
                <c:pt idx="1127">
                  <c:v>2</c:v>
                </c:pt>
                <c:pt idx="1128">
                  <c:v>2</c:v>
                </c:pt>
                <c:pt idx="1129">
                  <c:v>2</c:v>
                </c:pt>
                <c:pt idx="1130">
                  <c:v>2</c:v>
                </c:pt>
                <c:pt idx="1131">
                  <c:v>1</c:v>
                </c:pt>
                <c:pt idx="1132">
                  <c:v>2</c:v>
                </c:pt>
                <c:pt idx="1133">
                  <c:v>2</c:v>
                </c:pt>
                <c:pt idx="1134">
                  <c:v>2</c:v>
                </c:pt>
                <c:pt idx="1135">
                  <c:v>1</c:v>
                </c:pt>
                <c:pt idx="1137">
                  <c:v>1</c:v>
                </c:pt>
                <c:pt idx="1138">
                  <c:v>2</c:v>
                </c:pt>
                <c:pt idx="1139">
                  <c:v>2</c:v>
                </c:pt>
                <c:pt idx="1140">
                  <c:v>2</c:v>
                </c:pt>
                <c:pt idx="1141">
                  <c:v>3</c:v>
                </c:pt>
                <c:pt idx="1142">
                  <c:v>2</c:v>
                </c:pt>
                <c:pt idx="1143">
                  <c:v>2</c:v>
                </c:pt>
                <c:pt idx="1144">
                  <c:v>1</c:v>
                </c:pt>
                <c:pt idx="1145">
                  <c:v>2</c:v>
                </c:pt>
                <c:pt idx="1146">
                  <c:v>2</c:v>
                </c:pt>
                <c:pt idx="1147">
                  <c:v>2</c:v>
                </c:pt>
                <c:pt idx="1148">
                  <c:v>2</c:v>
                </c:pt>
                <c:pt idx="1149">
                  <c:v>2</c:v>
                </c:pt>
                <c:pt idx="1150">
                  <c:v>3</c:v>
                </c:pt>
                <c:pt idx="1151">
                  <c:v>2</c:v>
                </c:pt>
                <c:pt idx="1152">
                  <c:v>1</c:v>
                </c:pt>
                <c:pt idx="1153">
                  <c:v>2</c:v>
                </c:pt>
                <c:pt idx="1154">
                  <c:v>2</c:v>
                </c:pt>
                <c:pt idx="1155">
                  <c:v>3</c:v>
                </c:pt>
                <c:pt idx="1156">
                  <c:v>1</c:v>
                </c:pt>
                <c:pt idx="1157">
                  <c:v>2</c:v>
                </c:pt>
                <c:pt idx="1158">
                  <c:v>1</c:v>
                </c:pt>
                <c:pt idx="1159">
                  <c:v>1</c:v>
                </c:pt>
                <c:pt idx="1160">
                  <c:v>1</c:v>
                </c:pt>
                <c:pt idx="1161">
                  <c:v>1</c:v>
                </c:pt>
                <c:pt idx="1162">
                  <c:v>2</c:v>
                </c:pt>
                <c:pt idx="1163">
                  <c:v>2</c:v>
                </c:pt>
                <c:pt idx="1164">
                  <c:v>1</c:v>
                </c:pt>
                <c:pt idx="1165">
                  <c:v>3</c:v>
                </c:pt>
                <c:pt idx="1167">
                  <c:v>2</c:v>
                </c:pt>
                <c:pt idx="1168">
                  <c:v>2</c:v>
                </c:pt>
                <c:pt idx="1171">
                  <c:v>2</c:v>
                </c:pt>
                <c:pt idx="1172">
                  <c:v>1</c:v>
                </c:pt>
                <c:pt idx="1173">
                  <c:v>2</c:v>
                </c:pt>
                <c:pt idx="1174">
                  <c:v>1</c:v>
                </c:pt>
                <c:pt idx="1175">
                  <c:v>3</c:v>
                </c:pt>
                <c:pt idx="1176">
                  <c:v>2</c:v>
                </c:pt>
                <c:pt idx="1177">
                  <c:v>2</c:v>
                </c:pt>
                <c:pt idx="1178">
                  <c:v>2</c:v>
                </c:pt>
                <c:pt idx="1179">
                  <c:v>2</c:v>
                </c:pt>
                <c:pt idx="1180">
                  <c:v>2</c:v>
                </c:pt>
                <c:pt idx="1181">
                  <c:v>2</c:v>
                </c:pt>
                <c:pt idx="1182">
                  <c:v>1</c:v>
                </c:pt>
                <c:pt idx="1183">
                  <c:v>2</c:v>
                </c:pt>
                <c:pt idx="1184">
                  <c:v>3</c:v>
                </c:pt>
                <c:pt idx="1185">
                  <c:v>3</c:v>
                </c:pt>
                <c:pt idx="1186">
                  <c:v>2</c:v>
                </c:pt>
                <c:pt idx="1187">
                  <c:v>3</c:v>
                </c:pt>
                <c:pt idx="1188">
                  <c:v>3</c:v>
                </c:pt>
                <c:pt idx="1189">
                  <c:v>2</c:v>
                </c:pt>
                <c:pt idx="1190">
                  <c:v>3</c:v>
                </c:pt>
                <c:pt idx="1191">
                  <c:v>1</c:v>
                </c:pt>
                <c:pt idx="1192">
                  <c:v>2</c:v>
                </c:pt>
                <c:pt idx="1193">
                  <c:v>4</c:v>
                </c:pt>
                <c:pt idx="1194">
                  <c:v>1</c:v>
                </c:pt>
                <c:pt idx="1195">
                  <c:v>1</c:v>
                </c:pt>
                <c:pt idx="1196">
                  <c:v>1</c:v>
                </c:pt>
                <c:pt idx="1197">
                  <c:v>2</c:v>
                </c:pt>
                <c:pt idx="1198">
                  <c:v>2</c:v>
                </c:pt>
                <c:pt idx="1199">
                  <c:v>2</c:v>
                </c:pt>
                <c:pt idx="1200">
                  <c:v>2</c:v>
                </c:pt>
                <c:pt idx="1201">
                  <c:v>2</c:v>
                </c:pt>
                <c:pt idx="1202">
                  <c:v>2</c:v>
                </c:pt>
                <c:pt idx="1203">
                  <c:v>2</c:v>
                </c:pt>
                <c:pt idx="1204">
                  <c:v>3</c:v>
                </c:pt>
                <c:pt idx="1205">
                  <c:v>2</c:v>
                </c:pt>
                <c:pt idx="1206">
                  <c:v>1</c:v>
                </c:pt>
                <c:pt idx="1207">
                  <c:v>1</c:v>
                </c:pt>
                <c:pt idx="1208">
                  <c:v>1</c:v>
                </c:pt>
                <c:pt idx="1209">
                  <c:v>1</c:v>
                </c:pt>
                <c:pt idx="1210">
                  <c:v>1</c:v>
                </c:pt>
                <c:pt idx="1211">
                  <c:v>1</c:v>
                </c:pt>
                <c:pt idx="1212">
                  <c:v>1</c:v>
                </c:pt>
                <c:pt idx="1213">
                  <c:v>1</c:v>
                </c:pt>
                <c:pt idx="1214">
                  <c:v>1</c:v>
                </c:pt>
                <c:pt idx="1215">
                  <c:v>1</c:v>
                </c:pt>
                <c:pt idx="1216">
                  <c:v>1</c:v>
                </c:pt>
                <c:pt idx="1217">
                  <c:v>2</c:v>
                </c:pt>
                <c:pt idx="1218">
                  <c:v>1</c:v>
                </c:pt>
                <c:pt idx="1219">
                  <c:v>2</c:v>
                </c:pt>
                <c:pt idx="1220">
                  <c:v>4</c:v>
                </c:pt>
                <c:pt idx="1221">
                  <c:v>1</c:v>
                </c:pt>
                <c:pt idx="1222">
                  <c:v>2</c:v>
                </c:pt>
                <c:pt idx="1223">
                  <c:v>2</c:v>
                </c:pt>
                <c:pt idx="1224">
                  <c:v>2</c:v>
                </c:pt>
                <c:pt idx="1225">
                  <c:v>2</c:v>
                </c:pt>
                <c:pt idx="1226">
                  <c:v>2</c:v>
                </c:pt>
                <c:pt idx="1227">
                  <c:v>2</c:v>
                </c:pt>
                <c:pt idx="1228">
                  <c:v>2</c:v>
                </c:pt>
                <c:pt idx="1229">
                  <c:v>2</c:v>
                </c:pt>
                <c:pt idx="1230">
                  <c:v>2</c:v>
                </c:pt>
                <c:pt idx="1231">
                  <c:v>2</c:v>
                </c:pt>
                <c:pt idx="1232">
                  <c:v>1</c:v>
                </c:pt>
                <c:pt idx="1233">
                  <c:v>3</c:v>
                </c:pt>
                <c:pt idx="1234">
                  <c:v>2</c:v>
                </c:pt>
                <c:pt idx="1235">
                  <c:v>2</c:v>
                </c:pt>
                <c:pt idx="1236">
                  <c:v>3</c:v>
                </c:pt>
                <c:pt idx="1237">
                  <c:v>2</c:v>
                </c:pt>
                <c:pt idx="1238">
                  <c:v>1</c:v>
                </c:pt>
                <c:pt idx="1239">
                  <c:v>1</c:v>
                </c:pt>
                <c:pt idx="1240">
                  <c:v>1</c:v>
                </c:pt>
                <c:pt idx="1241">
                  <c:v>2</c:v>
                </c:pt>
                <c:pt idx="1242">
                  <c:v>1</c:v>
                </c:pt>
                <c:pt idx="1243">
                  <c:v>2</c:v>
                </c:pt>
                <c:pt idx="1245">
                  <c:v>3</c:v>
                </c:pt>
                <c:pt idx="1246">
                  <c:v>2</c:v>
                </c:pt>
                <c:pt idx="1247">
                  <c:v>2</c:v>
                </c:pt>
                <c:pt idx="1248">
                  <c:v>2</c:v>
                </c:pt>
                <c:pt idx="1249">
                  <c:v>1</c:v>
                </c:pt>
                <c:pt idx="1250">
                  <c:v>1</c:v>
                </c:pt>
                <c:pt idx="1251">
                  <c:v>2</c:v>
                </c:pt>
                <c:pt idx="1252">
                  <c:v>2</c:v>
                </c:pt>
                <c:pt idx="1253">
                  <c:v>2</c:v>
                </c:pt>
                <c:pt idx="1254">
                  <c:v>1</c:v>
                </c:pt>
                <c:pt idx="1255">
                  <c:v>3</c:v>
                </c:pt>
                <c:pt idx="1256">
                  <c:v>3</c:v>
                </c:pt>
                <c:pt idx="1257">
                  <c:v>2</c:v>
                </c:pt>
                <c:pt idx="1258">
                  <c:v>2</c:v>
                </c:pt>
                <c:pt idx="1259">
                  <c:v>1</c:v>
                </c:pt>
                <c:pt idx="1261">
                  <c:v>3</c:v>
                </c:pt>
                <c:pt idx="1262">
                  <c:v>2</c:v>
                </c:pt>
                <c:pt idx="1263">
                  <c:v>2</c:v>
                </c:pt>
                <c:pt idx="1264">
                  <c:v>2</c:v>
                </c:pt>
                <c:pt idx="1265">
                  <c:v>2</c:v>
                </c:pt>
                <c:pt idx="1266">
                  <c:v>3</c:v>
                </c:pt>
                <c:pt idx="1267">
                  <c:v>3</c:v>
                </c:pt>
                <c:pt idx="1268">
                  <c:v>2</c:v>
                </c:pt>
                <c:pt idx="1269">
                  <c:v>1</c:v>
                </c:pt>
                <c:pt idx="1270">
                  <c:v>2</c:v>
                </c:pt>
                <c:pt idx="1271">
                  <c:v>2</c:v>
                </c:pt>
                <c:pt idx="1272">
                  <c:v>3</c:v>
                </c:pt>
                <c:pt idx="1273">
                  <c:v>1</c:v>
                </c:pt>
                <c:pt idx="1274">
                  <c:v>1</c:v>
                </c:pt>
                <c:pt idx="1275">
                  <c:v>2</c:v>
                </c:pt>
                <c:pt idx="1276">
                  <c:v>3</c:v>
                </c:pt>
                <c:pt idx="1277">
                  <c:v>3</c:v>
                </c:pt>
                <c:pt idx="1278">
                  <c:v>3</c:v>
                </c:pt>
                <c:pt idx="1279">
                  <c:v>2</c:v>
                </c:pt>
                <c:pt idx="1280">
                  <c:v>1</c:v>
                </c:pt>
                <c:pt idx="1281">
                  <c:v>2</c:v>
                </c:pt>
                <c:pt idx="1282">
                  <c:v>2</c:v>
                </c:pt>
                <c:pt idx="1283">
                  <c:v>2</c:v>
                </c:pt>
                <c:pt idx="1284">
                  <c:v>1</c:v>
                </c:pt>
                <c:pt idx="1285">
                  <c:v>3</c:v>
                </c:pt>
                <c:pt idx="1286">
                  <c:v>3</c:v>
                </c:pt>
                <c:pt idx="1287">
                  <c:v>1</c:v>
                </c:pt>
                <c:pt idx="1288">
                  <c:v>2</c:v>
                </c:pt>
                <c:pt idx="1289">
                  <c:v>1</c:v>
                </c:pt>
                <c:pt idx="1290">
                  <c:v>2</c:v>
                </c:pt>
                <c:pt idx="1291">
                  <c:v>2</c:v>
                </c:pt>
                <c:pt idx="1292">
                  <c:v>1</c:v>
                </c:pt>
                <c:pt idx="1293">
                  <c:v>2</c:v>
                </c:pt>
                <c:pt idx="1294">
                  <c:v>1</c:v>
                </c:pt>
                <c:pt idx="1295">
                  <c:v>3</c:v>
                </c:pt>
                <c:pt idx="1296">
                  <c:v>3</c:v>
                </c:pt>
                <c:pt idx="1297">
                  <c:v>1</c:v>
                </c:pt>
                <c:pt idx="1298">
                  <c:v>3</c:v>
                </c:pt>
                <c:pt idx="1299">
                  <c:v>3</c:v>
                </c:pt>
                <c:pt idx="1300">
                  <c:v>1</c:v>
                </c:pt>
                <c:pt idx="1301">
                  <c:v>1</c:v>
                </c:pt>
                <c:pt idx="1302">
                  <c:v>2</c:v>
                </c:pt>
                <c:pt idx="1303">
                  <c:v>3</c:v>
                </c:pt>
                <c:pt idx="1304">
                  <c:v>1</c:v>
                </c:pt>
                <c:pt idx="1305">
                  <c:v>3</c:v>
                </c:pt>
                <c:pt idx="1306">
                  <c:v>3</c:v>
                </c:pt>
                <c:pt idx="1307">
                  <c:v>2</c:v>
                </c:pt>
                <c:pt idx="1308">
                  <c:v>3</c:v>
                </c:pt>
                <c:pt idx="1311">
                  <c:v>1</c:v>
                </c:pt>
                <c:pt idx="1312">
                  <c:v>2</c:v>
                </c:pt>
                <c:pt idx="1313">
                  <c:v>2</c:v>
                </c:pt>
                <c:pt idx="1315">
                  <c:v>3</c:v>
                </c:pt>
                <c:pt idx="1316">
                  <c:v>2</c:v>
                </c:pt>
                <c:pt idx="1317">
                  <c:v>1</c:v>
                </c:pt>
                <c:pt idx="1318">
                  <c:v>1</c:v>
                </c:pt>
                <c:pt idx="1319">
                  <c:v>2</c:v>
                </c:pt>
                <c:pt idx="1320">
                  <c:v>1</c:v>
                </c:pt>
                <c:pt idx="1321">
                  <c:v>2</c:v>
                </c:pt>
                <c:pt idx="1322">
                  <c:v>1</c:v>
                </c:pt>
                <c:pt idx="1323">
                  <c:v>3</c:v>
                </c:pt>
                <c:pt idx="1324">
                  <c:v>3</c:v>
                </c:pt>
                <c:pt idx="1325">
                  <c:v>2</c:v>
                </c:pt>
                <c:pt idx="1326">
                  <c:v>1</c:v>
                </c:pt>
                <c:pt idx="1327">
                  <c:v>2</c:v>
                </c:pt>
                <c:pt idx="1328">
                  <c:v>2</c:v>
                </c:pt>
                <c:pt idx="1329">
                  <c:v>2</c:v>
                </c:pt>
                <c:pt idx="1330">
                  <c:v>2</c:v>
                </c:pt>
                <c:pt idx="1331">
                  <c:v>2</c:v>
                </c:pt>
                <c:pt idx="1332">
                  <c:v>1</c:v>
                </c:pt>
                <c:pt idx="1333">
                  <c:v>1</c:v>
                </c:pt>
                <c:pt idx="1334">
                  <c:v>1</c:v>
                </c:pt>
                <c:pt idx="1335">
                  <c:v>2</c:v>
                </c:pt>
                <c:pt idx="1336">
                  <c:v>1</c:v>
                </c:pt>
                <c:pt idx="1337">
                  <c:v>2</c:v>
                </c:pt>
                <c:pt idx="1338">
                  <c:v>1</c:v>
                </c:pt>
                <c:pt idx="1339">
                  <c:v>1</c:v>
                </c:pt>
                <c:pt idx="1340">
                  <c:v>1</c:v>
                </c:pt>
                <c:pt idx="1341">
                  <c:v>3</c:v>
                </c:pt>
                <c:pt idx="1342">
                  <c:v>2</c:v>
                </c:pt>
                <c:pt idx="1343">
                  <c:v>3</c:v>
                </c:pt>
                <c:pt idx="1344">
                  <c:v>1</c:v>
                </c:pt>
                <c:pt idx="1345">
                  <c:v>2</c:v>
                </c:pt>
                <c:pt idx="1346">
                  <c:v>1</c:v>
                </c:pt>
                <c:pt idx="1347">
                  <c:v>3</c:v>
                </c:pt>
                <c:pt idx="1348">
                  <c:v>3</c:v>
                </c:pt>
                <c:pt idx="1349">
                  <c:v>2</c:v>
                </c:pt>
                <c:pt idx="1350">
                  <c:v>2</c:v>
                </c:pt>
                <c:pt idx="1351">
                  <c:v>1</c:v>
                </c:pt>
                <c:pt idx="1352">
                  <c:v>3</c:v>
                </c:pt>
                <c:pt idx="1353">
                  <c:v>1</c:v>
                </c:pt>
                <c:pt idx="1354">
                  <c:v>1</c:v>
                </c:pt>
                <c:pt idx="1355">
                  <c:v>1</c:v>
                </c:pt>
                <c:pt idx="1356">
                  <c:v>1</c:v>
                </c:pt>
                <c:pt idx="1357">
                  <c:v>3</c:v>
                </c:pt>
                <c:pt idx="1358">
                  <c:v>2</c:v>
                </c:pt>
                <c:pt idx="1360">
                  <c:v>3</c:v>
                </c:pt>
                <c:pt idx="1361">
                  <c:v>2</c:v>
                </c:pt>
                <c:pt idx="1362">
                  <c:v>1</c:v>
                </c:pt>
                <c:pt idx="1363">
                  <c:v>3</c:v>
                </c:pt>
                <c:pt idx="1364">
                  <c:v>3</c:v>
                </c:pt>
                <c:pt idx="1365">
                  <c:v>2</c:v>
                </c:pt>
                <c:pt idx="1366">
                  <c:v>2</c:v>
                </c:pt>
                <c:pt idx="1367">
                  <c:v>2</c:v>
                </c:pt>
                <c:pt idx="1368">
                  <c:v>2</c:v>
                </c:pt>
                <c:pt idx="1369">
                  <c:v>2</c:v>
                </c:pt>
                <c:pt idx="1370">
                  <c:v>1</c:v>
                </c:pt>
                <c:pt idx="1371">
                  <c:v>1</c:v>
                </c:pt>
                <c:pt idx="1372">
                  <c:v>1</c:v>
                </c:pt>
                <c:pt idx="1373">
                  <c:v>1</c:v>
                </c:pt>
                <c:pt idx="1374">
                  <c:v>2</c:v>
                </c:pt>
                <c:pt idx="1375">
                  <c:v>2</c:v>
                </c:pt>
                <c:pt idx="1376">
                  <c:v>2</c:v>
                </c:pt>
                <c:pt idx="1377">
                  <c:v>2</c:v>
                </c:pt>
                <c:pt idx="1378">
                  <c:v>2</c:v>
                </c:pt>
                <c:pt idx="1379">
                  <c:v>2</c:v>
                </c:pt>
                <c:pt idx="1380">
                  <c:v>2</c:v>
                </c:pt>
                <c:pt idx="1381">
                  <c:v>2</c:v>
                </c:pt>
                <c:pt idx="1382">
                  <c:v>1</c:v>
                </c:pt>
                <c:pt idx="1383">
                  <c:v>2</c:v>
                </c:pt>
                <c:pt idx="1384">
                  <c:v>1</c:v>
                </c:pt>
                <c:pt idx="1385">
                  <c:v>2</c:v>
                </c:pt>
                <c:pt idx="1386">
                  <c:v>4</c:v>
                </c:pt>
                <c:pt idx="1387">
                  <c:v>2</c:v>
                </c:pt>
                <c:pt idx="1388">
                  <c:v>2</c:v>
                </c:pt>
                <c:pt idx="1389">
                  <c:v>2</c:v>
                </c:pt>
                <c:pt idx="1390">
                  <c:v>2</c:v>
                </c:pt>
                <c:pt idx="1391">
                  <c:v>2</c:v>
                </c:pt>
                <c:pt idx="1392">
                  <c:v>3</c:v>
                </c:pt>
                <c:pt idx="1393">
                  <c:v>3</c:v>
                </c:pt>
                <c:pt idx="1394">
                  <c:v>2</c:v>
                </c:pt>
                <c:pt idx="1395">
                  <c:v>2</c:v>
                </c:pt>
                <c:pt idx="1396">
                  <c:v>2</c:v>
                </c:pt>
                <c:pt idx="1397">
                  <c:v>2</c:v>
                </c:pt>
                <c:pt idx="1398">
                  <c:v>2</c:v>
                </c:pt>
                <c:pt idx="1399">
                  <c:v>3</c:v>
                </c:pt>
                <c:pt idx="1400">
                  <c:v>2</c:v>
                </c:pt>
                <c:pt idx="1401">
                  <c:v>3</c:v>
                </c:pt>
                <c:pt idx="1402">
                  <c:v>2</c:v>
                </c:pt>
                <c:pt idx="1403">
                  <c:v>2</c:v>
                </c:pt>
                <c:pt idx="1404">
                  <c:v>2</c:v>
                </c:pt>
                <c:pt idx="1405">
                  <c:v>2</c:v>
                </c:pt>
                <c:pt idx="1406">
                  <c:v>3</c:v>
                </c:pt>
                <c:pt idx="1407">
                  <c:v>2</c:v>
                </c:pt>
                <c:pt idx="1408">
                  <c:v>3</c:v>
                </c:pt>
                <c:pt idx="1409">
                  <c:v>2</c:v>
                </c:pt>
                <c:pt idx="1410">
                  <c:v>3</c:v>
                </c:pt>
                <c:pt idx="1411">
                  <c:v>1</c:v>
                </c:pt>
                <c:pt idx="1412">
                  <c:v>2</c:v>
                </c:pt>
                <c:pt idx="1413">
                  <c:v>1</c:v>
                </c:pt>
                <c:pt idx="1414">
                  <c:v>1</c:v>
                </c:pt>
                <c:pt idx="1415">
                  <c:v>2</c:v>
                </c:pt>
                <c:pt idx="1416">
                  <c:v>1</c:v>
                </c:pt>
                <c:pt idx="1417">
                  <c:v>3</c:v>
                </c:pt>
                <c:pt idx="1418">
                  <c:v>1</c:v>
                </c:pt>
                <c:pt idx="1419">
                  <c:v>2</c:v>
                </c:pt>
                <c:pt idx="1420">
                  <c:v>1</c:v>
                </c:pt>
                <c:pt idx="1421">
                  <c:v>1</c:v>
                </c:pt>
                <c:pt idx="1422">
                  <c:v>2</c:v>
                </c:pt>
                <c:pt idx="1423">
                  <c:v>2</c:v>
                </c:pt>
                <c:pt idx="1424">
                  <c:v>2</c:v>
                </c:pt>
                <c:pt idx="1425">
                  <c:v>2</c:v>
                </c:pt>
                <c:pt idx="1426">
                  <c:v>2</c:v>
                </c:pt>
                <c:pt idx="1427">
                  <c:v>2</c:v>
                </c:pt>
                <c:pt idx="1428">
                  <c:v>2</c:v>
                </c:pt>
                <c:pt idx="1429">
                  <c:v>2</c:v>
                </c:pt>
                <c:pt idx="1430">
                  <c:v>3</c:v>
                </c:pt>
                <c:pt idx="1431">
                  <c:v>2</c:v>
                </c:pt>
                <c:pt idx="1432">
                  <c:v>3</c:v>
                </c:pt>
                <c:pt idx="1433">
                  <c:v>3</c:v>
                </c:pt>
                <c:pt idx="1434">
                  <c:v>1</c:v>
                </c:pt>
                <c:pt idx="1435">
                  <c:v>3</c:v>
                </c:pt>
                <c:pt idx="1436">
                  <c:v>3</c:v>
                </c:pt>
                <c:pt idx="1437">
                  <c:v>3</c:v>
                </c:pt>
                <c:pt idx="1438">
                  <c:v>1</c:v>
                </c:pt>
                <c:pt idx="1439">
                  <c:v>2</c:v>
                </c:pt>
                <c:pt idx="1440">
                  <c:v>1</c:v>
                </c:pt>
                <c:pt idx="1441">
                  <c:v>1</c:v>
                </c:pt>
                <c:pt idx="1442">
                  <c:v>1</c:v>
                </c:pt>
                <c:pt idx="1443">
                  <c:v>2</c:v>
                </c:pt>
                <c:pt idx="1444">
                  <c:v>4</c:v>
                </c:pt>
                <c:pt idx="1445">
                  <c:v>1</c:v>
                </c:pt>
                <c:pt idx="1446">
                  <c:v>2</c:v>
                </c:pt>
                <c:pt idx="1447">
                  <c:v>3</c:v>
                </c:pt>
                <c:pt idx="1448">
                  <c:v>2</c:v>
                </c:pt>
                <c:pt idx="1449">
                  <c:v>1</c:v>
                </c:pt>
                <c:pt idx="1450">
                  <c:v>2</c:v>
                </c:pt>
                <c:pt idx="1451">
                  <c:v>1</c:v>
                </c:pt>
                <c:pt idx="1452">
                  <c:v>2</c:v>
                </c:pt>
                <c:pt idx="1453">
                  <c:v>3</c:v>
                </c:pt>
                <c:pt idx="1454">
                  <c:v>2</c:v>
                </c:pt>
                <c:pt idx="1455">
                  <c:v>1</c:v>
                </c:pt>
                <c:pt idx="1456">
                  <c:v>3</c:v>
                </c:pt>
                <c:pt idx="1457">
                  <c:v>1</c:v>
                </c:pt>
                <c:pt idx="1458">
                  <c:v>4</c:v>
                </c:pt>
                <c:pt idx="1459">
                  <c:v>2</c:v>
                </c:pt>
                <c:pt idx="1460">
                  <c:v>1</c:v>
                </c:pt>
                <c:pt idx="1461">
                  <c:v>2</c:v>
                </c:pt>
                <c:pt idx="1462">
                  <c:v>1</c:v>
                </c:pt>
                <c:pt idx="1463">
                  <c:v>3</c:v>
                </c:pt>
                <c:pt idx="1464">
                  <c:v>1</c:v>
                </c:pt>
                <c:pt idx="1466">
                  <c:v>2</c:v>
                </c:pt>
                <c:pt idx="1467">
                  <c:v>3</c:v>
                </c:pt>
                <c:pt idx="1468">
                  <c:v>3</c:v>
                </c:pt>
                <c:pt idx="1469">
                  <c:v>3</c:v>
                </c:pt>
                <c:pt idx="1470">
                  <c:v>4</c:v>
                </c:pt>
                <c:pt idx="1471">
                  <c:v>2</c:v>
                </c:pt>
                <c:pt idx="1472">
                  <c:v>3</c:v>
                </c:pt>
                <c:pt idx="1473">
                  <c:v>4</c:v>
                </c:pt>
                <c:pt idx="1474">
                  <c:v>3</c:v>
                </c:pt>
                <c:pt idx="1475">
                  <c:v>1</c:v>
                </c:pt>
                <c:pt idx="1476">
                  <c:v>1</c:v>
                </c:pt>
                <c:pt idx="1477">
                  <c:v>3</c:v>
                </c:pt>
                <c:pt idx="1478">
                  <c:v>1</c:v>
                </c:pt>
                <c:pt idx="1479">
                  <c:v>2</c:v>
                </c:pt>
                <c:pt idx="1480">
                  <c:v>2</c:v>
                </c:pt>
                <c:pt idx="1481">
                  <c:v>2</c:v>
                </c:pt>
                <c:pt idx="1482">
                  <c:v>2</c:v>
                </c:pt>
                <c:pt idx="1483">
                  <c:v>2</c:v>
                </c:pt>
                <c:pt idx="1484">
                  <c:v>3</c:v>
                </c:pt>
                <c:pt idx="1485">
                  <c:v>1</c:v>
                </c:pt>
                <c:pt idx="1486">
                  <c:v>2</c:v>
                </c:pt>
                <c:pt idx="1487">
                  <c:v>3</c:v>
                </c:pt>
                <c:pt idx="1488">
                  <c:v>1</c:v>
                </c:pt>
                <c:pt idx="1489">
                  <c:v>2</c:v>
                </c:pt>
                <c:pt idx="1490">
                  <c:v>2</c:v>
                </c:pt>
                <c:pt idx="1492">
                  <c:v>2</c:v>
                </c:pt>
                <c:pt idx="1493">
                  <c:v>2</c:v>
                </c:pt>
                <c:pt idx="1494">
                  <c:v>2</c:v>
                </c:pt>
                <c:pt idx="1495">
                  <c:v>1</c:v>
                </c:pt>
                <c:pt idx="1496">
                  <c:v>1</c:v>
                </c:pt>
                <c:pt idx="1497">
                  <c:v>3</c:v>
                </c:pt>
                <c:pt idx="1498">
                  <c:v>2</c:v>
                </c:pt>
                <c:pt idx="1499">
                  <c:v>1</c:v>
                </c:pt>
                <c:pt idx="1500">
                  <c:v>1</c:v>
                </c:pt>
                <c:pt idx="1501">
                  <c:v>1</c:v>
                </c:pt>
                <c:pt idx="1502">
                  <c:v>2</c:v>
                </c:pt>
                <c:pt idx="1503">
                  <c:v>2</c:v>
                </c:pt>
                <c:pt idx="1504">
                  <c:v>1</c:v>
                </c:pt>
                <c:pt idx="1505">
                  <c:v>1</c:v>
                </c:pt>
                <c:pt idx="1506">
                  <c:v>1</c:v>
                </c:pt>
                <c:pt idx="1507">
                  <c:v>2</c:v>
                </c:pt>
                <c:pt idx="1508">
                  <c:v>3</c:v>
                </c:pt>
                <c:pt idx="1509">
                  <c:v>3</c:v>
                </c:pt>
                <c:pt idx="1510">
                  <c:v>2</c:v>
                </c:pt>
                <c:pt idx="1511">
                  <c:v>1</c:v>
                </c:pt>
                <c:pt idx="1512">
                  <c:v>1</c:v>
                </c:pt>
                <c:pt idx="1513">
                  <c:v>2</c:v>
                </c:pt>
                <c:pt idx="1514">
                  <c:v>4</c:v>
                </c:pt>
                <c:pt idx="1515">
                  <c:v>3</c:v>
                </c:pt>
                <c:pt idx="1516">
                  <c:v>2</c:v>
                </c:pt>
                <c:pt idx="1517">
                  <c:v>1</c:v>
                </c:pt>
                <c:pt idx="1518">
                  <c:v>2</c:v>
                </c:pt>
                <c:pt idx="1519">
                  <c:v>3</c:v>
                </c:pt>
                <c:pt idx="1520">
                  <c:v>1</c:v>
                </c:pt>
                <c:pt idx="1521">
                  <c:v>2</c:v>
                </c:pt>
                <c:pt idx="1522">
                  <c:v>2</c:v>
                </c:pt>
                <c:pt idx="1523">
                  <c:v>1</c:v>
                </c:pt>
                <c:pt idx="1524">
                  <c:v>1</c:v>
                </c:pt>
                <c:pt idx="1525">
                  <c:v>2</c:v>
                </c:pt>
                <c:pt idx="1526">
                  <c:v>2</c:v>
                </c:pt>
                <c:pt idx="1527">
                  <c:v>3</c:v>
                </c:pt>
                <c:pt idx="1528">
                  <c:v>2</c:v>
                </c:pt>
                <c:pt idx="1529">
                  <c:v>3</c:v>
                </c:pt>
                <c:pt idx="1530">
                  <c:v>3</c:v>
                </c:pt>
                <c:pt idx="1531">
                  <c:v>3</c:v>
                </c:pt>
                <c:pt idx="1532">
                  <c:v>2</c:v>
                </c:pt>
                <c:pt idx="1533">
                  <c:v>1</c:v>
                </c:pt>
                <c:pt idx="1534">
                  <c:v>2</c:v>
                </c:pt>
                <c:pt idx="1535">
                  <c:v>3</c:v>
                </c:pt>
                <c:pt idx="1536">
                  <c:v>3</c:v>
                </c:pt>
                <c:pt idx="1537">
                  <c:v>3</c:v>
                </c:pt>
                <c:pt idx="1538">
                  <c:v>3</c:v>
                </c:pt>
                <c:pt idx="1539">
                  <c:v>3</c:v>
                </c:pt>
                <c:pt idx="1540">
                  <c:v>3</c:v>
                </c:pt>
                <c:pt idx="1541">
                  <c:v>3</c:v>
                </c:pt>
                <c:pt idx="1542">
                  <c:v>2</c:v>
                </c:pt>
                <c:pt idx="1543">
                  <c:v>2</c:v>
                </c:pt>
                <c:pt idx="1544">
                  <c:v>2</c:v>
                </c:pt>
                <c:pt idx="1545">
                  <c:v>3</c:v>
                </c:pt>
                <c:pt idx="1546">
                  <c:v>2</c:v>
                </c:pt>
                <c:pt idx="1547">
                  <c:v>2</c:v>
                </c:pt>
                <c:pt idx="1548">
                  <c:v>2</c:v>
                </c:pt>
                <c:pt idx="1549">
                  <c:v>2</c:v>
                </c:pt>
                <c:pt idx="1550">
                  <c:v>1</c:v>
                </c:pt>
                <c:pt idx="1551">
                  <c:v>1</c:v>
                </c:pt>
                <c:pt idx="1552">
                  <c:v>2</c:v>
                </c:pt>
                <c:pt idx="1553">
                  <c:v>2</c:v>
                </c:pt>
                <c:pt idx="1554">
                  <c:v>2</c:v>
                </c:pt>
                <c:pt idx="1555">
                  <c:v>3</c:v>
                </c:pt>
                <c:pt idx="1556">
                  <c:v>2</c:v>
                </c:pt>
                <c:pt idx="1557">
                  <c:v>3</c:v>
                </c:pt>
                <c:pt idx="1558">
                  <c:v>3</c:v>
                </c:pt>
                <c:pt idx="1559">
                  <c:v>2</c:v>
                </c:pt>
                <c:pt idx="1560">
                  <c:v>2</c:v>
                </c:pt>
                <c:pt idx="1561">
                  <c:v>3</c:v>
                </c:pt>
                <c:pt idx="1562">
                  <c:v>2</c:v>
                </c:pt>
                <c:pt idx="1563">
                  <c:v>2</c:v>
                </c:pt>
                <c:pt idx="1564">
                  <c:v>3</c:v>
                </c:pt>
                <c:pt idx="1565">
                  <c:v>1</c:v>
                </c:pt>
                <c:pt idx="1566">
                  <c:v>2</c:v>
                </c:pt>
                <c:pt idx="1567">
                  <c:v>3</c:v>
                </c:pt>
                <c:pt idx="1568">
                  <c:v>2</c:v>
                </c:pt>
                <c:pt idx="1569">
                  <c:v>2</c:v>
                </c:pt>
                <c:pt idx="1570">
                  <c:v>2</c:v>
                </c:pt>
                <c:pt idx="1572">
                  <c:v>2</c:v>
                </c:pt>
                <c:pt idx="1573">
                  <c:v>2</c:v>
                </c:pt>
                <c:pt idx="1574">
                  <c:v>3</c:v>
                </c:pt>
                <c:pt idx="1575">
                  <c:v>1</c:v>
                </c:pt>
                <c:pt idx="1576">
                  <c:v>2</c:v>
                </c:pt>
                <c:pt idx="1577">
                  <c:v>1</c:v>
                </c:pt>
                <c:pt idx="1578">
                  <c:v>2</c:v>
                </c:pt>
                <c:pt idx="1579">
                  <c:v>1</c:v>
                </c:pt>
                <c:pt idx="1580">
                  <c:v>2</c:v>
                </c:pt>
                <c:pt idx="1581">
                  <c:v>3</c:v>
                </c:pt>
                <c:pt idx="1582">
                  <c:v>2</c:v>
                </c:pt>
                <c:pt idx="1583">
                  <c:v>1</c:v>
                </c:pt>
                <c:pt idx="1584">
                  <c:v>1</c:v>
                </c:pt>
                <c:pt idx="1585">
                  <c:v>2</c:v>
                </c:pt>
                <c:pt idx="1586">
                  <c:v>2</c:v>
                </c:pt>
                <c:pt idx="1587">
                  <c:v>2</c:v>
                </c:pt>
                <c:pt idx="1588">
                  <c:v>2</c:v>
                </c:pt>
                <c:pt idx="1589">
                  <c:v>2</c:v>
                </c:pt>
                <c:pt idx="1590">
                  <c:v>2</c:v>
                </c:pt>
                <c:pt idx="1591">
                  <c:v>2</c:v>
                </c:pt>
                <c:pt idx="1592">
                  <c:v>1</c:v>
                </c:pt>
                <c:pt idx="1593">
                  <c:v>2</c:v>
                </c:pt>
                <c:pt idx="1594">
                  <c:v>2</c:v>
                </c:pt>
                <c:pt idx="1595">
                  <c:v>1</c:v>
                </c:pt>
                <c:pt idx="1596">
                  <c:v>3</c:v>
                </c:pt>
                <c:pt idx="1597">
                  <c:v>2</c:v>
                </c:pt>
                <c:pt idx="1598">
                  <c:v>1</c:v>
                </c:pt>
                <c:pt idx="1599">
                  <c:v>1</c:v>
                </c:pt>
                <c:pt idx="1600">
                  <c:v>3</c:v>
                </c:pt>
                <c:pt idx="1601">
                  <c:v>2</c:v>
                </c:pt>
                <c:pt idx="1602">
                  <c:v>2</c:v>
                </c:pt>
                <c:pt idx="1603">
                  <c:v>1</c:v>
                </c:pt>
                <c:pt idx="1604">
                  <c:v>2</c:v>
                </c:pt>
                <c:pt idx="1605">
                  <c:v>1</c:v>
                </c:pt>
                <c:pt idx="1606">
                  <c:v>2</c:v>
                </c:pt>
                <c:pt idx="1607">
                  <c:v>1</c:v>
                </c:pt>
                <c:pt idx="1608">
                  <c:v>1</c:v>
                </c:pt>
                <c:pt idx="1609">
                  <c:v>1</c:v>
                </c:pt>
                <c:pt idx="1610">
                  <c:v>1</c:v>
                </c:pt>
                <c:pt idx="1611">
                  <c:v>2</c:v>
                </c:pt>
                <c:pt idx="1612">
                  <c:v>1</c:v>
                </c:pt>
                <c:pt idx="1613">
                  <c:v>2</c:v>
                </c:pt>
                <c:pt idx="1614">
                  <c:v>1</c:v>
                </c:pt>
                <c:pt idx="1615">
                  <c:v>1</c:v>
                </c:pt>
                <c:pt idx="1616">
                  <c:v>2</c:v>
                </c:pt>
                <c:pt idx="1617">
                  <c:v>2</c:v>
                </c:pt>
                <c:pt idx="1618">
                  <c:v>1</c:v>
                </c:pt>
                <c:pt idx="1619">
                  <c:v>2</c:v>
                </c:pt>
                <c:pt idx="1620">
                  <c:v>2</c:v>
                </c:pt>
                <c:pt idx="1621">
                  <c:v>1</c:v>
                </c:pt>
                <c:pt idx="1622">
                  <c:v>1</c:v>
                </c:pt>
                <c:pt idx="1623">
                  <c:v>2</c:v>
                </c:pt>
                <c:pt idx="1624">
                  <c:v>3</c:v>
                </c:pt>
                <c:pt idx="1625">
                  <c:v>2</c:v>
                </c:pt>
                <c:pt idx="1626">
                  <c:v>1</c:v>
                </c:pt>
                <c:pt idx="1627">
                  <c:v>3</c:v>
                </c:pt>
                <c:pt idx="1628">
                  <c:v>3</c:v>
                </c:pt>
                <c:pt idx="1629">
                  <c:v>1</c:v>
                </c:pt>
                <c:pt idx="1630">
                  <c:v>3</c:v>
                </c:pt>
                <c:pt idx="1631">
                  <c:v>3</c:v>
                </c:pt>
                <c:pt idx="1632">
                  <c:v>2</c:v>
                </c:pt>
                <c:pt idx="1633">
                  <c:v>2</c:v>
                </c:pt>
                <c:pt idx="1634">
                  <c:v>2</c:v>
                </c:pt>
                <c:pt idx="1635">
                  <c:v>2</c:v>
                </c:pt>
                <c:pt idx="1636">
                  <c:v>1</c:v>
                </c:pt>
                <c:pt idx="1637">
                  <c:v>1</c:v>
                </c:pt>
                <c:pt idx="1638">
                  <c:v>1</c:v>
                </c:pt>
                <c:pt idx="1639">
                  <c:v>1</c:v>
                </c:pt>
                <c:pt idx="1640">
                  <c:v>3</c:v>
                </c:pt>
                <c:pt idx="1641">
                  <c:v>2</c:v>
                </c:pt>
                <c:pt idx="1642">
                  <c:v>2</c:v>
                </c:pt>
                <c:pt idx="1643">
                  <c:v>1</c:v>
                </c:pt>
                <c:pt idx="1644">
                  <c:v>1</c:v>
                </c:pt>
                <c:pt idx="1646">
                  <c:v>3</c:v>
                </c:pt>
                <c:pt idx="1647">
                  <c:v>4</c:v>
                </c:pt>
                <c:pt idx="1648">
                  <c:v>1</c:v>
                </c:pt>
                <c:pt idx="1649">
                  <c:v>2</c:v>
                </c:pt>
                <c:pt idx="1650">
                  <c:v>1</c:v>
                </c:pt>
                <c:pt idx="1651">
                  <c:v>2</c:v>
                </c:pt>
                <c:pt idx="1652">
                  <c:v>2</c:v>
                </c:pt>
                <c:pt idx="1653">
                  <c:v>1</c:v>
                </c:pt>
                <c:pt idx="1654">
                  <c:v>2</c:v>
                </c:pt>
                <c:pt idx="1655">
                  <c:v>1</c:v>
                </c:pt>
                <c:pt idx="1656">
                  <c:v>2</c:v>
                </c:pt>
                <c:pt idx="1657">
                  <c:v>2</c:v>
                </c:pt>
                <c:pt idx="1658">
                  <c:v>1</c:v>
                </c:pt>
                <c:pt idx="1659">
                  <c:v>2</c:v>
                </c:pt>
                <c:pt idx="1660">
                  <c:v>2</c:v>
                </c:pt>
                <c:pt idx="1661">
                  <c:v>1</c:v>
                </c:pt>
                <c:pt idx="1662">
                  <c:v>2</c:v>
                </c:pt>
                <c:pt idx="1663">
                  <c:v>2</c:v>
                </c:pt>
                <c:pt idx="1664">
                  <c:v>4</c:v>
                </c:pt>
                <c:pt idx="1665">
                  <c:v>3</c:v>
                </c:pt>
                <c:pt idx="1666">
                  <c:v>2</c:v>
                </c:pt>
                <c:pt idx="1667">
                  <c:v>1</c:v>
                </c:pt>
                <c:pt idx="1668">
                  <c:v>2</c:v>
                </c:pt>
                <c:pt idx="1669">
                  <c:v>1</c:v>
                </c:pt>
                <c:pt idx="1670">
                  <c:v>1</c:v>
                </c:pt>
                <c:pt idx="1671">
                  <c:v>3</c:v>
                </c:pt>
                <c:pt idx="1672">
                  <c:v>2</c:v>
                </c:pt>
                <c:pt idx="1673">
                  <c:v>2</c:v>
                </c:pt>
                <c:pt idx="1674">
                  <c:v>1</c:v>
                </c:pt>
                <c:pt idx="1675">
                  <c:v>1</c:v>
                </c:pt>
                <c:pt idx="1676">
                  <c:v>1</c:v>
                </c:pt>
                <c:pt idx="1677">
                  <c:v>1</c:v>
                </c:pt>
                <c:pt idx="1678">
                  <c:v>4</c:v>
                </c:pt>
                <c:pt idx="1679">
                  <c:v>3</c:v>
                </c:pt>
                <c:pt idx="1680">
                  <c:v>3</c:v>
                </c:pt>
                <c:pt idx="1681">
                  <c:v>2</c:v>
                </c:pt>
                <c:pt idx="1682">
                  <c:v>1</c:v>
                </c:pt>
                <c:pt idx="1683">
                  <c:v>1</c:v>
                </c:pt>
                <c:pt idx="1684">
                  <c:v>2</c:v>
                </c:pt>
                <c:pt idx="1685">
                  <c:v>4</c:v>
                </c:pt>
                <c:pt idx="1686">
                  <c:v>1</c:v>
                </c:pt>
                <c:pt idx="1687">
                  <c:v>2</c:v>
                </c:pt>
                <c:pt idx="1688">
                  <c:v>2</c:v>
                </c:pt>
                <c:pt idx="1689">
                  <c:v>2</c:v>
                </c:pt>
                <c:pt idx="1690">
                  <c:v>4</c:v>
                </c:pt>
                <c:pt idx="1691">
                  <c:v>2</c:v>
                </c:pt>
                <c:pt idx="1692">
                  <c:v>2</c:v>
                </c:pt>
                <c:pt idx="1693">
                  <c:v>2</c:v>
                </c:pt>
                <c:pt idx="1694">
                  <c:v>3</c:v>
                </c:pt>
                <c:pt idx="1695">
                  <c:v>2</c:v>
                </c:pt>
                <c:pt idx="1696">
                  <c:v>2</c:v>
                </c:pt>
                <c:pt idx="1697">
                  <c:v>3</c:v>
                </c:pt>
                <c:pt idx="1698">
                  <c:v>2</c:v>
                </c:pt>
                <c:pt idx="1699">
                  <c:v>3</c:v>
                </c:pt>
                <c:pt idx="1700">
                  <c:v>2</c:v>
                </c:pt>
                <c:pt idx="1702">
                  <c:v>3</c:v>
                </c:pt>
                <c:pt idx="1703">
                  <c:v>2</c:v>
                </c:pt>
                <c:pt idx="1704">
                  <c:v>1</c:v>
                </c:pt>
                <c:pt idx="1705">
                  <c:v>2</c:v>
                </c:pt>
                <c:pt idx="1706">
                  <c:v>1</c:v>
                </c:pt>
                <c:pt idx="1707">
                  <c:v>1</c:v>
                </c:pt>
                <c:pt idx="1708">
                  <c:v>2</c:v>
                </c:pt>
                <c:pt idx="1709">
                  <c:v>1</c:v>
                </c:pt>
                <c:pt idx="1710">
                  <c:v>1</c:v>
                </c:pt>
                <c:pt idx="1711">
                  <c:v>2</c:v>
                </c:pt>
                <c:pt idx="1712">
                  <c:v>4</c:v>
                </c:pt>
                <c:pt idx="1713">
                  <c:v>1</c:v>
                </c:pt>
                <c:pt idx="1714">
                  <c:v>2</c:v>
                </c:pt>
                <c:pt idx="1715">
                  <c:v>3</c:v>
                </c:pt>
                <c:pt idx="1716">
                  <c:v>2</c:v>
                </c:pt>
                <c:pt idx="1717">
                  <c:v>2</c:v>
                </c:pt>
                <c:pt idx="1718">
                  <c:v>1</c:v>
                </c:pt>
                <c:pt idx="1719">
                  <c:v>2</c:v>
                </c:pt>
                <c:pt idx="1720">
                  <c:v>1</c:v>
                </c:pt>
                <c:pt idx="1721">
                  <c:v>2</c:v>
                </c:pt>
                <c:pt idx="1722">
                  <c:v>1</c:v>
                </c:pt>
                <c:pt idx="1723">
                  <c:v>2</c:v>
                </c:pt>
                <c:pt idx="1724">
                  <c:v>3</c:v>
                </c:pt>
                <c:pt idx="1725">
                  <c:v>2</c:v>
                </c:pt>
                <c:pt idx="1726">
                  <c:v>3</c:v>
                </c:pt>
                <c:pt idx="1727">
                  <c:v>1</c:v>
                </c:pt>
                <c:pt idx="1729">
                  <c:v>2</c:v>
                </c:pt>
                <c:pt idx="1730">
                  <c:v>2</c:v>
                </c:pt>
                <c:pt idx="1732">
                  <c:v>1</c:v>
                </c:pt>
                <c:pt idx="1733">
                  <c:v>2</c:v>
                </c:pt>
                <c:pt idx="1734">
                  <c:v>3</c:v>
                </c:pt>
                <c:pt idx="1735">
                  <c:v>1</c:v>
                </c:pt>
                <c:pt idx="1736">
                  <c:v>1</c:v>
                </c:pt>
                <c:pt idx="1737">
                  <c:v>2</c:v>
                </c:pt>
                <c:pt idx="1738">
                  <c:v>1</c:v>
                </c:pt>
                <c:pt idx="1739">
                  <c:v>2</c:v>
                </c:pt>
                <c:pt idx="1740">
                  <c:v>3</c:v>
                </c:pt>
                <c:pt idx="1741">
                  <c:v>2</c:v>
                </c:pt>
                <c:pt idx="1742">
                  <c:v>2</c:v>
                </c:pt>
                <c:pt idx="1743">
                  <c:v>3</c:v>
                </c:pt>
                <c:pt idx="1744">
                  <c:v>1</c:v>
                </c:pt>
                <c:pt idx="1746">
                  <c:v>1</c:v>
                </c:pt>
                <c:pt idx="1748">
                  <c:v>3</c:v>
                </c:pt>
                <c:pt idx="1749">
                  <c:v>2</c:v>
                </c:pt>
                <c:pt idx="1750">
                  <c:v>3</c:v>
                </c:pt>
                <c:pt idx="1751">
                  <c:v>2</c:v>
                </c:pt>
                <c:pt idx="1752">
                  <c:v>1</c:v>
                </c:pt>
                <c:pt idx="1753">
                  <c:v>2</c:v>
                </c:pt>
                <c:pt idx="1754">
                  <c:v>2</c:v>
                </c:pt>
                <c:pt idx="1755">
                  <c:v>1</c:v>
                </c:pt>
                <c:pt idx="1756">
                  <c:v>1</c:v>
                </c:pt>
                <c:pt idx="1757">
                  <c:v>2</c:v>
                </c:pt>
                <c:pt idx="1758">
                  <c:v>2</c:v>
                </c:pt>
                <c:pt idx="1759">
                  <c:v>2</c:v>
                </c:pt>
                <c:pt idx="1760">
                  <c:v>2</c:v>
                </c:pt>
                <c:pt idx="1761">
                  <c:v>2</c:v>
                </c:pt>
                <c:pt idx="1762">
                  <c:v>3</c:v>
                </c:pt>
                <c:pt idx="1763">
                  <c:v>2</c:v>
                </c:pt>
                <c:pt idx="1764">
                  <c:v>3</c:v>
                </c:pt>
                <c:pt idx="1765">
                  <c:v>1</c:v>
                </c:pt>
                <c:pt idx="1766">
                  <c:v>1</c:v>
                </c:pt>
                <c:pt idx="1767">
                  <c:v>3</c:v>
                </c:pt>
                <c:pt idx="1768">
                  <c:v>2</c:v>
                </c:pt>
                <c:pt idx="1769">
                  <c:v>3</c:v>
                </c:pt>
                <c:pt idx="1770">
                  <c:v>3</c:v>
                </c:pt>
                <c:pt idx="1771">
                  <c:v>1</c:v>
                </c:pt>
                <c:pt idx="1772">
                  <c:v>1</c:v>
                </c:pt>
                <c:pt idx="1773">
                  <c:v>1</c:v>
                </c:pt>
                <c:pt idx="1774">
                  <c:v>1</c:v>
                </c:pt>
                <c:pt idx="1775">
                  <c:v>3</c:v>
                </c:pt>
                <c:pt idx="1776">
                  <c:v>2</c:v>
                </c:pt>
                <c:pt idx="1777">
                  <c:v>2</c:v>
                </c:pt>
                <c:pt idx="1778">
                  <c:v>3</c:v>
                </c:pt>
                <c:pt idx="1779">
                  <c:v>1</c:v>
                </c:pt>
                <c:pt idx="1780">
                  <c:v>1</c:v>
                </c:pt>
                <c:pt idx="1781">
                  <c:v>1</c:v>
                </c:pt>
                <c:pt idx="1782">
                  <c:v>1</c:v>
                </c:pt>
                <c:pt idx="1783">
                  <c:v>2</c:v>
                </c:pt>
                <c:pt idx="1784">
                  <c:v>2</c:v>
                </c:pt>
                <c:pt idx="1785">
                  <c:v>1</c:v>
                </c:pt>
                <c:pt idx="1786">
                  <c:v>3</c:v>
                </c:pt>
                <c:pt idx="1787">
                  <c:v>3</c:v>
                </c:pt>
                <c:pt idx="1788">
                  <c:v>2</c:v>
                </c:pt>
                <c:pt idx="1789">
                  <c:v>3</c:v>
                </c:pt>
                <c:pt idx="1790">
                  <c:v>2</c:v>
                </c:pt>
                <c:pt idx="1791">
                  <c:v>2</c:v>
                </c:pt>
                <c:pt idx="1792">
                  <c:v>3</c:v>
                </c:pt>
                <c:pt idx="1793">
                  <c:v>2</c:v>
                </c:pt>
                <c:pt idx="1794">
                  <c:v>2</c:v>
                </c:pt>
                <c:pt idx="1795">
                  <c:v>1</c:v>
                </c:pt>
                <c:pt idx="1796">
                  <c:v>1</c:v>
                </c:pt>
                <c:pt idx="1797">
                  <c:v>2</c:v>
                </c:pt>
                <c:pt idx="1798">
                  <c:v>2</c:v>
                </c:pt>
                <c:pt idx="1799">
                  <c:v>2</c:v>
                </c:pt>
                <c:pt idx="1800">
                  <c:v>3</c:v>
                </c:pt>
                <c:pt idx="1801">
                  <c:v>2</c:v>
                </c:pt>
                <c:pt idx="1802">
                  <c:v>3</c:v>
                </c:pt>
                <c:pt idx="1803">
                  <c:v>2</c:v>
                </c:pt>
                <c:pt idx="1804">
                  <c:v>3</c:v>
                </c:pt>
                <c:pt idx="1805">
                  <c:v>2</c:v>
                </c:pt>
                <c:pt idx="1806">
                  <c:v>1</c:v>
                </c:pt>
                <c:pt idx="1807">
                  <c:v>2</c:v>
                </c:pt>
                <c:pt idx="1808">
                  <c:v>2</c:v>
                </c:pt>
                <c:pt idx="1809">
                  <c:v>1</c:v>
                </c:pt>
                <c:pt idx="1810">
                  <c:v>3</c:v>
                </c:pt>
                <c:pt idx="1811">
                  <c:v>1</c:v>
                </c:pt>
                <c:pt idx="1812">
                  <c:v>2</c:v>
                </c:pt>
                <c:pt idx="1813">
                  <c:v>2</c:v>
                </c:pt>
                <c:pt idx="1814">
                  <c:v>2</c:v>
                </c:pt>
                <c:pt idx="1815">
                  <c:v>1</c:v>
                </c:pt>
                <c:pt idx="1816">
                  <c:v>1</c:v>
                </c:pt>
                <c:pt idx="1817">
                  <c:v>3</c:v>
                </c:pt>
                <c:pt idx="1818">
                  <c:v>1</c:v>
                </c:pt>
                <c:pt idx="1819">
                  <c:v>1</c:v>
                </c:pt>
                <c:pt idx="1820">
                  <c:v>1</c:v>
                </c:pt>
                <c:pt idx="1821">
                  <c:v>1</c:v>
                </c:pt>
                <c:pt idx="1822">
                  <c:v>3</c:v>
                </c:pt>
                <c:pt idx="1823">
                  <c:v>2</c:v>
                </c:pt>
                <c:pt idx="1824">
                  <c:v>2</c:v>
                </c:pt>
                <c:pt idx="1825">
                  <c:v>2</c:v>
                </c:pt>
                <c:pt idx="1826">
                  <c:v>1</c:v>
                </c:pt>
                <c:pt idx="1827">
                  <c:v>1</c:v>
                </c:pt>
                <c:pt idx="1828">
                  <c:v>2</c:v>
                </c:pt>
                <c:pt idx="1829">
                  <c:v>3</c:v>
                </c:pt>
                <c:pt idx="1830">
                  <c:v>3</c:v>
                </c:pt>
                <c:pt idx="1831">
                  <c:v>2</c:v>
                </c:pt>
                <c:pt idx="1832">
                  <c:v>1</c:v>
                </c:pt>
                <c:pt idx="1833">
                  <c:v>2</c:v>
                </c:pt>
                <c:pt idx="1834">
                  <c:v>1</c:v>
                </c:pt>
                <c:pt idx="1835">
                  <c:v>1</c:v>
                </c:pt>
                <c:pt idx="1836">
                  <c:v>2</c:v>
                </c:pt>
                <c:pt idx="1837">
                  <c:v>2</c:v>
                </c:pt>
                <c:pt idx="1838">
                  <c:v>3</c:v>
                </c:pt>
                <c:pt idx="1839">
                  <c:v>1</c:v>
                </c:pt>
                <c:pt idx="1840">
                  <c:v>2</c:v>
                </c:pt>
                <c:pt idx="1841">
                  <c:v>1</c:v>
                </c:pt>
                <c:pt idx="1842">
                  <c:v>2</c:v>
                </c:pt>
                <c:pt idx="1843">
                  <c:v>3</c:v>
                </c:pt>
                <c:pt idx="1844">
                  <c:v>1</c:v>
                </c:pt>
                <c:pt idx="1845">
                  <c:v>1</c:v>
                </c:pt>
                <c:pt idx="1846">
                  <c:v>1</c:v>
                </c:pt>
                <c:pt idx="1847">
                  <c:v>3</c:v>
                </c:pt>
                <c:pt idx="1848">
                  <c:v>1</c:v>
                </c:pt>
                <c:pt idx="1849">
                  <c:v>3</c:v>
                </c:pt>
                <c:pt idx="1850">
                  <c:v>2</c:v>
                </c:pt>
                <c:pt idx="1851">
                  <c:v>3</c:v>
                </c:pt>
                <c:pt idx="1852">
                  <c:v>3</c:v>
                </c:pt>
                <c:pt idx="1853">
                  <c:v>3</c:v>
                </c:pt>
                <c:pt idx="1854">
                  <c:v>2</c:v>
                </c:pt>
                <c:pt idx="1855">
                  <c:v>2</c:v>
                </c:pt>
                <c:pt idx="1856">
                  <c:v>3</c:v>
                </c:pt>
              </c:numCache>
            </c:numRef>
          </c:xVal>
          <c:yVal>
            <c:numRef>
              <c:f>'[correlaciones proetica.xlsx]Hoja2'!$C$3:$C$1859</c:f>
              <c:numCache>
                <c:formatCode>General</c:formatCode>
                <c:ptCount val="1857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3</c:v>
                </c:pt>
                <c:pt idx="5">
                  <c:v>3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2</c:v>
                </c:pt>
                <c:pt idx="12">
                  <c:v>1</c:v>
                </c:pt>
                <c:pt idx="13">
                  <c:v>1</c:v>
                </c:pt>
                <c:pt idx="14">
                  <c:v>2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3</c:v>
                </c:pt>
                <c:pt idx="19">
                  <c:v>3</c:v>
                </c:pt>
                <c:pt idx="20">
                  <c:v>3</c:v>
                </c:pt>
                <c:pt idx="21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2</c:v>
                </c:pt>
                <c:pt idx="26">
                  <c:v>2</c:v>
                </c:pt>
                <c:pt idx="27">
                  <c:v>3</c:v>
                </c:pt>
                <c:pt idx="28">
                  <c:v>2</c:v>
                </c:pt>
                <c:pt idx="29">
                  <c:v>2</c:v>
                </c:pt>
                <c:pt idx="30">
                  <c:v>3</c:v>
                </c:pt>
                <c:pt idx="31">
                  <c:v>3</c:v>
                </c:pt>
                <c:pt idx="32">
                  <c:v>3</c:v>
                </c:pt>
                <c:pt idx="33">
                  <c:v>1</c:v>
                </c:pt>
                <c:pt idx="34">
                  <c:v>2</c:v>
                </c:pt>
                <c:pt idx="35">
                  <c:v>1</c:v>
                </c:pt>
                <c:pt idx="36">
                  <c:v>2</c:v>
                </c:pt>
                <c:pt idx="37">
                  <c:v>3</c:v>
                </c:pt>
                <c:pt idx="38">
                  <c:v>2</c:v>
                </c:pt>
                <c:pt idx="39">
                  <c:v>1</c:v>
                </c:pt>
                <c:pt idx="40">
                  <c:v>2</c:v>
                </c:pt>
                <c:pt idx="41">
                  <c:v>2</c:v>
                </c:pt>
                <c:pt idx="42">
                  <c:v>1</c:v>
                </c:pt>
                <c:pt idx="43">
                  <c:v>2</c:v>
                </c:pt>
                <c:pt idx="44">
                  <c:v>3</c:v>
                </c:pt>
                <c:pt idx="45">
                  <c:v>3</c:v>
                </c:pt>
                <c:pt idx="46">
                  <c:v>3</c:v>
                </c:pt>
                <c:pt idx="47">
                  <c:v>3</c:v>
                </c:pt>
                <c:pt idx="48">
                  <c:v>3</c:v>
                </c:pt>
                <c:pt idx="49">
                  <c:v>2</c:v>
                </c:pt>
                <c:pt idx="50">
                  <c:v>3</c:v>
                </c:pt>
                <c:pt idx="51">
                  <c:v>1</c:v>
                </c:pt>
                <c:pt idx="52">
                  <c:v>3</c:v>
                </c:pt>
                <c:pt idx="53">
                  <c:v>2</c:v>
                </c:pt>
                <c:pt idx="54">
                  <c:v>3</c:v>
                </c:pt>
                <c:pt idx="55">
                  <c:v>1</c:v>
                </c:pt>
                <c:pt idx="56">
                  <c:v>3</c:v>
                </c:pt>
                <c:pt idx="57">
                  <c:v>2</c:v>
                </c:pt>
                <c:pt idx="60">
                  <c:v>3</c:v>
                </c:pt>
                <c:pt idx="61">
                  <c:v>3</c:v>
                </c:pt>
                <c:pt idx="62">
                  <c:v>3</c:v>
                </c:pt>
                <c:pt idx="63">
                  <c:v>3</c:v>
                </c:pt>
                <c:pt idx="64">
                  <c:v>2</c:v>
                </c:pt>
                <c:pt idx="65">
                  <c:v>3</c:v>
                </c:pt>
                <c:pt idx="66">
                  <c:v>1</c:v>
                </c:pt>
                <c:pt idx="67">
                  <c:v>1</c:v>
                </c:pt>
                <c:pt idx="68">
                  <c:v>2</c:v>
                </c:pt>
                <c:pt idx="69">
                  <c:v>2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5">
                  <c:v>3</c:v>
                </c:pt>
                <c:pt idx="76">
                  <c:v>2</c:v>
                </c:pt>
                <c:pt idx="78">
                  <c:v>3</c:v>
                </c:pt>
                <c:pt idx="79">
                  <c:v>3</c:v>
                </c:pt>
                <c:pt idx="80">
                  <c:v>3</c:v>
                </c:pt>
                <c:pt idx="81">
                  <c:v>1</c:v>
                </c:pt>
                <c:pt idx="82">
                  <c:v>3</c:v>
                </c:pt>
                <c:pt idx="83">
                  <c:v>3</c:v>
                </c:pt>
                <c:pt idx="84">
                  <c:v>3</c:v>
                </c:pt>
                <c:pt idx="85">
                  <c:v>2</c:v>
                </c:pt>
                <c:pt idx="86">
                  <c:v>3</c:v>
                </c:pt>
                <c:pt idx="87">
                  <c:v>2</c:v>
                </c:pt>
                <c:pt idx="88">
                  <c:v>1</c:v>
                </c:pt>
                <c:pt idx="89">
                  <c:v>2</c:v>
                </c:pt>
                <c:pt idx="90">
                  <c:v>1</c:v>
                </c:pt>
                <c:pt idx="93">
                  <c:v>2</c:v>
                </c:pt>
                <c:pt idx="94">
                  <c:v>3</c:v>
                </c:pt>
                <c:pt idx="95">
                  <c:v>1</c:v>
                </c:pt>
                <c:pt idx="96">
                  <c:v>3</c:v>
                </c:pt>
                <c:pt idx="97">
                  <c:v>3</c:v>
                </c:pt>
                <c:pt idx="98">
                  <c:v>1</c:v>
                </c:pt>
                <c:pt idx="99">
                  <c:v>2</c:v>
                </c:pt>
                <c:pt idx="100">
                  <c:v>3</c:v>
                </c:pt>
                <c:pt idx="101">
                  <c:v>3</c:v>
                </c:pt>
                <c:pt idx="102">
                  <c:v>3</c:v>
                </c:pt>
                <c:pt idx="103">
                  <c:v>2</c:v>
                </c:pt>
                <c:pt idx="104">
                  <c:v>3</c:v>
                </c:pt>
                <c:pt idx="105">
                  <c:v>2</c:v>
                </c:pt>
                <c:pt idx="106">
                  <c:v>3</c:v>
                </c:pt>
                <c:pt idx="107">
                  <c:v>3</c:v>
                </c:pt>
                <c:pt idx="108">
                  <c:v>1</c:v>
                </c:pt>
                <c:pt idx="109">
                  <c:v>2</c:v>
                </c:pt>
                <c:pt idx="110">
                  <c:v>1</c:v>
                </c:pt>
                <c:pt idx="111">
                  <c:v>3</c:v>
                </c:pt>
                <c:pt idx="112">
                  <c:v>3</c:v>
                </c:pt>
                <c:pt idx="113">
                  <c:v>3</c:v>
                </c:pt>
                <c:pt idx="114">
                  <c:v>2</c:v>
                </c:pt>
                <c:pt idx="115">
                  <c:v>2</c:v>
                </c:pt>
                <c:pt idx="116">
                  <c:v>3</c:v>
                </c:pt>
                <c:pt idx="117">
                  <c:v>3</c:v>
                </c:pt>
                <c:pt idx="118">
                  <c:v>3</c:v>
                </c:pt>
                <c:pt idx="119">
                  <c:v>3</c:v>
                </c:pt>
                <c:pt idx="120">
                  <c:v>3</c:v>
                </c:pt>
                <c:pt idx="121">
                  <c:v>2</c:v>
                </c:pt>
                <c:pt idx="122">
                  <c:v>2</c:v>
                </c:pt>
                <c:pt idx="123">
                  <c:v>1</c:v>
                </c:pt>
                <c:pt idx="124">
                  <c:v>3</c:v>
                </c:pt>
                <c:pt idx="126">
                  <c:v>2</c:v>
                </c:pt>
                <c:pt idx="127">
                  <c:v>2</c:v>
                </c:pt>
                <c:pt idx="129">
                  <c:v>2</c:v>
                </c:pt>
                <c:pt idx="130">
                  <c:v>1</c:v>
                </c:pt>
                <c:pt idx="131">
                  <c:v>2</c:v>
                </c:pt>
                <c:pt idx="132">
                  <c:v>1</c:v>
                </c:pt>
                <c:pt idx="133">
                  <c:v>3</c:v>
                </c:pt>
                <c:pt idx="134">
                  <c:v>2</c:v>
                </c:pt>
                <c:pt idx="135">
                  <c:v>2</c:v>
                </c:pt>
                <c:pt idx="136">
                  <c:v>2</c:v>
                </c:pt>
                <c:pt idx="137">
                  <c:v>3</c:v>
                </c:pt>
                <c:pt idx="138">
                  <c:v>2</c:v>
                </c:pt>
                <c:pt idx="139">
                  <c:v>3</c:v>
                </c:pt>
                <c:pt idx="140">
                  <c:v>3</c:v>
                </c:pt>
                <c:pt idx="141">
                  <c:v>3</c:v>
                </c:pt>
                <c:pt idx="142">
                  <c:v>3</c:v>
                </c:pt>
                <c:pt idx="143">
                  <c:v>3</c:v>
                </c:pt>
                <c:pt idx="144">
                  <c:v>3</c:v>
                </c:pt>
                <c:pt idx="145">
                  <c:v>2</c:v>
                </c:pt>
                <c:pt idx="146">
                  <c:v>1</c:v>
                </c:pt>
                <c:pt idx="148">
                  <c:v>2</c:v>
                </c:pt>
                <c:pt idx="149">
                  <c:v>2</c:v>
                </c:pt>
                <c:pt idx="150">
                  <c:v>2</c:v>
                </c:pt>
                <c:pt idx="151">
                  <c:v>3</c:v>
                </c:pt>
                <c:pt idx="152">
                  <c:v>3</c:v>
                </c:pt>
                <c:pt idx="153">
                  <c:v>2</c:v>
                </c:pt>
                <c:pt idx="154">
                  <c:v>2</c:v>
                </c:pt>
                <c:pt idx="155">
                  <c:v>3</c:v>
                </c:pt>
                <c:pt idx="156">
                  <c:v>3</c:v>
                </c:pt>
                <c:pt idx="157">
                  <c:v>1</c:v>
                </c:pt>
                <c:pt idx="158">
                  <c:v>3</c:v>
                </c:pt>
                <c:pt idx="159">
                  <c:v>2</c:v>
                </c:pt>
                <c:pt idx="160">
                  <c:v>1</c:v>
                </c:pt>
                <c:pt idx="161">
                  <c:v>1</c:v>
                </c:pt>
                <c:pt idx="162">
                  <c:v>3</c:v>
                </c:pt>
                <c:pt idx="163">
                  <c:v>2</c:v>
                </c:pt>
                <c:pt idx="164">
                  <c:v>2</c:v>
                </c:pt>
                <c:pt idx="165">
                  <c:v>3</c:v>
                </c:pt>
                <c:pt idx="167">
                  <c:v>3</c:v>
                </c:pt>
                <c:pt idx="168">
                  <c:v>1</c:v>
                </c:pt>
                <c:pt idx="169">
                  <c:v>3</c:v>
                </c:pt>
                <c:pt idx="170">
                  <c:v>2</c:v>
                </c:pt>
                <c:pt idx="171">
                  <c:v>2</c:v>
                </c:pt>
                <c:pt idx="172">
                  <c:v>3</c:v>
                </c:pt>
                <c:pt idx="173">
                  <c:v>1</c:v>
                </c:pt>
                <c:pt idx="174">
                  <c:v>2</c:v>
                </c:pt>
                <c:pt idx="175">
                  <c:v>1</c:v>
                </c:pt>
                <c:pt idx="176">
                  <c:v>3</c:v>
                </c:pt>
                <c:pt idx="177">
                  <c:v>3</c:v>
                </c:pt>
                <c:pt idx="179">
                  <c:v>3</c:v>
                </c:pt>
                <c:pt idx="180">
                  <c:v>2</c:v>
                </c:pt>
                <c:pt idx="181">
                  <c:v>1</c:v>
                </c:pt>
                <c:pt idx="182">
                  <c:v>2</c:v>
                </c:pt>
                <c:pt idx="183">
                  <c:v>2</c:v>
                </c:pt>
                <c:pt idx="184">
                  <c:v>1</c:v>
                </c:pt>
                <c:pt idx="186">
                  <c:v>2</c:v>
                </c:pt>
                <c:pt idx="187">
                  <c:v>2</c:v>
                </c:pt>
                <c:pt idx="189">
                  <c:v>3</c:v>
                </c:pt>
                <c:pt idx="190">
                  <c:v>3</c:v>
                </c:pt>
                <c:pt idx="191">
                  <c:v>3</c:v>
                </c:pt>
                <c:pt idx="192">
                  <c:v>3</c:v>
                </c:pt>
                <c:pt idx="193">
                  <c:v>2</c:v>
                </c:pt>
                <c:pt idx="194">
                  <c:v>3</c:v>
                </c:pt>
                <c:pt idx="195">
                  <c:v>3</c:v>
                </c:pt>
                <c:pt idx="196">
                  <c:v>3</c:v>
                </c:pt>
                <c:pt idx="197">
                  <c:v>2</c:v>
                </c:pt>
                <c:pt idx="198">
                  <c:v>2</c:v>
                </c:pt>
                <c:pt idx="199">
                  <c:v>1</c:v>
                </c:pt>
                <c:pt idx="200">
                  <c:v>2</c:v>
                </c:pt>
                <c:pt idx="201">
                  <c:v>1</c:v>
                </c:pt>
                <c:pt idx="202">
                  <c:v>3</c:v>
                </c:pt>
                <c:pt idx="203">
                  <c:v>3</c:v>
                </c:pt>
                <c:pt idx="204">
                  <c:v>2</c:v>
                </c:pt>
                <c:pt idx="205">
                  <c:v>2</c:v>
                </c:pt>
                <c:pt idx="206">
                  <c:v>3</c:v>
                </c:pt>
                <c:pt idx="207">
                  <c:v>3</c:v>
                </c:pt>
                <c:pt idx="208">
                  <c:v>3</c:v>
                </c:pt>
                <c:pt idx="210">
                  <c:v>2</c:v>
                </c:pt>
                <c:pt idx="211">
                  <c:v>3</c:v>
                </c:pt>
                <c:pt idx="212">
                  <c:v>3</c:v>
                </c:pt>
                <c:pt idx="213">
                  <c:v>3</c:v>
                </c:pt>
                <c:pt idx="214">
                  <c:v>2</c:v>
                </c:pt>
                <c:pt idx="215">
                  <c:v>3</c:v>
                </c:pt>
                <c:pt idx="216">
                  <c:v>2</c:v>
                </c:pt>
                <c:pt idx="217">
                  <c:v>2</c:v>
                </c:pt>
                <c:pt idx="218">
                  <c:v>3</c:v>
                </c:pt>
                <c:pt idx="219">
                  <c:v>3</c:v>
                </c:pt>
                <c:pt idx="220">
                  <c:v>2</c:v>
                </c:pt>
                <c:pt idx="221">
                  <c:v>3</c:v>
                </c:pt>
                <c:pt idx="222">
                  <c:v>1</c:v>
                </c:pt>
                <c:pt idx="223">
                  <c:v>3</c:v>
                </c:pt>
                <c:pt idx="224">
                  <c:v>3</c:v>
                </c:pt>
                <c:pt idx="225">
                  <c:v>3</c:v>
                </c:pt>
                <c:pt idx="226">
                  <c:v>2</c:v>
                </c:pt>
                <c:pt idx="227">
                  <c:v>1</c:v>
                </c:pt>
                <c:pt idx="228">
                  <c:v>2</c:v>
                </c:pt>
                <c:pt idx="229">
                  <c:v>1</c:v>
                </c:pt>
                <c:pt idx="231">
                  <c:v>2</c:v>
                </c:pt>
                <c:pt idx="232">
                  <c:v>3</c:v>
                </c:pt>
                <c:pt idx="233">
                  <c:v>2</c:v>
                </c:pt>
                <c:pt idx="234">
                  <c:v>2</c:v>
                </c:pt>
                <c:pt idx="235">
                  <c:v>1</c:v>
                </c:pt>
                <c:pt idx="236">
                  <c:v>3</c:v>
                </c:pt>
                <c:pt idx="237">
                  <c:v>2</c:v>
                </c:pt>
                <c:pt idx="238">
                  <c:v>3</c:v>
                </c:pt>
                <c:pt idx="239">
                  <c:v>3</c:v>
                </c:pt>
                <c:pt idx="240">
                  <c:v>1</c:v>
                </c:pt>
                <c:pt idx="241">
                  <c:v>3</c:v>
                </c:pt>
                <c:pt idx="242">
                  <c:v>3</c:v>
                </c:pt>
                <c:pt idx="243">
                  <c:v>3</c:v>
                </c:pt>
                <c:pt idx="244">
                  <c:v>3</c:v>
                </c:pt>
                <c:pt idx="245">
                  <c:v>3</c:v>
                </c:pt>
                <c:pt idx="246">
                  <c:v>3</c:v>
                </c:pt>
                <c:pt idx="247">
                  <c:v>1</c:v>
                </c:pt>
                <c:pt idx="248">
                  <c:v>3</c:v>
                </c:pt>
                <c:pt idx="249">
                  <c:v>3</c:v>
                </c:pt>
                <c:pt idx="250">
                  <c:v>3</c:v>
                </c:pt>
                <c:pt idx="251">
                  <c:v>2</c:v>
                </c:pt>
                <c:pt idx="252">
                  <c:v>1</c:v>
                </c:pt>
                <c:pt idx="253">
                  <c:v>2</c:v>
                </c:pt>
                <c:pt idx="254">
                  <c:v>2</c:v>
                </c:pt>
                <c:pt idx="255">
                  <c:v>2</c:v>
                </c:pt>
                <c:pt idx="256">
                  <c:v>2</c:v>
                </c:pt>
                <c:pt idx="257">
                  <c:v>1</c:v>
                </c:pt>
                <c:pt idx="258">
                  <c:v>3</c:v>
                </c:pt>
                <c:pt idx="259">
                  <c:v>3</c:v>
                </c:pt>
                <c:pt idx="260">
                  <c:v>2</c:v>
                </c:pt>
                <c:pt idx="261">
                  <c:v>3</c:v>
                </c:pt>
                <c:pt idx="262">
                  <c:v>2</c:v>
                </c:pt>
                <c:pt idx="263">
                  <c:v>3</c:v>
                </c:pt>
                <c:pt idx="264">
                  <c:v>2</c:v>
                </c:pt>
                <c:pt idx="265">
                  <c:v>3</c:v>
                </c:pt>
                <c:pt idx="266">
                  <c:v>2</c:v>
                </c:pt>
                <c:pt idx="267">
                  <c:v>2</c:v>
                </c:pt>
                <c:pt idx="268">
                  <c:v>2</c:v>
                </c:pt>
                <c:pt idx="269">
                  <c:v>2</c:v>
                </c:pt>
                <c:pt idx="270">
                  <c:v>3</c:v>
                </c:pt>
                <c:pt idx="271">
                  <c:v>3</c:v>
                </c:pt>
                <c:pt idx="272">
                  <c:v>2</c:v>
                </c:pt>
                <c:pt idx="273">
                  <c:v>3</c:v>
                </c:pt>
                <c:pt idx="274">
                  <c:v>2</c:v>
                </c:pt>
                <c:pt idx="275">
                  <c:v>3</c:v>
                </c:pt>
                <c:pt idx="276">
                  <c:v>3</c:v>
                </c:pt>
                <c:pt idx="277">
                  <c:v>3</c:v>
                </c:pt>
                <c:pt idx="278">
                  <c:v>3</c:v>
                </c:pt>
                <c:pt idx="279">
                  <c:v>3</c:v>
                </c:pt>
                <c:pt idx="280">
                  <c:v>3</c:v>
                </c:pt>
                <c:pt idx="281">
                  <c:v>3</c:v>
                </c:pt>
                <c:pt idx="282">
                  <c:v>3</c:v>
                </c:pt>
                <c:pt idx="283">
                  <c:v>3</c:v>
                </c:pt>
                <c:pt idx="286">
                  <c:v>2</c:v>
                </c:pt>
                <c:pt idx="287">
                  <c:v>3</c:v>
                </c:pt>
                <c:pt idx="288">
                  <c:v>3</c:v>
                </c:pt>
                <c:pt idx="291">
                  <c:v>2</c:v>
                </c:pt>
                <c:pt idx="292">
                  <c:v>3</c:v>
                </c:pt>
                <c:pt idx="294">
                  <c:v>3</c:v>
                </c:pt>
                <c:pt idx="295">
                  <c:v>2</c:v>
                </c:pt>
                <c:pt idx="296">
                  <c:v>2</c:v>
                </c:pt>
                <c:pt idx="297">
                  <c:v>3</c:v>
                </c:pt>
                <c:pt idx="298">
                  <c:v>1</c:v>
                </c:pt>
                <c:pt idx="299">
                  <c:v>2</c:v>
                </c:pt>
                <c:pt idx="300">
                  <c:v>2</c:v>
                </c:pt>
                <c:pt idx="301">
                  <c:v>2</c:v>
                </c:pt>
                <c:pt idx="302">
                  <c:v>3</c:v>
                </c:pt>
                <c:pt idx="303">
                  <c:v>3</c:v>
                </c:pt>
                <c:pt idx="304">
                  <c:v>1</c:v>
                </c:pt>
                <c:pt idx="305">
                  <c:v>2</c:v>
                </c:pt>
                <c:pt idx="307">
                  <c:v>2</c:v>
                </c:pt>
                <c:pt idx="308">
                  <c:v>2</c:v>
                </c:pt>
                <c:pt idx="309">
                  <c:v>3</c:v>
                </c:pt>
                <c:pt idx="310">
                  <c:v>2</c:v>
                </c:pt>
                <c:pt idx="311">
                  <c:v>2</c:v>
                </c:pt>
                <c:pt idx="312">
                  <c:v>3</c:v>
                </c:pt>
                <c:pt idx="313">
                  <c:v>3</c:v>
                </c:pt>
                <c:pt idx="314">
                  <c:v>3</c:v>
                </c:pt>
                <c:pt idx="315">
                  <c:v>1</c:v>
                </c:pt>
                <c:pt idx="316">
                  <c:v>3</c:v>
                </c:pt>
                <c:pt idx="317">
                  <c:v>2</c:v>
                </c:pt>
                <c:pt idx="318">
                  <c:v>3</c:v>
                </c:pt>
                <c:pt idx="319">
                  <c:v>3</c:v>
                </c:pt>
                <c:pt idx="320">
                  <c:v>3</c:v>
                </c:pt>
                <c:pt idx="321">
                  <c:v>2</c:v>
                </c:pt>
                <c:pt idx="322">
                  <c:v>3</c:v>
                </c:pt>
                <c:pt idx="323">
                  <c:v>1</c:v>
                </c:pt>
                <c:pt idx="324">
                  <c:v>3</c:v>
                </c:pt>
                <c:pt idx="325">
                  <c:v>3</c:v>
                </c:pt>
                <c:pt idx="326">
                  <c:v>3</c:v>
                </c:pt>
                <c:pt idx="328">
                  <c:v>2</c:v>
                </c:pt>
                <c:pt idx="329">
                  <c:v>2</c:v>
                </c:pt>
                <c:pt idx="331">
                  <c:v>2</c:v>
                </c:pt>
                <c:pt idx="332">
                  <c:v>3</c:v>
                </c:pt>
                <c:pt idx="333">
                  <c:v>3</c:v>
                </c:pt>
                <c:pt idx="334">
                  <c:v>3</c:v>
                </c:pt>
                <c:pt idx="335">
                  <c:v>3</c:v>
                </c:pt>
                <c:pt idx="336">
                  <c:v>2</c:v>
                </c:pt>
                <c:pt idx="337">
                  <c:v>3</c:v>
                </c:pt>
                <c:pt idx="338">
                  <c:v>3</c:v>
                </c:pt>
                <c:pt idx="339">
                  <c:v>3</c:v>
                </c:pt>
                <c:pt idx="340">
                  <c:v>3</c:v>
                </c:pt>
                <c:pt idx="341">
                  <c:v>2</c:v>
                </c:pt>
                <c:pt idx="343">
                  <c:v>1</c:v>
                </c:pt>
                <c:pt idx="344">
                  <c:v>2</c:v>
                </c:pt>
                <c:pt idx="345">
                  <c:v>2</c:v>
                </c:pt>
                <c:pt idx="346">
                  <c:v>3</c:v>
                </c:pt>
                <c:pt idx="347">
                  <c:v>1</c:v>
                </c:pt>
                <c:pt idx="348">
                  <c:v>2</c:v>
                </c:pt>
                <c:pt idx="349">
                  <c:v>3</c:v>
                </c:pt>
                <c:pt idx="350">
                  <c:v>3</c:v>
                </c:pt>
                <c:pt idx="351">
                  <c:v>3</c:v>
                </c:pt>
                <c:pt idx="352">
                  <c:v>3</c:v>
                </c:pt>
                <c:pt idx="353">
                  <c:v>1</c:v>
                </c:pt>
                <c:pt idx="354">
                  <c:v>3</c:v>
                </c:pt>
                <c:pt idx="355">
                  <c:v>3</c:v>
                </c:pt>
                <c:pt idx="356">
                  <c:v>2</c:v>
                </c:pt>
                <c:pt idx="357">
                  <c:v>3</c:v>
                </c:pt>
                <c:pt idx="358">
                  <c:v>1</c:v>
                </c:pt>
                <c:pt idx="360">
                  <c:v>1</c:v>
                </c:pt>
                <c:pt idx="361">
                  <c:v>1</c:v>
                </c:pt>
                <c:pt idx="362">
                  <c:v>1</c:v>
                </c:pt>
                <c:pt idx="363">
                  <c:v>3</c:v>
                </c:pt>
                <c:pt idx="364">
                  <c:v>3</c:v>
                </c:pt>
                <c:pt idx="365">
                  <c:v>2</c:v>
                </c:pt>
                <c:pt idx="366">
                  <c:v>3</c:v>
                </c:pt>
                <c:pt idx="368">
                  <c:v>1</c:v>
                </c:pt>
                <c:pt idx="369">
                  <c:v>3</c:v>
                </c:pt>
                <c:pt idx="370">
                  <c:v>1</c:v>
                </c:pt>
                <c:pt idx="371">
                  <c:v>3</c:v>
                </c:pt>
                <c:pt idx="372">
                  <c:v>2</c:v>
                </c:pt>
                <c:pt idx="373">
                  <c:v>3</c:v>
                </c:pt>
                <c:pt idx="374">
                  <c:v>3</c:v>
                </c:pt>
                <c:pt idx="375">
                  <c:v>3</c:v>
                </c:pt>
                <c:pt idx="377">
                  <c:v>3</c:v>
                </c:pt>
                <c:pt idx="378">
                  <c:v>3</c:v>
                </c:pt>
                <c:pt idx="379">
                  <c:v>1</c:v>
                </c:pt>
                <c:pt idx="380">
                  <c:v>2</c:v>
                </c:pt>
                <c:pt idx="381">
                  <c:v>1</c:v>
                </c:pt>
                <c:pt idx="382">
                  <c:v>3</c:v>
                </c:pt>
                <c:pt idx="383">
                  <c:v>3</c:v>
                </c:pt>
                <c:pt idx="384">
                  <c:v>2</c:v>
                </c:pt>
                <c:pt idx="385">
                  <c:v>3</c:v>
                </c:pt>
                <c:pt idx="386">
                  <c:v>2</c:v>
                </c:pt>
                <c:pt idx="387">
                  <c:v>2</c:v>
                </c:pt>
                <c:pt idx="388">
                  <c:v>1</c:v>
                </c:pt>
                <c:pt idx="389">
                  <c:v>2</c:v>
                </c:pt>
                <c:pt idx="390">
                  <c:v>1</c:v>
                </c:pt>
                <c:pt idx="392">
                  <c:v>2</c:v>
                </c:pt>
                <c:pt idx="393">
                  <c:v>2</c:v>
                </c:pt>
                <c:pt idx="394">
                  <c:v>1</c:v>
                </c:pt>
                <c:pt idx="395">
                  <c:v>2</c:v>
                </c:pt>
                <c:pt idx="396">
                  <c:v>2</c:v>
                </c:pt>
                <c:pt idx="397">
                  <c:v>1</c:v>
                </c:pt>
                <c:pt idx="398">
                  <c:v>3</c:v>
                </c:pt>
                <c:pt idx="399">
                  <c:v>1</c:v>
                </c:pt>
                <c:pt idx="401">
                  <c:v>3</c:v>
                </c:pt>
                <c:pt idx="402">
                  <c:v>1</c:v>
                </c:pt>
                <c:pt idx="403">
                  <c:v>1</c:v>
                </c:pt>
                <c:pt idx="404">
                  <c:v>3</c:v>
                </c:pt>
                <c:pt idx="405">
                  <c:v>1</c:v>
                </c:pt>
                <c:pt idx="406">
                  <c:v>2</c:v>
                </c:pt>
                <c:pt idx="407">
                  <c:v>1</c:v>
                </c:pt>
                <c:pt idx="408">
                  <c:v>2</c:v>
                </c:pt>
                <c:pt idx="409">
                  <c:v>1</c:v>
                </c:pt>
                <c:pt idx="410">
                  <c:v>2</c:v>
                </c:pt>
                <c:pt idx="411">
                  <c:v>2</c:v>
                </c:pt>
                <c:pt idx="412">
                  <c:v>2</c:v>
                </c:pt>
                <c:pt idx="413">
                  <c:v>1</c:v>
                </c:pt>
                <c:pt idx="414">
                  <c:v>2</c:v>
                </c:pt>
                <c:pt idx="415">
                  <c:v>3</c:v>
                </c:pt>
                <c:pt idx="416">
                  <c:v>2</c:v>
                </c:pt>
                <c:pt idx="417">
                  <c:v>2</c:v>
                </c:pt>
                <c:pt idx="418">
                  <c:v>3</c:v>
                </c:pt>
                <c:pt idx="419">
                  <c:v>3</c:v>
                </c:pt>
                <c:pt idx="420">
                  <c:v>3</c:v>
                </c:pt>
                <c:pt idx="421">
                  <c:v>2</c:v>
                </c:pt>
                <c:pt idx="422">
                  <c:v>2</c:v>
                </c:pt>
                <c:pt idx="423">
                  <c:v>2</c:v>
                </c:pt>
                <c:pt idx="424">
                  <c:v>2</c:v>
                </c:pt>
                <c:pt idx="425">
                  <c:v>3</c:v>
                </c:pt>
                <c:pt idx="426">
                  <c:v>3</c:v>
                </c:pt>
                <c:pt idx="427">
                  <c:v>1</c:v>
                </c:pt>
                <c:pt idx="428">
                  <c:v>3</c:v>
                </c:pt>
                <c:pt idx="429">
                  <c:v>3</c:v>
                </c:pt>
                <c:pt idx="430">
                  <c:v>2</c:v>
                </c:pt>
                <c:pt idx="431">
                  <c:v>3</c:v>
                </c:pt>
                <c:pt idx="432">
                  <c:v>2</c:v>
                </c:pt>
                <c:pt idx="433">
                  <c:v>3</c:v>
                </c:pt>
                <c:pt idx="434">
                  <c:v>3</c:v>
                </c:pt>
                <c:pt idx="435">
                  <c:v>1</c:v>
                </c:pt>
                <c:pt idx="436">
                  <c:v>2</c:v>
                </c:pt>
                <c:pt idx="437">
                  <c:v>3</c:v>
                </c:pt>
                <c:pt idx="438">
                  <c:v>3</c:v>
                </c:pt>
                <c:pt idx="439">
                  <c:v>2</c:v>
                </c:pt>
                <c:pt idx="440">
                  <c:v>3</c:v>
                </c:pt>
                <c:pt idx="441">
                  <c:v>2</c:v>
                </c:pt>
                <c:pt idx="442">
                  <c:v>2</c:v>
                </c:pt>
                <c:pt idx="443">
                  <c:v>1</c:v>
                </c:pt>
                <c:pt idx="444">
                  <c:v>3</c:v>
                </c:pt>
                <c:pt idx="445">
                  <c:v>3</c:v>
                </c:pt>
                <c:pt idx="446">
                  <c:v>2</c:v>
                </c:pt>
                <c:pt idx="447">
                  <c:v>1</c:v>
                </c:pt>
                <c:pt idx="448">
                  <c:v>2</c:v>
                </c:pt>
                <c:pt idx="449">
                  <c:v>3</c:v>
                </c:pt>
                <c:pt idx="450">
                  <c:v>2</c:v>
                </c:pt>
                <c:pt idx="451">
                  <c:v>1</c:v>
                </c:pt>
                <c:pt idx="452">
                  <c:v>3</c:v>
                </c:pt>
                <c:pt idx="453">
                  <c:v>3</c:v>
                </c:pt>
                <c:pt idx="454">
                  <c:v>2</c:v>
                </c:pt>
                <c:pt idx="455">
                  <c:v>3</c:v>
                </c:pt>
                <c:pt idx="456">
                  <c:v>2</c:v>
                </c:pt>
                <c:pt idx="457">
                  <c:v>2</c:v>
                </c:pt>
                <c:pt idx="458">
                  <c:v>1</c:v>
                </c:pt>
                <c:pt idx="459">
                  <c:v>2</c:v>
                </c:pt>
                <c:pt idx="460">
                  <c:v>2</c:v>
                </c:pt>
                <c:pt idx="461">
                  <c:v>3</c:v>
                </c:pt>
                <c:pt idx="462">
                  <c:v>3</c:v>
                </c:pt>
                <c:pt idx="463">
                  <c:v>2</c:v>
                </c:pt>
                <c:pt idx="464">
                  <c:v>2</c:v>
                </c:pt>
                <c:pt idx="465">
                  <c:v>3</c:v>
                </c:pt>
                <c:pt idx="466">
                  <c:v>3</c:v>
                </c:pt>
                <c:pt idx="467">
                  <c:v>3</c:v>
                </c:pt>
                <c:pt idx="468">
                  <c:v>3</c:v>
                </c:pt>
                <c:pt idx="469">
                  <c:v>3</c:v>
                </c:pt>
                <c:pt idx="470">
                  <c:v>3</c:v>
                </c:pt>
                <c:pt idx="471">
                  <c:v>2</c:v>
                </c:pt>
                <c:pt idx="472">
                  <c:v>3</c:v>
                </c:pt>
                <c:pt idx="473">
                  <c:v>3</c:v>
                </c:pt>
                <c:pt idx="474">
                  <c:v>3</c:v>
                </c:pt>
                <c:pt idx="475">
                  <c:v>2</c:v>
                </c:pt>
                <c:pt idx="476">
                  <c:v>2</c:v>
                </c:pt>
                <c:pt idx="477">
                  <c:v>3</c:v>
                </c:pt>
                <c:pt idx="478">
                  <c:v>1</c:v>
                </c:pt>
                <c:pt idx="479">
                  <c:v>1</c:v>
                </c:pt>
                <c:pt idx="480">
                  <c:v>3</c:v>
                </c:pt>
                <c:pt idx="481">
                  <c:v>3</c:v>
                </c:pt>
                <c:pt idx="482">
                  <c:v>2</c:v>
                </c:pt>
                <c:pt idx="483">
                  <c:v>2</c:v>
                </c:pt>
                <c:pt idx="484">
                  <c:v>3</c:v>
                </c:pt>
                <c:pt idx="485">
                  <c:v>3</c:v>
                </c:pt>
                <c:pt idx="486">
                  <c:v>2</c:v>
                </c:pt>
                <c:pt idx="488">
                  <c:v>1</c:v>
                </c:pt>
                <c:pt idx="489">
                  <c:v>2</c:v>
                </c:pt>
                <c:pt idx="490">
                  <c:v>2</c:v>
                </c:pt>
                <c:pt idx="491">
                  <c:v>2</c:v>
                </c:pt>
                <c:pt idx="492">
                  <c:v>2</c:v>
                </c:pt>
                <c:pt idx="494">
                  <c:v>1</c:v>
                </c:pt>
                <c:pt idx="495">
                  <c:v>1</c:v>
                </c:pt>
                <c:pt idx="496">
                  <c:v>2</c:v>
                </c:pt>
                <c:pt idx="497">
                  <c:v>3</c:v>
                </c:pt>
                <c:pt idx="498">
                  <c:v>2</c:v>
                </c:pt>
                <c:pt idx="499">
                  <c:v>2</c:v>
                </c:pt>
                <c:pt idx="500">
                  <c:v>3</c:v>
                </c:pt>
                <c:pt idx="501">
                  <c:v>2</c:v>
                </c:pt>
                <c:pt idx="502">
                  <c:v>1</c:v>
                </c:pt>
                <c:pt idx="503">
                  <c:v>1</c:v>
                </c:pt>
                <c:pt idx="504">
                  <c:v>1</c:v>
                </c:pt>
                <c:pt idx="505">
                  <c:v>1</c:v>
                </c:pt>
                <c:pt idx="506">
                  <c:v>2</c:v>
                </c:pt>
                <c:pt idx="507">
                  <c:v>2</c:v>
                </c:pt>
                <c:pt idx="508">
                  <c:v>2</c:v>
                </c:pt>
                <c:pt idx="509">
                  <c:v>2</c:v>
                </c:pt>
                <c:pt idx="510">
                  <c:v>3</c:v>
                </c:pt>
                <c:pt idx="511">
                  <c:v>2</c:v>
                </c:pt>
                <c:pt idx="512">
                  <c:v>3</c:v>
                </c:pt>
                <c:pt idx="513">
                  <c:v>3</c:v>
                </c:pt>
                <c:pt idx="514">
                  <c:v>3</c:v>
                </c:pt>
                <c:pt idx="515">
                  <c:v>2</c:v>
                </c:pt>
                <c:pt idx="516">
                  <c:v>3</c:v>
                </c:pt>
                <c:pt idx="517">
                  <c:v>3</c:v>
                </c:pt>
                <c:pt idx="518">
                  <c:v>2</c:v>
                </c:pt>
                <c:pt idx="519">
                  <c:v>2</c:v>
                </c:pt>
                <c:pt idx="520">
                  <c:v>3</c:v>
                </c:pt>
                <c:pt idx="521">
                  <c:v>1</c:v>
                </c:pt>
                <c:pt idx="522">
                  <c:v>2</c:v>
                </c:pt>
                <c:pt idx="523">
                  <c:v>3</c:v>
                </c:pt>
                <c:pt idx="524">
                  <c:v>1</c:v>
                </c:pt>
                <c:pt idx="525">
                  <c:v>3</c:v>
                </c:pt>
                <c:pt idx="526">
                  <c:v>3</c:v>
                </c:pt>
                <c:pt idx="527">
                  <c:v>2</c:v>
                </c:pt>
                <c:pt idx="528">
                  <c:v>3</c:v>
                </c:pt>
                <c:pt idx="529">
                  <c:v>3</c:v>
                </c:pt>
                <c:pt idx="530">
                  <c:v>2</c:v>
                </c:pt>
                <c:pt idx="531">
                  <c:v>3</c:v>
                </c:pt>
                <c:pt idx="532">
                  <c:v>2</c:v>
                </c:pt>
                <c:pt idx="533">
                  <c:v>2</c:v>
                </c:pt>
                <c:pt idx="534">
                  <c:v>2</c:v>
                </c:pt>
                <c:pt idx="535">
                  <c:v>3</c:v>
                </c:pt>
                <c:pt idx="536">
                  <c:v>1</c:v>
                </c:pt>
                <c:pt idx="537">
                  <c:v>2</c:v>
                </c:pt>
                <c:pt idx="538">
                  <c:v>3</c:v>
                </c:pt>
                <c:pt idx="539">
                  <c:v>3</c:v>
                </c:pt>
                <c:pt idx="540">
                  <c:v>2</c:v>
                </c:pt>
                <c:pt idx="541">
                  <c:v>3</c:v>
                </c:pt>
                <c:pt idx="542">
                  <c:v>2</c:v>
                </c:pt>
                <c:pt idx="543">
                  <c:v>3</c:v>
                </c:pt>
                <c:pt idx="544">
                  <c:v>1</c:v>
                </c:pt>
                <c:pt idx="545">
                  <c:v>2</c:v>
                </c:pt>
                <c:pt idx="546">
                  <c:v>2</c:v>
                </c:pt>
                <c:pt idx="547">
                  <c:v>2</c:v>
                </c:pt>
                <c:pt idx="548">
                  <c:v>3</c:v>
                </c:pt>
                <c:pt idx="549">
                  <c:v>2</c:v>
                </c:pt>
                <c:pt idx="550">
                  <c:v>3</c:v>
                </c:pt>
                <c:pt idx="551">
                  <c:v>3</c:v>
                </c:pt>
                <c:pt idx="552">
                  <c:v>2</c:v>
                </c:pt>
                <c:pt idx="553">
                  <c:v>2</c:v>
                </c:pt>
                <c:pt idx="554">
                  <c:v>3</c:v>
                </c:pt>
                <c:pt idx="555">
                  <c:v>1</c:v>
                </c:pt>
                <c:pt idx="556">
                  <c:v>3</c:v>
                </c:pt>
                <c:pt idx="557">
                  <c:v>1</c:v>
                </c:pt>
                <c:pt idx="558">
                  <c:v>1</c:v>
                </c:pt>
                <c:pt idx="559">
                  <c:v>3</c:v>
                </c:pt>
                <c:pt idx="560">
                  <c:v>3</c:v>
                </c:pt>
                <c:pt idx="561">
                  <c:v>2</c:v>
                </c:pt>
                <c:pt idx="562">
                  <c:v>2</c:v>
                </c:pt>
                <c:pt idx="563">
                  <c:v>2</c:v>
                </c:pt>
                <c:pt idx="564">
                  <c:v>3</c:v>
                </c:pt>
                <c:pt idx="565">
                  <c:v>1</c:v>
                </c:pt>
                <c:pt idx="566">
                  <c:v>2</c:v>
                </c:pt>
                <c:pt idx="567">
                  <c:v>3</c:v>
                </c:pt>
                <c:pt idx="568">
                  <c:v>3</c:v>
                </c:pt>
                <c:pt idx="569">
                  <c:v>3</c:v>
                </c:pt>
                <c:pt idx="570">
                  <c:v>2</c:v>
                </c:pt>
                <c:pt idx="571">
                  <c:v>3</c:v>
                </c:pt>
                <c:pt idx="572">
                  <c:v>3</c:v>
                </c:pt>
                <c:pt idx="573">
                  <c:v>1</c:v>
                </c:pt>
                <c:pt idx="574">
                  <c:v>3</c:v>
                </c:pt>
                <c:pt idx="575">
                  <c:v>2</c:v>
                </c:pt>
                <c:pt idx="576">
                  <c:v>2</c:v>
                </c:pt>
                <c:pt idx="577">
                  <c:v>2</c:v>
                </c:pt>
                <c:pt idx="578">
                  <c:v>2</c:v>
                </c:pt>
                <c:pt idx="579">
                  <c:v>2</c:v>
                </c:pt>
                <c:pt idx="580">
                  <c:v>3</c:v>
                </c:pt>
                <c:pt idx="581">
                  <c:v>2</c:v>
                </c:pt>
                <c:pt idx="582">
                  <c:v>2</c:v>
                </c:pt>
                <c:pt idx="583">
                  <c:v>3</c:v>
                </c:pt>
                <c:pt idx="584">
                  <c:v>2</c:v>
                </c:pt>
                <c:pt idx="585">
                  <c:v>1</c:v>
                </c:pt>
                <c:pt idx="586">
                  <c:v>2</c:v>
                </c:pt>
                <c:pt idx="587">
                  <c:v>2</c:v>
                </c:pt>
                <c:pt idx="588">
                  <c:v>2</c:v>
                </c:pt>
                <c:pt idx="589">
                  <c:v>2</c:v>
                </c:pt>
                <c:pt idx="590">
                  <c:v>2</c:v>
                </c:pt>
                <c:pt idx="591">
                  <c:v>3</c:v>
                </c:pt>
                <c:pt idx="592">
                  <c:v>3</c:v>
                </c:pt>
                <c:pt idx="593">
                  <c:v>3</c:v>
                </c:pt>
                <c:pt idx="594">
                  <c:v>3</c:v>
                </c:pt>
                <c:pt idx="595">
                  <c:v>1</c:v>
                </c:pt>
                <c:pt idx="596">
                  <c:v>3</c:v>
                </c:pt>
                <c:pt idx="597">
                  <c:v>1</c:v>
                </c:pt>
                <c:pt idx="598">
                  <c:v>1</c:v>
                </c:pt>
                <c:pt idx="599">
                  <c:v>1</c:v>
                </c:pt>
                <c:pt idx="600">
                  <c:v>2</c:v>
                </c:pt>
                <c:pt idx="601">
                  <c:v>3</c:v>
                </c:pt>
                <c:pt idx="602">
                  <c:v>2</c:v>
                </c:pt>
                <c:pt idx="603">
                  <c:v>2</c:v>
                </c:pt>
                <c:pt idx="604">
                  <c:v>2</c:v>
                </c:pt>
                <c:pt idx="605">
                  <c:v>2</c:v>
                </c:pt>
                <c:pt idx="607">
                  <c:v>2</c:v>
                </c:pt>
                <c:pt idx="608">
                  <c:v>2</c:v>
                </c:pt>
                <c:pt idx="609">
                  <c:v>2</c:v>
                </c:pt>
                <c:pt idx="610">
                  <c:v>2</c:v>
                </c:pt>
                <c:pt idx="611">
                  <c:v>2</c:v>
                </c:pt>
                <c:pt idx="612">
                  <c:v>2</c:v>
                </c:pt>
                <c:pt idx="613">
                  <c:v>3</c:v>
                </c:pt>
                <c:pt idx="614">
                  <c:v>2</c:v>
                </c:pt>
                <c:pt idx="615">
                  <c:v>2</c:v>
                </c:pt>
                <c:pt idx="616">
                  <c:v>3</c:v>
                </c:pt>
                <c:pt idx="617">
                  <c:v>3</c:v>
                </c:pt>
                <c:pt idx="618">
                  <c:v>3</c:v>
                </c:pt>
                <c:pt idx="619">
                  <c:v>3</c:v>
                </c:pt>
                <c:pt idx="620">
                  <c:v>2</c:v>
                </c:pt>
                <c:pt idx="621">
                  <c:v>1</c:v>
                </c:pt>
                <c:pt idx="622">
                  <c:v>2</c:v>
                </c:pt>
                <c:pt idx="623">
                  <c:v>3</c:v>
                </c:pt>
                <c:pt idx="624">
                  <c:v>1</c:v>
                </c:pt>
                <c:pt idx="625">
                  <c:v>1</c:v>
                </c:pt>
                <c:pt idx="626">
                  <c:v>1</c:v>
                </c:pt>
                <c:pt idx="627">
                  <c:v>1</c:v>
                </c:pt>
                <c:pt idx="628">
                  <c:v>2</c:v>
                </c:pt>
                <c:pt idx="629">
                  <c:v>2</c:v>
                </c:pt>
                <c:pt idx="630">
                  <c:v>1</c:v>
                </c:pt>
                <c:pt idx="631">
                  <c:v>1</c:v>
                </c:pt>
                <c:pt idx="632">
                  <c:v>1</c:v>
                </c:pt>
                <c:pt idx="633">
                  <c:v>2</c:v>
                </c:pt>
                <c:pt idx="634">
                  <c:v>2</c:v>
                </c:pt>
                <c:pt idx="635">
                  <c:v>3</c:v>
                </c:pt>
                <c:pt idx="636">
                  <c:v>2</c:v>
                </c:pt>
                <c:pt idx="637">
                  <c:v>3</c:v>
                </c:pt>
                <c:pt idx="638">
                  <c:v>2</c:v>
                </c:pt>
                <c:pt idx="639">
                  <c:v>2</c:v>
                </c:pt>
                <c:pt idx="640">
                  <c:v>3</c:v>
                </c:pt>
                <c:pt idx="641">
                  <c:v>1</c:v>
                </c:pt>
                <c:pt idx="643">
                  <c:v>3</c:v>
                </c:pt>
                <c:pt idx="644">
                  <c:v>2</c:v>
                </c:pt>
                <c:pt idx="645">
                  <c:v>3</c:v>
                </c:pt>
                <c:pt idx="646">
                  <c:v>3</c:v>
                </c:pt>
                <c:pt idx="648">
                  <c:v>3</c:v>
                </c:pt>
                <c:pt idx="649">
                  <c:v>3</c:v>
                </c:pt>
                <c:pt idx="650">
                  <c:v>3</c:v>
                </c:pt>
                <c:pt idx="652">
                  <c:v>3</c:v>
                </c:pt>
                <c:pt idx="655">
                  <c:v>3</c:v>
                </c:pt>
                <c:pt idx="656">
                  <c:v>3</c:v>
                </c:pt>
                <c:pt idx="657">
                  <c:v>2</c:v>
                </c:pt>
                <c:pt idx="658">
                  <c:v>3</c:v>
                </c:pt>
                <c:pt idx="659">
                  <c:v>3</c:v>
                </c:pt>
                <c:pt idx="660">
                  <c:v>3</c:v>
                </c:pt>
                <c:pt idx="661">
                  <c:v>1</c:v>
                </c:pt>
                <c:pt idx="662">
                  <c:v>3</c:v>
                </c:pt>
                <c:pt idx="663">
                  <c:v>3</c:v>
                </c:pt>
                <c:pt idx="664">
                  <c:v>2</c:v>
                </c:pt>
                <c:pt idx="665">
                  <c:v>2</c:v>
                </c:pt>
                <c:pt idx="666">
                  <c:v>2</c:v>
                </c:pt>
                <c:pt idx="667">
                  <c:v>3</c:v>
                </c:pt>
                <c:pt idx="668">
                  <c:v>3</c:v>
                </c:pt>
                <c:pt idx="669">
                  <c:v>3</c:v>
                </c:pt>
                <c:pt idx="670">
                  <c:v>3</c:v>
                </c:pt>
                <c:pt idx="671">
                  <c:v>1</c:v>
                </c:pt>
                <c:pt idx="672">
                  <c:v>1</c:v>
                </c:pt>
                <c:pt idx="674">
                  <c:v>3</c:v>
                </c:pt>
                <c:pt idx="675">
                  <c:v>3</c:v>
                </c:pt>
                <c:pt idx="676">
                  <c:v>3</c:v>
                </c:pt>
                <c:pt idx="677">
                  <c:v>1</c:v>
                </c:pt>
                <c:pt idx="678">
                  <c:v>2</c:v>
                </c:pt>
                <c:pt idx="680">
                  <c:v>2</c:v>
                </c:pt>
                <c:pt idx="681">
                  <c:v>2</c:v>
                </c:pt>
                <c:pt idx="682">
                  <c:v>2</c:v>
                </c:pt>
                <c:pt idx="683">
                  <c:v>2</c:v>
                </c:pt>
                <c:pt idx="684">
                  <c:v>3</c:v>
                </c:pt>
                <c:pt idx="685">
                  <c:v>2</c:v>
                </c:pt>
                <c:pt idx="686">
                  <c:v>3</c:v>
                </c:pt>
                <c:pt idx="687">
                  <c:v>3</c:v>
                </c:pt>
                <c:pt idx="688">
                  <c:v>2</c:v>
                </c:pt>
                <c:pt idx="689">
                  <c:v>2</c:v>
                </c:pt>
                <c:pt idx="690">
                  <c:v>3</c:v>
                </c:pt>
                <c:pt idx="691">
                  <c:v>2</c:v>
                </c:pt>
                <c:pt idx="692">
                  <c:v>2</c:v>
                </c:pt>
                <c:pt idx="693">
                  <c:v>2</c:v>
                </c:pt>
                <c:pt idx="694">
                  <c:v>1</c:v>
                </c:pt>
                <c:pt idx="695">
                  <c:v>2</c:v>
                </c:pt>
                <c:pt idx="696">
                  <c:v>1</c:v>
                </c:pt>
                <c:pt idx="697">
                  <c:v>1</c:v>
                </c:pt>
                <c:pt idx="698">
                  <c:v>3</c:v>
                </c:pt>
                <c:pt idx="699">
                  <c:v>3</c:v>
                </c:pt>
                <c:pt idx="700">
                  <c:v>2</c:v>
                </c:pt>
                <c:pt idx="701">
                  <c:v>3</c:v>
                </c:pt>
                <c:pt idx="702">
                  <c:v>1</c:v>
                </c:pt>
                <c:pt idx="703">
                  <c:v>3</c:v>
                </c:pt>
                <c:pt idx="705">
                  <c:v>2</c:v>
                </c:pt>
                <c:pt idx="706">
                  <c:v>1</c:v>
                </c:pt>
                <c:pt idx="707">
                  <c:v>2</c:v>
                </c:pt>
                <c:pt idx="708">
                  <c:v>3</c:v>
                </c:pt>
                <c:pt idx="709">
                  <c:v>1</c:v>
                </c:pt>
                <c:pt idx="710">
                  <c:v>3</c:v>
                </c:pt>
                <c:pt idx="711">
                  <c:v>3</c:v>
                </c:pt>
                <c:pt idx="712">
                  <c:v>3</c:v>
                </c:pt>
                <c:pt idx="714">
                  <c:v>1</c:v>
                </c:pt>
                <c:pt idx="715">
                  <c:v>3</c:v>
                </c:pt>
                <c:pt idx="716">
                  <c:v>2</c:v>
                </c:pt>
                <c:pt idx="717">
                  <c:v>2</c:v>
                </c:pt>
                <c:pt idx="718">
                  <c:v>2</c:v>
                </c:pt>
                <c:pt idx="719">
                  <c:v>2</c:v>
                </c:pt>
                <c:pt idx="720">
                  <c:v>3</c:v>
                </c:pt>
                <c:pt idx="721">
                  <c:v>3</c:v>
                </c:pt>
                <c:pt idx="722">
                  <c:v>3</c:v>
                </c:pt>
                <c:pt idx="723">
                  <c:v>3</c:v>
                </c:pt>
                <c:pt idx="724">
                  <c:v>3</c:v>
                </c:pt>
                <c:pt idx="725">
                  <c:v>3</c:v>
                </c:pt>
                <c:pt idx="726">
                  <c:v>3</c:v>
                </c:pt>
                <c:pt idx="727">
                  <c:v>3</c:v>
                </c:pt>
                <c:pt idx="728">
                  <c:v>3</c:v>
                </c:pt>
                <c:pt idx="729">
                  <c:v>2</c:v>
                </c:pt>
                <c:pt idx="730">
                  <c:v>1</c:v>
                </c:pt>
                <c:pt idx="731">
                  <c:v>1</c:v>
                </c:pt>
                <c:pt idx="732">
                  <c:v>2</c:v>
                </c:pt>
                <c:pt idx="734">
                  <c:v>3</c:v>
                </c:pt>
                <c:pt idx="735">
                  <c:v>3</c:v>
                </c:pt>
                <c:pt idx="736">
                  <c:v>3</c:v>
                </c:pt>
                <c:pt idx="738">
                  <c:v>3</c:v>
                </c:pt>
                <c:pt idx="739">
                  <c:v>3</c:v>
                </c:pt>
                <c:pt idx="740">
                  <c:v>2</c:v>
                </c:pt>
                <c:pt idx="741">
                  <c:v>1</c:v>
                </c:pt>
                <c:pt idx="742">
                  <c:v>2</c:v>
                </c:pt>
                <c:pt idx="743">
                  <c:v>3</c:v>
                </c:pt>
                <c:pt idx="744">
                  <c:v>3</c:v>
                </c:pt>
                <c:pt idx="745">
                  <c:v>3</c:v>
                </c:pt>
                <c:pt idx="746">
                  <c:v>3</c:v>
                </c:pt>
                <c:pt idx="747">
                  <c:v>3</c:v>
                </c:pt>
                <c:pt idx="748">
                  <c:v>2</c:v>
                </c:pt>
                <c:pt idx="749">
                  <c:v>3</c:v>
                </c:pt>
                <c:pt idx="750">
                  <c:v>3</c:v>
                </c:pt>
                <c:pt idx="751">
                  <c:v>3</c:v>
                </c:pt>
                <c:pt idx="752">
                  <c:v>2</c:v>
                </c:pt>
                <c:pt idx="753">
                  <c:v>2</c:v>
                </c:pt>
                <c:pt idx="755">
                  <c:v>3</c:v>
                </c:pt>
                <c:pt idx="757">
                  <c:v>2</c:v>
                </c:pt>
                <c:pt idx="758">
                  <c:v>3</c:v>
                </c:pt>
                <c:pt idx="759">
                  <c:v>1</c:v>
                </c:pt>
                <c:pt idx="760">
                  <c:v>3</c:v>
                </c:pt>
                <c:pt idx="761">
                  <c:v>3</c:v>
                </c:pt>
                <c:pt idx="762">
                  <c:v>2</c:v>
                </c:pt>
                <c:pt idx="763">
                  <c:v>3</c:v>
                </c:pt>
                <c:pt idx="764">
                  <c:v>3</c:v>
                </c:pt>
                <c:pt idx="765">
                  <c:v>3</c:v>
                </c:pt>
                <c:pt idx="766">
                  <c:v>3</c:v>
                </c:pt>
                <c:pt idx="767">
                  <c:v>3</c:v>
                </c:pt>
                <c:pt idx="768">
                  <c:v>1</c:v>
                </c:pt>
                <c:pt idx="769">
                  <c:v>3</c:v>
                </c:pt>
                <c:pt idx="770">
                  <c:v>3</c:v>
                </c:pt>
                <c:pt idx="771">
                  <c:v>3</c:v>
                </c:pt>
                <c:pt idx="772">
                  <c:v>3</c:v>
                </c:pt>
                <c:pt idx="773">
                  <c:v>2</c:v>
                </c:pt>
                <c:pt idx="774">
                  <c:v>2</c:v>
                </c:pt>
                <c:pt idx="775">
                  <c:v>2</c:v>
                </c:pt>
                <c:pt idx="776">
                  <c:v>2</c:v>
                </c:pt>
                <c:pt idx="778">
                  <c:v>2</c:v>
                </c:pt>
                <c:pt idx="779">
                  <c:v>3</c:v>
                </c:pt>
                <c:pt idx="780">
                  <c:v>1</c:v>
                </c:pt>
                <c:pt idx="781">
                  <c:v>1</c:v>
                </c:pt>
                <c:pt idx="782">
                  <c:v>1</c:v>
                </c:pt>
                <c:pt idx="783">
                  <c:v>3</c:v>
                </c:pt>
                <c:pt idx="784">
                  <c:v>3</c:v>
                </c:pt>
                <c:pt idx="785">
                  <c:v>3</c:v>
                </c:pt>
                <c:pt idx="786">
                  <c:v>2</c:v>
                </c:pt>
                <c:pt idx="787">
                  <c:v>3</c:v>
                </c:pt>
                <c:pt idx="788">
                  <c:v>3</c:v>
                </c:pt>
                <c:pt idx="789">
                  <c:v>3</c:v>
                </c:pt>
                <c:pt idx="790">
                  <c:v>2</c:v>
                </c:pt>
                <c:pt idx="791">
                  <c:v>2</c:v>
                </c:pt>
                <c:pt idx="792">
                  <c:v>2</c:v>
                </c:pt>
                <c:pt idx="793">
                  <c:v>1</c:v>
                </c:pt>
                <c:pt idx="794">
                  <c:v>1</c:v>
                </c:pt>
                <c:pt idx="795">
                  <c:v>1</c:v>
                </c:pt>
                <c:pt idx="796">
                  <c:v>2</c:v>
                </c:pt>
                <c:pt idx="797">
                  <c:v>2</c:v>
                </c:pt>
                <c:pt idx="798">
                  <c:v>1</c:v>
                </c:pt>
                <c:pt idx="799">
                  <c:v>1</c:v>
                </c:pt>
                <c:pt idx="800">
                  <c:v>3</c:v>
                </c:pt>
                <c:pt idx="801">
                  <c:v>2</c:v>
                </c:pt>
                <c:pt idx="802">
                  <c:v>3</c:v>
                </c:pt>
                <c:pt idx="803">
                  <c:v>3</c:v>
                </c:pt>
                <c:pt idx="804">
                  <c:v>3</c:v>
                </c:pt>
                <c:pt idx="805">
                  <c:v>3</c:v>
                </c:pt>
                <c:pt idx="806">
                  <c:v>3</c:v>
                </c:pt>
                <c:pt idx="807">
                  <c:v>3</c:v>
                </c:pt>
                <c:pt idx="808">
                  <c:v>2</c:v>
                </c:pt>
                <c:pt idx="809">
                  <c:v>3</c:v>
                </c:pt>
                <c:pt idx="810">
                  <c:v>3</c:v>
                </c:pt>
                <c:pt idx="811">
                  <c:v>3</c:v>
                </c:pt>
                <c:pt idx="812">
                  <c:v>1</c:v>
                </c:pt>
                <c:pt idx="813">
                  <c:v>2</c:v>
                </c:pt>
                <c:pt idx="814">
                  <c:v>3</c:v>
                </c:pt>
                <c:pt idx="815">
                  <c:v>2</c:v>
                </c:pt>
                <c:pt idx="816">
                  <c:v>2</c:v>
                </c:pt>
                <c:pt idx="817">
                  <c:v>1</c:v>
                </c:pt>
                <c:pt idx="818">
                  <c:v>2</c:v>
                </c:pt>
                <c:pt idx="819">
                  <c:v>2</c:v>
                </c:pt>
                <c:pt idx="820">
                  <c:v>2</c:v>
                </c:pt>
                <c:pt idx="821">
                  <c:v>1</c:v>
                </c:pt>
                <c:pt idx="822">
                  <c:v>2</c:v>
                </c:pt>
                <c:pt idx="823">
                  <c:v>2</c:v>
                </c:pt>
                <c:pt idx="824">
                  <c:v>2</c:v>
                </c:pt>
                <c:pt idx="825">
                  <c:v>2</c:v>
                </c:pt>
                <c:pt idx="826">
                  <c:v>2</c:v>
                </c:pt>
                <c:pt idx="827">
                  <c:v>3</c:v>
                </c:pt>
                <c:pt idx="828">
                  <c:v>2</c:v>
                </c:pt>
                <c:pt idx="829">
                  <c:v>2</c:v>
                </c:pt>
                <c:pt idx="830">
                  <c:v>2</c:v>
                </c:pt>
                <c:pt idx="831">
                  <c:v>2</c:v>
                </c:pt>
                <c:pt idx="832">
                  <c:v>2</c:v>
                </c:pt>
                <c:pt idx="833">
                  <c:v>2</c:v>
                </c:pt>
                <c:pt idx="834">
                  <c:v>2</c:v>
                </c:pt>
                <c:pt idx="835">
                  <c:v>2</c:v>
                </c:pt>
                <c:pt idx="836">
                  <c:v>1</c:v>
                </c:pt>
                <c:pt idx="837">
                  <c:v>3</c:v>
                </c:pt>
                <c:pt idx="838">
                  <c:v>2</c:v>
                </c:pt>
                <c:pt idx="839">
                  <c:v>2</c:v>
                </c:pt>
                <c:pt idx="840">
                  <c:v>2</c:v>
                </c:pt>
                <c:pt idx="841">
                  <c:v>3</c:v>
                </c:pt>
                <c:pt idx="842">
                  <c:v>3</c:v>
                </c:pt>
                <c:pt idx="843">
                  <c:v>3</c:v>
                </c:pt>
                <c:pt idx="844">
                  <c:v>2</c:v>
                </c:pt>
                <c:pt idx="845">
                  <c:v>3</c:v>
                </c:pt>
                <c:pt idx="846">
                  <c:v>1</c:v>
                </c:pt>
                <c:pt idx="847">
                  <c:v>1</c:v>
                </c:pt>
                <c:pt idx="848">
                  <c:v>3</c:v>
                </c:pt>
                <c:pt idx="850">
                  <c:v>3</c:v>
                </c:pt>
                <c:pt idx="851">
                  <c:v>1</c:v>
                </c:pt>
                <c:pt idx="852">
                  <c:v>3</c:v>
                </c:pt>
                <c:pt idx="853">
                  <c:v>3</c:v>
                </c:pt>
                <c:pt idx="854">
                  <c:v>2</c:v>
                </c:pt>
                <c:pt idx="855">
                  <c:v>1</c:v>
                </c:pt>
                <c:pt idx="856">
                  <c:v>1</c:v>
                </c:pt>
                <c:pt idx="857">
                  <c:v>1</c:v>
                </c:pt>
                <c:pt idx="858">
                  <c:v>2</c:v>
                </c:pt>
                <c:pt idx="859">
                  <c:v>1</c:v>
                </c:pt>
                <c:pt idx="860">
                  <c:v>1</c:v>
                </c:pt>
                <c:pt idx="861">
                  <c:v>2</c:v>
                </c:pt>
                <c:pt idx="862">
                  <c:v>3</c:v>
                </c:pt>
                <c:pt idx="864">
                  <c:v>2</c:v>
                </c:pt>
                <c:pt idx="865">
                  <c:v>3</c:v>
                </c:pt>
                <c:pt idx="866">
                  <c:v>3</c:v>
                </c:pt>
                <c:pt idx="867">
                  <c:v>2</c:v>
                </c:pt>
                <c:pt idx="868">
                  <c:v>1</c:v>
                </c:pt>
                <c:pt idx="870">
                  <c:v>3</c:v>
                </c:pt>
                <c:pt idx="871">
                  <c:v>1</c:v>
                </c:pt>
                <c:pt idx="872">
                  <c:v>1</c:v>
                </c:pt>
                <c:pt idx="873">
                  <c:v>3</c:v>
                </c:pt>
                <c:pt idx="874">
                  <c:v>3</c:v>
                </c:pt>
                <c:pt idx="875">
                  <c:v>1</c:v>
                </c:pt>
                <c:pt idx="876">
                  <c:v>2</c:v>
                </c:pt>
                <c:pt idx="877">
                  <c:v>2</c:v>
                </c:pt>
                <c:pt idx="878">
                  <c:v>3</c:v>
                </c:pt>
                <c:pt idx="879">
                  <c:v>3</c:v>
                </c:pt>
                <c:pt idx="880">
                  <c:v>2</c:v>
                </c:pt>
                <c:pt idx="881">
                  <c:v>3</c:v>
                </c:pt>
                <c:pt idx="882">
                  <c:v>2</c:v>
                </c:pt>
                <c:pt idx="883">
                  <c:v>3</c:v>
                </c:pt>
                <c:pt idx="884">
                  <c:v>1</c:v>
                </c:pt>
                <c:pt idx="885">
                  <c:v>1</c:v>
                </c:pt>
                <c:pt idx="886">
                  <c:v>3</c:v>
                </c:pt>
                <c:pt idx="887">
                  <c:v>1</c:v>
                </c:pt>
                <c:pt idx="888">
                  <c:v>1</c:v>
                </c:pt>
                <c:pt idx="889">
                  <c:v>2</c:v>
                </c:pt>
                <c:pt idx="890">
                  <c:v>2</c:v>
                </c:pt>
                <c:pt idx="891">
                  <c:v>3</c:v>
                </c:pt>
                <c:pt idx="892">
                  <c:v>3</c:v>
                </c:pt>
                <c:pt idx="893">
                  <c:v>3</c:v>
                </c:pt>
                <c:pt idx="894">
                  <c:v>3</c:v>
                </c:pt>
                <c:pt idx="895">
                  <c:v>3</c:v>
                </c:pt>
                <c:pt idx="896">
                  <c:v>2</c:v>
                </c:pt>
                <c:pt idx="898">
                  <c:v>2</c:v>
                </c:pt>
                <c:pt idx="899">
                  <c:v>2</c:v>
                </c:pt>
                <c:pt idx="900">
                  <c:v>1</c:v>
                </c:pt>
                <c:pt idx="901">
                  <c:v>3</c:v>
                </c:pt>
                <c:pt idx="902">
                  <c:v>1</c:v>
                </c:pt>
                <c:pt idx="903">
                  <c:v>1</c:v>
                </c:pt>
                <c:pt idx="904">
                  <c:v>2</c:v>
                </c:pt>
                <c:pt idx="907">
                  <c:v>1</c:v>
                </c:pt>
                <c:pt idx="908">
                  <c:v>3</c:v>
                </c:pt>
                <c:pt idx="909">
                  <c:v>2</c:v>
                </c:pt>
                <c:pt idx="910">
                  <c:v>3</c:v>
                </c:pt>
                <c:pt idx="911">
                  <c:v>2</c:v>
                </c:pt>
                <c:pt idx="912">
                  <c:v>1</c:v>
                </c:pt>
                <c:pt idx="913">
                  <c:v>3</c:v>
                </c:pt>
                <c:pt idx="914">
                  <c:v>3</c:v>
                </c:pt>
                <c:pt idx="915">
                  <c:v>2</c:v>
                </c:pt>
                <c:pt idx="916">
                  <c:v>3</c:v>
                </c:pt>
                <c:pt idx="917">
                  <c:v>1</c:v>
                </c:pt>
                <c:pt idx="918">
                  <c:v>3</c:v>
                </c:pt>
                <c:pt idx="919">
                  <c:v>3</c:v>
                </c:pt>
                <c:pt idx="920">
                  <c:v>2</c:v>
                </c:pt>
                <c:pt idx="921">
                  <c:v>2</c:v>
                </c:pt>
                <c:pt idx="922">
                  <c:v>3</c:v>
                </c:pt>
                <c:pt idx="923">
                  <c:v>2</c:v>
                </c:pt>
                <c:pt idx="924">
                  <c:v>1</c:v>
                </c:pt>
                <c:pt idx="925">
                  <c:v>3</c:v>
                </c:pt>
                <c:pt idx="927">
                  <c:v>2</c:v>
                </c:pt>
                <c:pt idx="928">
                  <c:v>3</c:v>
                </c:pt>
                <c:pt idx="929">
                  <c:v>2</c:v>
                </c:pt>
                <c:pt idx="930">
                  <c:v>2</c:v>
                </c:pt>
                <c:pt idx="931">
                  <c:v>2</c:v>
                </c:pt>
                <c:pt idx="932">
                  <c:v>3</c:v>
                </c:pt>
                <c:pt idx="933">
                  <c:v>3</c:v>
                </c:pt>
                <c:pt idx="934">
                  <c:v>2</c:v>
                </c:pt>
                <c:pt idx="935">
                  <c:v>2</c:v>
                </c:pt>
                <c:pt idx="936">
                  <c:v>3</c:v>
                </c:pt>
                <c:pt idx="937">
                  <c:v>1</c:v>
                </c:pt>
                <c:pt idx="938">
                  <c:v>3</c:v>
                </c:pt>
                <c:pt idx="939">
                  <c:v>3</c:v>
                </c:pt>
                <c:pt idx="941">
                  <c:v>3</c:v>
                </c:pt>
                <c:pt idx="942">
                  <c:v>3</c:v>
                </c:pt>
                <c:pt idx="943">
                  <c:v>2</c:v>
                </c:pt>
                <c:pt idx="944">
                  <c:v>2</c:v>
                </c:pt>
                <c:pt idx="946">
                  <c:v>1</c:v>
                </c:pt>
                <c:pt idx="947">
                  <c:v>1</c:v>
                </c:pt>
                <c:pt idx="948">
                  <c:v>2</c:v>
                </c:pt>
                <c:pt idx="949">
                  <c:v>2</c:v>
                </c:pt>
                <c:pt idx="950">
                  <c:v>2</c:v>
                </c:pt>
                <c:pt idx="951">
                  <c:v>2</c:v>
                </c:pt>
                <c:pt idx="952">
                  <c:v>3</c:v>
                </c:pt>
                <c:pt idx="953">
                  <c:v>3</c:v>
                </c:pt>
                <c:pt idx="954">
                  <c:v>2</c:v>
                </c:pt>
                <c:pt idx="955">
                  <c:v>3</c:v>
                </c:pt>
                <c:pt idx="956">
                  <c:v>2</c:v>
                </c:pt>
                <c:pt idx="957">
                  <c:v>1</c:v>
                </c:pt>
                <c:pt idx="958">
                  <c:v>3</c:v>
                </c:pt>
                <c:pt idx="959">
                  <c:v>1</c:v>
                </c:pt>
                <c:pt idx="960">
                  <c:v>3</c:v>
                </c:pt>
                <c:pt idx="961">
                  <c:v>3</c:v>
                </c:pt>
                <c:pt idx="962">
                  <c:v>2</c:v>
                </c:pt>
                <c:pt idx="963">
                  <c:v>3</c:v>
                </c:pt>
                <c:pt idx="964">
                  <c:v>2</c:v>
                </c:pt>
                <c:pt idx="965">
                  <c:v>1</c:v>
                </c:pt>
                <c:pt idx="966">
                  <c:v>1</c:v>
                </c:pt>
                <c:pt idx="968">
                  <c:v>2</c:v>
                </c:pt>
                <c:pt idx="969">
                  <c:v>3</c:v>
                </c:pt>
                <c:pt idx="970">
                  <c:v>1</c:v>
                </c:pt>
                <c:pt idx="971">
                  <c:v>3</c:v>
                </c:pt>
                <c:pt idx="972">
                  <c:v>3</c:v>
                </c:pt>
                <c:pt idx="973">
                  <c:v>2</c:v>
                </c:pt>
                <c:pt idx="974">
                  <c:v>3</c:v>
                </c:pt>
                <c:pt idx="975">
                  <c:v>3</c:v>
                </c:pt>
                <c:pt idx="976">
                  <c:v>2</c:v>
                </c:pt>
                <c:pt idx="977">
                  <c:v>2</c:v>
                </c:pt>
                <c:pt idx="978">
                  <c:v>3</c:v>
                </c:pt>
                <c:pt idx="979">
                  <c:v>1</c:v>
                </c:pt>
                <c:pt idx="980">
                  <c:v>3</c:v>
                </c:pt>
                <c:pt idx="981">
                  <c:v>2</c:v>
                </c:pt>
                <c:pt idx="982">
                  <c:v>2</c:v>
                </c:pt>
                <c:pt idx="983">
                  <c:v>3</c:v>
                </c:pt>
                <c:pt idx="984">
                  <c:v>2</c:v>
                </c:pt>
                <c:pt idx="985">
                  <c:v>2</c:v>
                </c:pt>
                <c:pt idx="986">
                  <c:v>2</c:v>
                </c:pt>
                <c:pt idx="987">
                  <c:v>2</c:v>
                </c:pt>
                <c:pt idx="988">
                  <c:v>3</c:v>
                </c:pt>
                <c:pt idx="989">
                  <c:v>3</c:v>
                </c:pt>
                <c:pt idx="990">
                  <c:v>2</c:v>
                </c:pt>
                <c:pt idx="991">
                  <c:v>2</c:v>
                </c:pt>
                <c:pt idx="992">
                  <c:v>3</c:v>
                </c:pt>
                <c:pt idx="993">
                  <c:v>2</c:v>
                </c:pt>
                <c:pt idx="994">
                  <c:v>3</c:v>
                </c:pt>
                <c:pt idx="995">
                  <c:v>3</c:v>
                </c:pt>
                <c:pt idx="996">
                  <c:v>2</c:v>
                </c:pt>
                <c:pt idx="997">
                  <c:v>3</c:v>
                </c:pt>
                <c:pt idx="998">
                  <c:v>2</c:v>
                </c:pt>
                <c:pt idx="999">
                  <c:v>3</c:v>
                </c:pt>
                <c:pt idx="1000">
                  <c:v>2</c:v>
                </c:pt>
                <c:pt idx="1001">
                  <c:v>2</c:v>
                </c:pt>
                <c:pt idx="1002">
                  <c:v>1</c:v>
                </c:pt>
                <c:pt idx="1003">
                  <c:v>1</c:v>
                </c:pt>
                <c:pt idx="1004">
                  <c:v>2</c:v>
                </c:pt>
                <c:pt idx="1005">
                  <c:v>2</c:v>
                </c:pt>
                <c:pt idx="1006">
                  <c:v>2</c:v>
                </c:pt>
                <c:pt idx="1007">
                  <c:v>3</c:v>
                </c:pt>
                <c:pt idx="1008">
                  <c:v>3</c:v>
                </c:pt>
                <c:pt idx="1009">
                  <c:v>2</c:v>
                </c:pt>
                <c:pt idx="1010">
                  <c:v>3</c:v>
                </c:pt>
                <c:pt idx="1011">
                  <c:v>3</c:v>
                </c:pt>
                <c:pt idx="1013">
                  <c:v>2</c:v>
                </c:pt>
                <c:pt idx="1014">
                  <c:v>2</c:v>
                </c:pt>
                <c:pt idx="1015">
                  <c:v>3</c:v>
                </c:pt>
                <c:pt idx="1016">
                  <c:v>2</c:v>
                </c:pt>
                <c:pt idx="1017">
                  <c:v>3</c:v>
                </c:pt>
                <c:pt idx="1018">
                  <c:v>2</c:v>
                </c:pt>
                <c:pt idx="1019">
                  <c:v>1</c:v>
                </c:pt>
                <c:pt idx="1020">
                  <c:v>2</c:v>
                </c:pt>
                <c:pt idx="1021">
                  <c:v>3</c:v>
                </c:pt>
                <c:pt idx="1022">
                  <c:v>2</c:v>
                </c:pt>
                <c:pt idx="1023">
                  <c:v>3</c:v>
                </c:pt>
                <c:pt idx="1024">
                  <c:v>2</c:v>
                </c:pt>
                <c:pt idx="1025">
                  <c:v>3</c:v>
                </c:pt>
                <c:pt idx="1026">
                  <c:v>3</c:v>
                </c:pt>
                <c:pt idx="1027">
                  <c:v>2</c:v>
                </c:pt>
                <c:pt idx="1028">
                  <c:v>2</c:v>
                </c:pt>
                <c:pt idx="1029">
                  <c:v>2</c:v>
                </c:pt>
                <c:pt idx="1030">
                  <c:v>2</c:v>
                </c:pt>
                <c:pt idx="1031">
                  <c:v>3</c:v>
                </c:pt>
                <c:pt idx="1032">
                  <c:v>3</c:v>
                </c:pt>
                <c:pt idx="1034">
                  <c:v>2</c:v>
                </c:pt>
                <c:pt idx="1035">
                  <c:v>3</c:v>
                </c:pt>
                <c:pt idx="1036">
                  <c:v>3</c:v>
                </c:pt>
                <c:pt idx="1037">
                  <c:v>2</c:v>
                </c:pt>
                <c:pt idx="1038">
                  <c:v>2</c:v>
                </c:pt>
                <c:pt idx="1039">
                  <c:v>3</c:v>
                </c:pt>
                <c:pt idx="1040">
                  <c:v>2</c:v>
                </c:pt>
                <c:pt idx="1041">
                  <c:v>3</c:v>
                </c:pt>
                <c:pt idx="1042">
                  <c:v>2</c:v>
                </c:pt>
                <c:pt idx="1043">
                  <c:v>1</c:v>
                </c:pt>
                <c:pt idx="1044">
                  <c:v>3</c:v>
                </c:pt>
                <c:pt idx="1045">
                  <c:v>2</c:v>
                </c:pt>
                <c:pt idx="1046">
                  <c:v>3</c:v>
                </c:pt>
                <c:pt idx="1047">
                  <c:v>3</c:v>
                </c:pt>
                <c:pt idx="1048">
                  <c:v>2</c:v>
                </c:pt>
                <c:pt idx="1049">
                  <c:v>2</c:v>
                </c:pt>
                <c:pt idx="1050">
                  <c:v>1</c:v>
                </c:pt>
                <c:pt idx="1051">
                  <c:v>1</c:v>
                </c:pt>
                <c:pt idx="1052">
                  <c:v>1</c:v>
                </c:pt>
                <c:pt idx="1053">
                  <c:v>2</c:v>
                </c:pt>
                <c:pt idx="1054">
                  <c:v>2</c:v>
                </c:pt>
                <c:pt idx="1055">
                  <c:v>2</c:v>
                </c:pt>
                <c:pt idx="1056">
                  <c:v>1</c:v>
                </c:pt>
                <c:pt idx="1057">
                  <c:v>3</c:v>
                </c:pt>
                <c:pt idx="1058">
                  <c:v>3</c:v>
                </c:pt>
                <c:pt idx="1059">
                  <c:v>3</c:v>
                </c:pt>
                <c:pt idx="1060">
                  <c:v>2</c:v>
                </c:pt>
                <c:pt idx="1061">
                  <c:v>3</c:v>
                </c:pt>
                <c:pt idx="1062">
                  <c:v>2</c:v>
                </c:pt>
                <c:pt idx="1063">
                  <c:v>2</c:v>
                </c:pt>
                <c:pt idx="1064">
                  <c:v>3</c:v>
                </c:pt>
                <c:pt idx="1065">
                  <c:v>2</c:v>
                </c:pt>
                <c:pt idx="1066">
                  <c:v>1</c:v>
                </c:pt>
                <c:pt idx="1067">
                  <c:v>2</c:v>
                </c:pt>
                <c:pt idx="1069">
                  <c:v>3</c:v>
                </c:pt>
                <c:pt idx="1070">
                  <c:v>2</c:v>
                </c:pt>
                <c:pt idx="1071">
                  <c:v>2</c:v>
                </c:pt>
                <c:pt idx="1072">
                  <c:v>3</c:v>
                </c:pt>
                <c:pt idx="1073">
                  <c:v>1</c:v>
                </c:pt>
                <c:pt idx="1074">
                  <c:v>2</c:v>
                </c:pt>
                <c:pt idx="1075">
                  <c:v>2</c:v>
                </c:pt>
                <c:pt idx="1076">
                  <c:v>2</c:v>
                </c:pt>
                <c:pt idx="1077">
                  <c:v>3</c:v>
                </c:pt>
                <c:pt idx="1078">
                  <c:v>2</c:v>
                </c:pt>
                <c:pt idx="1079">
                  <c:v>1</c:v>
                </c:pt>
                <c:pt idx="1080">
                  <c:v>1</c:v>
                </c:pt>
                <c:pt idx="1081">
                  <c:v>2</c:v>
                </c:pt>
                <c:pt idx="1082">
                  <c:v>2</c:v>
                </c:pt>
                <c:pt idx="1083">
                  <c:v>1</c:v>
                </c:pt>
                <c:pt idx="1084">
                  <c:v>2</c:v>
                </c:pt>
                <c:pt idx="1085">
                  <c:v>2</c:v>
                </c:pt>
                <c:pt idx="1086">
                  <c:v>2</c:v>
                </c:pt>
                <c:pt idx="1087">
                  <c:v>1</c:v>
                </c:pt>
                <c:pt idx="1088">
                  <c:v>2</c:v>
                </c:pt>
                <c:pt idx="1089">
                  <c:v>2</c:v>
                </c:pt>
                <c:pt idx="1090">
                  <c:v>2</c:v>
                </c:pt>
                <c:pt idx="1091">
                  <c:v>2</c:v>
                </c:pt>
                <c:pt idx="1092">
                  <c:v>3</c:v>
                </c:pt>
                <c:pt idx="1093">
                  <c:v>2</c:v>
                </c:pt>
                <c:pt idx="1094">
                  <c:v>1</c:v>
                </c:pt>
                <c:pt idx="1095">
                  <c:v>2</c:v>
                </c:pt>
                <c:pt idx="1096">
                  <c:v>3</c:v>
                </c:pt>
                <c:pt idx="1097">
                  <c:v>3</c:v>
                </c:pt>
                <c:pt idx="1098">
                  <c:v>3</c:v>
                </c:pt>
                <c:pt idx="1099">
                  <c:v>2</c:v>
                </c:pt>
                <c:pt idx="1100">
                  <c:v>3</c:v>
                </c:pt>
                <c:pt idx="1101">
                  <c:v>2</c:v>
                </c:pt>
                <c:pt idx="1102">
                  <c:v>3</c:v>
                </c:pt>
                <c:pt idx="1103">
                  <c:v>1</c:v>
                </c:pt>
                <c:pt idx="1104">
                  <c:v>1</c:v>
                </c:pt>
                <c:pt idx="1105">
                  <c:v>2</c:v>
                </c:pt>
                <c:pt idx="1106">
                  <c:v>2</c:v>
                </c:pt>
                <c:pt idx="1107">
                  <c:v>3</c:v>
                </c:pt>
                <c:pt idx="1108">
                  <c:v>1</c:v>
                </c:pt>
                <c:pt idx="1109">
                  <c:v>3</c:v>
                </c:pt>
                <c:pt idx="1110">
                  <c:v>3</c:v>
                </c:pt>
                <c:pt idx="1111">
                  <c:v>1</c:v>
                </c:pt>
                <c:pt idx="1112">
                  <c:v>3</c:v>
                </c:pt>
                <c:pt idx="1113">
                  <c:v>1</c:v>
                </c:pt>
                <c:pt idx="1114">
                  <c:v>3</c:v>
                </c:pt>
                <c:pt idx="1115">
                  <c:v>3</c:v>
                </c:pt>
                <c:pt idx="1116">
                  <c:v>3</c:v>
                </c:pt>
                <c:pt idx="1117">
                  <c:v>3</c:v>
                </c:pt>
                <c:pt idx="1118">
                  <c:v>2</c:v>
                </c:pt>
                <c:pt idx="1119">
                  <c:v>2</c:v>
                </c:pt>
                <c:pt idx="1120">
                  <c:v>3</c:v>
                </c:pt>
                <c:pt idx="1121">
                  <c:v>3</c:v>
                </c:pt>
                <c:pt idx="1122">
                  <c:v>3</c:v>
                </c:pt>
                <c:pt idx="1123">
                  <c:v>3</c:v>
                </c:pt>
                <c:pt idx="1124">
                  <c:v>3</c:v>
                </c:pt>
                <c:pt idx="1125">
                  <c:v>3</c:v>
                </c:pt>
                <c:pt idx="1126">
                  <c:v>3</c:v>
                </c:pt>
                <c:pt idx="1127">
                  <c:v>2</c:v>
                </c:pt>
                <c:pt idx="1128">
                  <c:v>1</c:v>
                </c:pt>
                <c:pt idx="1129">
                  <c:v>2</c:v>
                </c:pt>
                <c:pt idx="1130">
                  <c:v>3</c:v>
                </c:pt>
                <c:pt idx="1131">
                  <c:v>2</c:v>
                </c:pt>
                <c:pt idx="1132">
                  <c:v>2</c:v>
                </c:pt>
                <c:pt idx="1133">
                  <c:v>1</c:v>
                </c:pt>
                <c:pt idx="1134">
                  <c:v>1</c:v>
                </c:pt>
                <c:pt idx="1135">
                  <c:v>1</c:v>
                </c:pt>
                <c:pt idx="1136">
                  <c:v>1</c:v>
                </c:pt>
                <c:pt idx="1137">
                  <c:v>1</c:v>
                </c:pt>
                <c:pt idx="1138">
                  <c:v>1</c:v>
                </c:pt>
                <c:pt idx="1139">
                  <c:v>3</c:v>
                </c:pt>
                <c:pt idx="1140">
                  <c:v>3</c:v>
                </c:pt>
                <c:pt idx="1141">
                  <c:v>2</c:v>
                </c:pt>
                <c:pt idx="1142">
                  <c:v>2</c:v>
                </c:pt>
                <c:pt idx="1143">
                  <c:v>3</c:v>
                </c:pt>
                <c:pt idx="1144">
                  <c:v>2</c:v>
                </c:pt>
                <c:pt idx="1145">
                  <c:v>3</c:v>
                </c:pt>
                <c:pt idx="1146">
                  <c:v>2</c:v>
                </c:pt>
                <c:pt idx="1147">
                  <c:v>1</c:v>
                </c:pt>
                <c:pt idx="1148">
                  <c:v>2</c:v>
                </c:pt>
                <c:pt idx="1149">
                  <c:v>2</c:v>
                </c:pt>
                <c:pt idx="1150">
                  <c:v>1</c:v>
                </c:pt>
                <c:pt idx="1151">
                  <c:v>2</c:v>
                </c:pt>
                <c:pt idx="1152">
                  <c:v>2</c:v>
                </c:pt>
                <c:pt idx="1153">
                  <c:v>1</c:v>
                </c:pt>
                <c:pt idx="1154">
                  <c:v>2</c:v>
                </c:pt>
                <c:pt idx="1155">
                  <c:v>2</c:v>
                </c:pt>
                <c:pt idx="1156">
                  <c:v>3</c:v>
                </c:pt>
                <c:pt idx="1158">
                  <c:v>2</c:v>
                </c:pt>
                <c:pt idx="1159">
                  <c:v>3</c:v>
                </c:pt>
                <c:pt idx="1160">
                  <c:v>3</c:v>
                </c:pt>
                <c:pt idx="1161">
                  <c:v>2</c:v>
                </c:pt>
                <c:pt idx="1162">
                  <c:v>3</c:v>
                </c:pt>
                <c:pt idx="1163">
                  <c:v>3</c:v>
                </c:pt>
                <c:pt idx="1164">
                  <c:v>3</c:v>
                </c:pt>
                <c:pt idx="1165">
                  <c:v>3</c:v>
                </c:pt>
                <c:pt idx="1166">
                  <c:v>3</c:v>
                </c:pt>
                <c:pt idx="1167">
                  <c:v>2</c:v>
                </c:pt>
                <c:pt idx="1168">
                  <c:v>2</c:v>
                </c:pt>
                <c:pt idx="1169">
                  <c:v>3</c:v>
                </c:pt>
                <c:pt idx="1170">
                  <c:v>2</c:v>
                </c:pt>
                <c:pt idx="1171">
                  <c:v>2</c:v>
                </c:pt>
                <c:pt idx="1172">
                  <c:v>2</c:v>
                </c:pt>
                <c:pt idx="1174">
                  <c:v>2</c:v>
                </c:pt>
                <c:pt idx="1175">
                  <c:v>1</c:v>
                </c:pt>
                <c:pt idx="1176">
                  <c:v>3</c:v>
                </c:pt>
                <c:pt idx="1177">
                  <c:v>3</c:v>
                </c:pt>
                <c:pt idx="1178">
                  <c:v>2</c:v>
                </c:pt>
                <c:pt idx="1179">
                  <c:v>2</c:v>
                </c:pt>
                <c:pt idx="1180">
                  <c:v>1</c:v>
                </c:pt>
                <c:pt idx="1181">
                  <c:v>2</c:v>
                </c:pt>
                <c:pt idx="1182">
                  <c:v>2</c:v>
                </c:pt>
                <c:pt idx="1183">
                  <c:v>2</c:v>
                </c:pt>
                <c:pt idx="1184">
                  <c:v>2</c:v>
                </c:pt>
                <c:pt idx="1185">
                  <c:v>2</c:v>
                </c:pt>
                <c:pt idx="1186">
                  <c:v>2</c:v>
                </c:pt>
                <c:pt idx="1187">
                  <c:v>2</c:v>
                </c:pt>
                <c:pt idx="1188">
                  <c:v>2</c:v>
                </c:pt>
                <c:pt idx="1189">
                  <c:v>2</c:v>
                </c:pt>
                <c:pt idx="1190">
                  <c:v>3</c:v>
                </c:pt>
                <c:pt idx="1191">
                  <c:v>2</c:v>
                </c:pt>
                <c:pt idx="1192">
                  <c:v>3</c:v>
                </c:pt>
                <c:pt idx="1193">
                  <c:v>2</c:v>
                </c:pt>
                <c:pt idx="1194">
                  <c:v>2</c:v>
                </c:pt>
                <c:pt idx="1195">
                  <c:v>2</c:v>
                </c:pt>
                <c:pt idx="1196">
                  <c:v>2</c:v>
                </c:pt>
                <c:pt idx="1197">
                  <c:v>2</c:v>
                </c:pt>
                <c:pt idx="1198">
                  <c:v>3</c:v>
                </c:pt>
                <c:pt idx="1199">
                  <c:v>3</c:v>
                </c:pt>
                <c:pt idx="1200">
                  <c:v>2</c:v>
                </c:pt>
                <c:pt idx="1201">
                  <c:v>3</c:v>
                </c:pt>
                <c:pt idx="1202">
                  <c:v>2</c:v>
                </c:pt>
                <c:pt idx="1203">
                  <c:v>3</c:v>
                </c:pt>
                <c:pt idx="1204">
                  <c:v>3</c:v>
                </c:pt>
                <c:pt idx="1205">
                  <c:v>3</c:v>
                </c:pt>
                <c:pt idx="1206">
                  <c:v>1</c:v>
                </c:pt>
                <c:pt idx="1207">
                  <c:v>3</c:v>
                </c:pt>
                <c:pt idx="1208">
                  <c:v>3</c:v>
                </c:pt>
                <c:pt idx="1209">
                  <c:v>3</c:v>
                </c:pt>
                <c:pt idx="1210">
                  <c:v>3</c:v>
                </c:pt>
                <c:pt idx="1211">
                  <c:v>3</c:v>
                </c:pt>
                <c:pt idx="1212">
                  <c:v>3</c:v>
                </c:pt>
                <c:pt idx="1213">
                  <c:v>3</c:v>
                </c:pt>
                <c:pt idx="1214">
                  <c:v>2</c:v>
                </c:pt>
                <c:pt idx="1215">
                  <c:v>3</c:v>
                </c:pt>
                <c:pt idx="1216">
                  <c:v>3</c:v>
                </c:pt>
                <c:pt idx="1217">
                  <c:v>2</c:v>
                </c:pt>
                <c:pt idx="1218">
                  <c:v>2</c:v>
                </c:pt>
                <c:pt idx="1219">
                  <c:v>2</c:v>
                </c:pt>
                <c:pt idx="1220">
                  <c:v>3</c:v>
                </c:pt>
                <c:pt idx="1221">
                  <c:v>1</c:v>
                </c:pt>
                <c:pt idx="1223">
                  <c:v>1</c:v>
                </c:pt>
                <c:pt idx="1224">
                  <c:v>3</c:v>
                </c:pt>
                <c:pt idx="1225">
                  <c:v>3</c:v>
                </c:pt>
                <c:pt idx="1226">
                  <c:v>3</c:v>
                </c:pt>
                <c:pt idx="1227">
                  <c:v>3</c:v>
                </c:pt>
                <c:pt idx="1228">
                  <c:v>3</c:v>
                </c:pt>
                <c:pt idx="1229">
                  <c:v>2</c:v>
                </c:pt>
                <c:pt idx="1230">
                  <c:v>1</c:v>
                </c:pt>
                <c:pt idx="1231">
                  <c:v>3</c:v>
                </c:pt>
                <c:pt idx="1232">
                  <c:v>1</c:v>
                </c:pt>
                <c:pt idx="1233">
                  <c:v>2</c:v>
                </c:pt>
                <c:pt idx="1234">
                  <c:v>1</c:v>
                </c:pt>
                <c:pt idx="1235">
                  <c:v>2</c:v>
                </c:pt>
                <c:pt idx="1236">
                  <c:v>1</c:v>
                </c:pt>
                <c:pt idx="1238">
                  <c:v>3</c:v>
                </c:pt>
                <c:pt idx="1239">
                  <c:v>2</c:v>
                </c:pt>
                <c:pt idx="1240">
                  <c:v>2</c:v>
                </c:pt>
                <c:pt idx="1241">
                  <c:v>2</c:v>
                </c:pt>
                <c:pt idx="1242">
                  <c:v>2</c:v>
                </c:pt>
                <c:pt idx="1243">
                  <c:v>3</c:v>
                </c:pt>
                <c:pt idx="1244">
                  <c:v>3</c:v>
                </c:pt>
                <c:pt idx="1245">
                  <c:v>2</c:v>
                </c:pt>
                <c:pt idx="1246">
                  <c:v>2</c:v>
                </c:pt>
                <c:pt idx="1248">
                  <c:v>2</c:v>
                </c:pt>
                <c:pt idx="1249">
                  <c:v>3</c:v>
                </c:pt>
                <c:pt idx="1250">
                  <c:v>2</c:v>
                </c:pt>
                <c:pt idx="1251">
                  <c:v>2</c:v>
                </c:pt>
                <c:pt idx="1252">
                  <c:v>3</c:v>
                </c:pt>
                <c:pt idx="1254">
                  <c:v>3</c:v>
                </c:pt>
                <c:pt idx="1255">
                  <c:v>2</c:v>
                </c:pt>
                <c:pt idx="1256">
                  <c:v>3</c:v>
                </c:pt>
                <c:pt idx="1257">
                  <c:v>3</c:v>
                </c:pt>
                <c:pt idx="1258">
                  <c:v>2</c:v>
                </c:pt>
                <c:pt idx="1259">
                  <c:v>2</c:v>
                </c:pt>
                <c:pt idx="1260">
                  <c:v>3</c:v>
                </c:pt>
                <c:pt idx="1261">
                  <c:v>1</c:v>
                </c:pt>
                <c:pt idx="1262">
                  <c:v>1</c:v>
                </c:pt>
                <c:pt idx="1263">
                  <c:v>1</c:v>
                </c:pt>
                <c:pt idx="1265">
                  <c:v>1</c:v>
                </c:pt>
                <c:pt idx="1266">
                  <c:v>1</c:v>
                </c:pt>
                <c:pt idx="1267">
                  <c:v>3</c:v>
                </c:pt>
                <c:pt idx="1268">
                  <c:v>2</c:v>
                </c:pt>
                <c:pt idx="1269">
                  <c:v>2</c:v>
                </c:pt>
                <c:pt idx="1270">
                  <c:v>3</c:v>
                </c:pt>
                <c:pt idx="1271">
                  <c:v>3</c:v>
                </c:pt>
                <c:pt idx="1272">
                  <c:v>1</c:v>
                </c:pt>
                <c:pt idx="1273">
                  <c:v>2</c:v>
                </c:pt>
                <c:pt idx="1274">
                  <c:v>3</c:v>
                </c:pt>
                <c:pt idx="1276">
                  <c:v>2</c:v>
                </c:pt>
                <c:pt idx="1277">
                  <c:v>3</c:v>
                </c:pt>
                <c:pt idx="1278">
                  <c:v>2</c:v>
                </c:pt>
                <c:pt idx="1279">
                  <c:v>2</c:v>
                </c:pt>
                <c:pt idx="1280">
                  <c:v>3</c:v>
                </c:pt>
                <c:pt idx="1281">
                  <c:v>2</c:v>
                </c:pt>
                <c:pt idx="1282">
                  <c:v>3</c:v>
                </c:pt>
                <c:pt idx="1283">
                  <c:v>2</c:v>
                </c:pt>
                <c:pt idx="1284">
                  <c:v>2</c:v>
                </c:pt>
                <c:pt idx="1285">
                  <c:v>1</c:v>
                </c:pt>
                <c:pt idx="1286">
                  <c:v>2</c:v>
                </c:pt>
                <c:pt idx="1287">
                  <c:v>3</c:v>
                </c:pt>
                <c:pt idx="1289">
                  <c:v>2</c:v>
                </c:pt>
                <c:pt idx="1290">
                  <c:v>3</c:v>
                </c:pt>
                <c:pt idx="1291">
                  <c:v>3</c:v>
                </c:pt>
                <c:pt idx="1292">
                  <c:v>2</c:v>
                </c:pt>
                <c:pt idx="1293">
                  <c:v>3</c:v>
                </c:pt>
                <c:pt idx="1294">
                  <c:v>2</c:v>
                </c:pt>
                <c:pt idx="1295">
                  <c:v>2</c:v>
                </c:pt>
                <c:pt idx="1296">
                  <c:v>1</c:v>
                </c:pt>
                <c:pt idx="1297">
                  <c:v>2</c:v>
                </c:pt>
                <c:pt idx="1298">
                  <c:v>2</c:v>
                </c:pt>
                <c:pt idx="1299">
                  <c:v>3</c:v>
                </c:pt>
                <c:pt idx="1300">
                  <c:v>2</c:v>
                </c:pt>
                <c:pt idx="1301">
                  <c:v>2</c:v>
                </c:pt>
                <c:pt idx="1302">
                  <c:v>2</c:v>
                </c:pt>
                <c:pt idx="1303">
                  <c:v>1</c:v>
                </c:pt>
                <c:pt idx="1304">
                  <c:v>3</c:v>
                </c:pt>
                <c:pt idx="1305">
                  <c:v>3</c:v>
                </c:pt>
                <c:pt idx="1306">
                  <c:v>1</c:v>
                </c:pt>
                <c:pt idx="1307">
                  <c:v>3</c:v>
                </c:pt>
                <c:pt idx="1308">
                  <c:v>2</c:v>
                </c:pt>
                <c:pt idx="1309">
                  <c:v>2</c:v>
                </c:pt>
                <c:pt idx="1310">
                  <c:v>3</c:v>
                </c:pt>
                <c:pt idx="1311">
                  <c:v>2</c:v>
                </c:pt>
                <c:pt idx="1312">
                  <c:v>3</c:v>
                </c:pt>
                <c:pt idx="1313">
                  <c:v>3</c:v>
                </c:pt>
                <c:pt idx="1314">
                  <c:v>1</c:v>
                </c:pt>
                <c:pt idx="1315">
                  <c:v>2</c:v>
                </c:pt>
                <c:pt idx="1316">
                  <c:v>3</c:v>
                </c:pt>
                <c:pt idx="1317">
                  <c:v>3</c:v>
                </c:pt>
                <c:pt idx="1318">
                  <c:v>3</c:v>
                </c:pt>
                <c:pt idx="1319">
                  <c:v>3</c:v>
                </c:pt>
                <c:pt idx="1320">
                  <c:v>1</c:v>
                </c:pt>
                <c:pt idx="1321">
                  <c:v>2</c:v>
                </c:pt>
                <c:pt idx="1322">
                  <c:v>3</c:v>
                </c:pt>
                <c:pt idx="1323">
                  <c:v>3</c:v>
                </c:pt>
                <c:pt idx="1324">
                  <c:v>2</c:v>
                </c:pt>
                <c:pt idx="1325">
                  <c:v>3</c:v>
                </c:pt>
                <c:pt idx="1326">
                  <c:v>1</c:v>
                </c:pt>
                <c:pt idx="1327">
                  <c:v>2</c:v>
                </c:pt>
                <c:pt idx="1328">
                  <c:v>3</c:v>
                </c:pt>
                <c:pt idx="1329">
                  <c:v>1</c:v>
                </c:pt>
                <c:pt idx="1330">
                  <c:v>2</c:v>
                </c:pt>
                <c:pt idx="1331">
                  <c:v>2</c:v>
                </c:pt>
                <c:pt idx="1332">
                  <c:v>3</c:v>
                </c:pt>
                <c:pt idx="1334">
                  <c:v>2</c:v>
                </c:pt>
                <c:pt idx="1335">
                  <c:v>2</c:v>
                </c:pt>
                <c:pt idx="1336">
                  <c:v>3</c:v>
                </c:pt>
                <c:pt idx="1337">
                  <c:v>3</c:v>
                </c:pt>
                <c:pt idx="1338">
                  <c:v>2</c:v>
                </c:pt>
                <c:pt idx="1339">
                  <c:v>3</c:v>
                </c:pt>
                <c:pt idx="1340">
                  <c:v>2</c:v>
                </c:pt>
                <c:pt idx="1341">
                  <c:v>2</c:v>
                </c:pt>
                <c:pt idx="1342">
                  <c:v>3</c:v>
                </c:pt>
                <c:pt idx="1343">
                  <c:v>2</c:v>
                </c:pt>
                <c:pt idx="1344">
                  <c:v>2</c:v>
                </c:pt>
                <c:pt idx="1345">
                  <c:v>3</c:v>
                </c:pt>
                <c:pt idx="1346">
                  <c:v>3</c:v>
                </c:pt>
                <c:pt idx="1348">
                  <c:v>2</c:v>
                </c:pt>
                <c:pt idx="1349">
                  <c:v>2</c:v>
                </c:pt>
                <c:pt idx="1351">
                  <c:v>2</c:v>
                </c:pt>
                <c:pt idx="1352">
                  <c:v>2</c:v>
                </c:pt>
                <c:pt idx="1353">
                  <c:v>3</c:v>
                </c:pt>
                <c:pt idx="1354">
                  <c:v>3</c:v>
                </c:pt>
                <c:pt idx="1355">
                  <c:v>3</c:v>
                </c:pt>
                <c:pt idx="1356">
                  <c:v>3</c:v>
                </c:pt>
                <c:pt idx="1357">
                  <c:v>3</c:v>
                </c:pt>
                <c:pt idx="1358">
                  <c:v>3</c:v>
                </c:pt>
                <c:pt idx="1359">
                  <c:v>3</c:v>
                </c:pt>
                <c:pt idx="1360">
                  <c:v>2</c:v>
                </c:pt>
                <c:pt idx="1361">
                  <c:v>2</c:v>
                </c:pt>
                <c:pt idx="1362">
                  <c:v>3</c:v>
                </c:pt>
                <c:pt idx="1363">
                  <c:v>3</c:v>
                </c:pt>
                <c:pt idx="1364">
                  <c:v>3</c:v>
                </c:pt>
                <c:pt idx="1365">
                  <c:v>2</c:v>
                </c:pt>
                <c:pt idx="1366">
                  <c:v>3</c:v>
                </c:pt>
                <c:pt idx="1367">
                  <c:v>2</c:v>
                </c:pt>
                <c:pt idx="1368">
                  <c:v>3</c:v>
                </c:pt>
                <c:pt idx="1369">
                  <c:v>3</c:v>
                </c:pt>
                <c:pt idx="1370">
                  <c:v>1</c:v>
                </c:pt>
                <c:pt idx="1371">
                  <c:v>2</c:v>
                </c:pt>
                <c:pt idx="1372">
                  <c:v>3</c:v>
                </c:pt>
                <c:pt idx="1373">
                  <c:v>3</c:v>
                </c:pt>
                <c:pt idx="1374">
                  <c:v>2</c:v>
                </c:pt>
                <c:pt idx="1375">
                  <c:v>2</c:v>
                </c:pt>
                <c:pt idx="1376">
                  <c:v>2</c:v>
                </c:pt>
                <c:pt idx="1377">
                  <c:v>2</c:v>
                </c:pt>
                <c:pt idx="1378">
                  <c:v>2</c:v>
                </c:pt>
                <c:pt idx="1379">
                  <c:v>2</c:v>
                </c:pt>
                <c:pt idx="1380">
                  <c:v>2</c:v>
                </c:pt>
                <c:pt idx="1381">
                  <c:v>3</c:v>
                </c:pt>
                <c:pt idx="1382">
                  <c:v>3</c:v>
                </c:pt>
                <c:pt idx="1383">
                  <c:v>1</c:v>
                </c:pt>
                <c:pt idx="1384">
                  <c:v>1</c:v>
                </c:pt>
                <c:pt idx="1385">
                  <c:v>1</c:v>
                </c:pt>
                <c:pt idx="1386">
                  <c:v>3</c:v>
                </c:pt>
                <c:pt idx="1387">
                  <c:v>3</c:v>
                </c:pt>
                <c:pt idx="1388">
                  <c:v>3</c:v>
                </c:pt>
                <c:pt idx="1389">
                  <c:v>3</c:v>
                </c:pt>
                <c:pt idx="1390">
                  <c:v>3</c:v>
                </c:pt>
                <c:pt idx="1391">
                  <c:v>2</c:v>
                </c:pt>
                <c:pt idx="1392">
                  <c:v>3</c:v>
                </c:pt>
                <c:pt idx="1393">
                  <c:v>2</c:v>
                </c:pt>
                <c:pt idx="1394">
                  <c:v>3</c:v>
                </c:pt>
                <c:pt idx="1395">
                  <c:v>2</c:v>
                </c:pt>
                <c:pt idx="1396">
                  <c:v>2</c:v>
                </c:pt>
                <c:pt idx="1397">
                  <c:v>2</c:v>
                </c:pt>
                <c:pt idx="1398">
                  <c:v>2</c:v>
                </c:pt>
                <c:pt idx="1399">
                  <c:v>2</c:v>
                </c:pt>
                <c:pt idx="1400">
                  <c:v>1</c:v>
                </c:pt>
                <c:pt idx="1401">
                  <c:v>2</c:v>
                </c:pt>
                <c:pt idx="1402">
                  <c:v>2</c:v>
                </c:pt>
                <c:pt idx="1403">
                  <c:v>2</c:v>
                </c:pt>
                <c:pt idx="1404">
                  <c:v>1</c:v>
                </c:pt>
                <c:pt idx="1405">
                  <c:v>2</c:v>
                </c:pt>
                <c:pt idx="1406">
                  <c:v>2</c:v>
                </c:pt>
                <c:pt idx="1407">
                  <c:v>2</c:v>
                </c:pt>
                <c:pt idx="1408">
                  <c:v>3</c:v>
                </c:pt>
                <c:pt idx="1409">
                  <c:v>2</c:v>
                </c:pt>
                <c:pt idx="1410">
                  <c:v>1</c:v>
                </c:pt>
                <c:pt idx="1411">
                  <c:v>2</c:v>
                </c:pt>
                <c:pt idx="1412">
                  <c:v>2</c:v>
                </c:pt>
                <c:pt idx="1413">
                  <c:v>2</c:v>
                </c:pt>
                <c:pt idx="1414">
                  <c:v>2</c:v>
                </c:pt>
                <c:pt idx="1415">
                  <c:v>2</c:v>
                </c:pt>
                <c:pt idx="1416">
                  <c:v>3</c:v>
                </c:pt>
                <c:pt idx="1417">
                  <c:v>2</c:v>
                </c:pt>
                <c:pt idx="1418">
                  <c:v>3</c:v>
                </c:pt>
                <c:pt idx="1419">
                  <c:v>3</c:v>
                </c:pt>
                <c:pt idx="1420">
                  <c:v>3</c:v>
                </c:pt>
                <c:pt idx="1421">
                  <c:v>3</c:v>
                </c:pt>
                <c:pt idx="1422">
                  <c:v>3</c:v>
                </c:pt>
                <c:pt idx="1423">
                  <c:v>3</c:v>
                </c:pt>
                <c:pt idx="1424">
                  <c:v>1</c:v>
                </c:pt>
                <c:pt idx="1425">
                  <c:v>2</c:v>
                </c:pt>
                <c:pt idx="1427">
                  <c:v>2</c:v>
                </c:pt>
                <c:pt idx="1428">
                  <c:v>3</c:v>
                </c:pt>
                <c:pt idx="1429">
                  <c:v>3</c:v>
                </c:pt>
                <c:pt idx="1430">
                  <c:v>2</c:v>
                </c:pt>
                <c:pt idx="1431">
                  <c:v>1</c:v>
                </c:pt>
                <c:pt idx="1432">
                  <c:v>3</c:v>
                </c:pt>
                <c:pt idx="1434">
                  <c:v>2</c:v>
                </c:pt>
                <c:pt idx="1435">
                  <c:v>3</c:v>
                </c:pt>
                <c:pt idx="1436">
                  <c:v>1</c:v>
                </c:pt>
                <c:pt idx="1437">
                  <c:v>2</c:v>
                </c:pt>
                <c:pt idx="1439">
                  <c:v>3</c:v>
                </c:pt>
                <c:pt idx="1440">
                  <c:v>2</c:v>
                </c:pt>
                <c:pt idx="1441">
                  <c:v>2</c:v>
                </c:pt>
                <c:pt idx="1442">
                  <c:v>3</c:v>
                </c:pt>
                <c:pt idx="1443">
                  <c:v>2</c:v>
                </c:pt>
                <c:pt idx="1444">
                  <c:v>2</c:v>
                </c:pt>
                <c:pt idx="1445">
                  <c:v>2</c:v>
                </c:pt>
                <c:pt idx="1446">
                  <c:v>3</c:v>
                </c:pt>
                <c:pt idx="1447">
                  <c:v>2</c:v>
                </c:pt>
                <c:pt idx="1448">
                  <c:v>2</c:v>
                </c:pt>
                <c:pt idx="1449">
                  <c:v>2</c:v>
                </c:pt>
                <c:pt idx="1450">
                  <c:v>3</c:v>
                </c:pt>
                <c:pt idx="1451">
                  <c:v>2</c:v>
                </c:pt>
                <c:pt idx="1452">
                  <c:v>3</c:v>
                </c:pt>
                <c:pt idx="1453">
                  <c:v>2</c:v>
                </c:pt>
                <c:pt idx="1454">
                  <c:v>3</c:v>
                </c:pt>
                <c:pt idx="1455">
                  <c:v>3</c:v>
                </c:pt>
                <c:pt idx="1456">
                  <c:v>1</c:v>
                </c:pt>
                <c:pt idx="1457">
                  <c:v>3</c:v>
                </c:pt>
                <c:pt idx="1458">
                  <c:v>3</c:v>
                </c:pt>
                <c:pt idx="1459">
                  <c:v>2</c:v>
                </c:pt>
                <c:pt idx="1460">
                  <c:v>3</c:v>
                </c:pt>
                <c:pt idx="1461">
                  <c:v>1</c:v>
                </c:pt>
                <c:pt idx="1462">
                  <c:v>2</c:v>
                </c:pt>
                <c:pt idx="1463">
                  <c:v>3</c:v>
                </c:pt>
                <c:pt idx="1464">
                  <c:v>1</c:v>
                </c:pt>
                <c:pt idx="1465">
                  <c:v>2</c:v>
                </c:pt>
                <c:pt idx="1466">
                  <c:v>2</c:v>
                </c:pt>
                <c:pt idx="1467">
                  <c:v>1</c:v>
                </c:pt>
                <c:pt idx="1468">
                  <c:v>1</c:v>
                </c:pt>
                <c:pt idx="1469">
                  <c:v>1</c:v>
                </c:pt>
                <c:pt idx="1470">
                  <c:v>1</c:v>
                </c:pt>
                <c:pt idx="1471">
                  <c:v>2</c:v>
                </c:pt>
                <c:pt idx="1472">
                  <c:v>2</c:v>
                </c:pt>
                <c:pt idx="1473">
                  <c:v>2</c:v>
                </c:pt>
                <c:pt idx="1474">
                  <c:v>3</c:v>
                </c:pt>
                <c:pt idx="1475">
                  <c:v>2</c:v>
                </c:pt>
                <c:pt idx="1476">
                  <c:v>3</c:v>
                </c:pt>
                <c:pt idx="1477">
                  <c:v>3</c:v>
                </c:pt>
                <c:pt idx="1478">
                  <c:v>3</c:v>
                </c:pt>
                <c:pt idx="1479">
                  <c:v>3</c:v>
                </c:pt>
                <c:pt idx="1480">
                  <c:v>2</c:v>
                </c:pt>
                <c:pt idx="1481">
                  <c:v>2</c:v>
                </c:pt>
                <c:pt idx="1482">
                  <c:v>2</c:v>
                </c:pt>
                <c:pt idx="1483">
                  <c:v>2</c:v>
                </c:pt>
                <c:pt idx="1484">
                  <c:v>1</c:v>
                </c:pt>
                <c:pt idx="1485">
                  <c:v>2</c:v>
                </c:pt>
                <c:pt idx="1486">
                  <c:v>2</c:v>
                </c:pt>
                <c:pt idx="1487">
                  <c:v>3</c:v>
                </c:pt>
                <c:pt idx="1488">
                  <c:v>2</c:v>
                </c:pt>
                <c:pt idx="1489">
                  <c:v>2</c:v>
                </c:pt>
                <c:pt idx="1490">
                  <c:v>3</c:v>
                </c:pt>
                <c:pt idx="1491">
                  <c:v>2</c:v>
                </c:pt>
                <c:pt idx="1492">
                  <c:v>2</c:v>
                </c:pt>
                <c:pt idx="1493">
                  <c:v>3</c:v>
                </c:pt>
                <c:pt idx="1494">
                  <c:v>1</c:v>
                </c:pt>
                <c:pt idx="1495">
                  <c:v>2</c:v>
                </c:pt>
                <c:pt idx="1496">
                  <c:v>2</c:v>
                </c:pt>
                <c:pt idx="1497">
                  <c:v>2</c:v>
                </c:pt>
                <c:pt idx="1498">
                  <c:v>2</c:v>
                </c:pt>
                <c:pt idx="1499">
                  <c:v>2</c:v>
                </c:pt>
                <c:pt idx="1500">
                  <c:v>3</c:v>
                </c:pt>
                <c:pt idx="1501">
                  <c:v>3</c:v>
                </c:pt>
                <c:pt idx="1502">
                  <c:v>2</c:v>
                </c:pt>
                <c:pt idx="1503">
                  <c:v>3</c:v>
                </c:pt>
                <c:pt idx="1504">
                  <c:v>3</c:v>
                </c:pt>
                <c:pt idx="1505">
                  <c:v>3</c:v>
                </c:pt>
                <c:pt idx="1506">
                  <c:v>3</c:v>
                </c:pt>
                <c:pt idx="1507">
                  <c:v>3</c:v>
                </c:pt>
                <c:pt idx="1508">
                  <c:v>2</c:v>
                </c:pt>
                <c:pt idx="1509">
                  <c:v>3</c:v>
                </c:pt>
                <c:pt idx="1511">
                  <c:v>3</c:v>
                </c:pt>
                <c:pt idx="1512">
                  <c:v>2</c:v>
                </c:pt>
                <c:pt idx="1513">
                  <c:v>3</c:v>
                </c:pt>
                <c:pt idx="1514">
                  <c:v>3</c:v>
                </c:pt>
                <c:pt idx="1516">
                  <c:v>3</c:v>
                </c:pt>
                <c:pt idx="1517">
                  <c:v>3</c:v>
                </c:pt>
                <c:pt idx="1518">
                  <c:v>3</c:v>
                </c:pt>
                <c:pt idx="1519">
                  <c:v>2</c:v>
                </c:pt>
                <c:pt idx="1520">
                  <c:v>3</c:v>
                </c:pt>
                <c:pt idx="1521">
                  <c:v>2</c:v>
                </c:pt>
                <c:pt idx="1522">
                  <c:v>2</c:v>
                </c:pt>
                <c:pt idx="1523">
                  <c:v>2</c:v>
                </c:pt>
                <c:pt idx="1524">
                  <c:v>2</c:v>
                </c:pt>
                <c:pt idx="1525">
                  <c:v>2</c:v>
                </c:pt>
                <c:pt idx="1526">
                  <c:v>3</c:v>
                </c:pt>
                <c:pt idx="1527">
                  <c:v>2</c:v>
                </c:pt>
                <c:pt idx="1528">
                  <c:v>3</c:v>
                </c:pt>
                <c:pt idx="1529">
                  <c:v>2</c:v>
                </c:pt>
                <c:pt idx="1530">
                  <c:v>2</c:v>
                </c:pt>
                <c:pt idx="1531">
                  <c:v>1</c:v>
                </c:pt>
                <c:pt idx="1532">
                  <c:v>2</c:v>
                </c:pt>
                <c:pt idx="1533">
                  <c:v>3</c:v>
                </c:pt>
                <c:pt idx="1534">
                  <c:v>3</c:v>
                </c:pt>
                <c:pt idx="1535">
                  <c:v>3</c:v>
                </c:pt>
                <c:pt idx="1536">
                  <c:v>1</c:v>
                </c:pt>
                <c:pt idx="1537">
                  <c:v>2</c:v>
                </c:pt>
                <c:pt idx="1538">
                  <c:v>2</c:v>
                </c:pt>
                <c:pt idx="1539">
                  <c:v>2</c:v>
                </c:pt>
                <c:pt idx="1540">
                  <c:v>2</c:v>
                </c:pt>
                <c:pt idx="1541">
                  <c:v>2</c:v>
                </c:pt>
                <c:pt idx="1542">
                  <c:v>3</c:v>
                </c:pt>
                <c:pt idx="1543">
                  <c:v>3</c:v>
                </c:pt>
                <c:pt idx="1544">
                  <c:v>3</c:v>
                </c:pt>
                <c:pt idx="1546">
                  <c:v>3</c:v>
                </c:pt>
                <c:pt idx="1547">
                  <c:v>2</c:v>
                </c:pt>
                <c:pt idx="1548">
                  <c:v>3</c:v>
                </c:pt>
                <c:pt idx="1549">
                  <c:v>2</c:v>
                </c:pt>
                <c:pt idx="1550">
                  <c:v>2</c:v>
                </c:pt>
                <c:pt idx="1551">
                  <c:v>1</c:v>
                </c:pt>
                <c:pt idx="1552">
                  <c:v>2</c:v>
                </c:pt>
                <c:pt idx="1553">
                  <c:v>2</c:v>
                </c:pt>
                <c:pt idx="1554">
                  <c:v>2</c:v>
                </c:pt>
                <c:pt idx="1555">
                  <c:v>2</c:v>
                </c:pt>
                <c:pt idx="1556">
                  <c:v>3</c:v>
                </c:pt>
                <c:pt idx="1557">
                  <c:v>2</c:v>
                </c:pt>
                <c:pt idx="1558">
                  <c:v>2</c:v>
                </c:pt>
                <c:pt idx="1559">
                  <c:v>3</c:v>
                </c:pt>
                <c:pt idx="1560">
                  <c:v>1</c:v>
                </c:pt>
                <c:pt idx="1561">
                  <c:v>1</c:v>
                </c:pt>
                <c:pt idx="1562">
                  <c:v>2</c:v>
                </c:pt>
                <c:pt idx="1563">
                  <c:v>3</c:v>
                </c:pt>
                <c:pt idx="1564">
                  <c:v>3</c:v>
                </c:pt>
                <c:pt idx="1565">
                  <c:v>2</c:v>
                </c:pt>
                <c:pt idx="1566">
                  <c:v>3</c:v>
                </c:pt>
                <c:pt idx="1567">
                  <c:v>3</c:v>
                </c:pt>
                <c:pt idx="1568">
                  <c:v>2</c:v>
                </c:pt>
                <c:pt idx="1569">
                  <c:v>2</c:v>
                </c:pt>
                <c:pt idx="1570">
                  <c:v>2</c:v>
                </c:pt>
                <c:pt idx="1571">
                  <c:v>1</c:v>
                </c:pt>
                <c:pt idx="1572">
                  <c:v>1</c:v>
                </c:pt>
                <c:pt idx="1573">
                  <c:v>1</c:v>
                </c:pt>
                <c:pt idx="1574">
                  <c:v>2</c:v>
                </c:pt>
                <c:pt idx="1575">
                  <c:v>3</c:v>
                </c:pt>
                <c:pt idx="1576">
                  <c:v>1</c:v>
                </c:pt>
                <c:pt idx="1577">
                  <c:v>3</c:v>
                </c:pt>
                <c:pt idx="1578">
                  <c:v>1</c:v>
                </c:pt>
                <c:pt idx="1579">
                  <c:v>2</c:v>
                </c:pt>
                <c:pt idx="1580">
                  <c:v>3</c:v>
                </c:pt>
                <c:pt idx="1581">
                  <c:v>2</c:v>
                </c:pt>
                <c:pt idx="1582">
                  <c:v>1</c:v>
                </c:pt>
                <c:pt idx="1583">
                  <c:v>3</c:v>
                </c:pt>
                <c:pt idx="1584">
                  <c:v>1</c:v>
                </c:pt>
                <c:pt idx="1585">
                  <c:v>1</c:v>
                </c:pt>
                <c:pt idx="1586">
                  <c:v>1</c:v>
                </c:pt>
                <c:pt idx="1587">
                  <c:v>2</c:v>
                </c:pt>
                <c:pt idx="1588">
                  <c:v>3</c:v>
                </c:pt>
                <c:pt idx="1590">
                  <c:v>2</c:v>
                </c:pt>
                <c:pt idx="1591">
                  <c:v>1</c:v>
                </c:pt>
                <c:pt idx="1592">
                  <c:v>3</c:v>
                </c:pt>
                <c:pt idx="1593">
                  <c:v>2</c:v>
                </c:pt>
                <c:pt idx="1594">
                  <c:v>2</c:v>
                </c:pt>
                <c:pt idx="1595">
                  <c:v>2</c:v>
                </c:pt>
                <c:pt idx="1596">
                  <c:v>2</c:v>
                </c:pt>
                <c:pt idx="1597">
                  <c:v>3</c:v>
                </c:pt>
                <c:pt idx="1598">
                  <c:v>3</c:v>
                </c:pt>
                <c:pt idx="1599">
                  <c:v>2</c:v>
                </c:pt>
                <c:pt idx="1600">
                  <c:v>1</c:v>
                </c:pt>
                <c:pt idx="1601">
                  <c:v>2</c:v>
                </c:pt>
                <c:pt idx="1602">
                  <c:v>2</c:v>
                </c:pt>
                <c:pt idx="1603">
                  <c:v>2</c:v>
                </c:pt>
                <c:pt idx="1604">
                  <c:v>1</c:v>
                </c:pt>
                <c:pt idx="1605">
                  <c:v>2</c:v>
                </c:pt>
                <c:pt idx="1606">
                  <c:v>2</c:v>
                </c:pt>
                <c:pt idx="1607">
                  <c:v>3</c:v>
                </c:pt>
                <c:pt idx="1608">
                  <c:v>2</c:v>
                </c:pt>
                <c:pt idx="1609">
                  <c:v>2</c:v>
                </c:pt>
                <c:pt idx="1610">
                  <c:v>3</c:v>
                </c:pt>
                <c:pt idx="1612">
                  <c:v>2</c:v>
                </c:pt>
                <c:pt idx="1613">
                  <c:v>2</c:v>
                </c:pt>
                <c:pt idx="1614">
                  <c:v>3</c:v>
                </c:pt>
                <c:pt idx="1615">
                  <c:v>3</c:v>
                </c:pt>
                <c:pt idx="1616">
                  <c:v>3</c:v>
                </c:pt>
                <c:pt idx="1617">
                  <c:v>2</c:v>
                </c:pt>
                <c:pt idx="1618">
                  <c:v>2</c:v>
                </c:pt>
                <c:pt idx="1619">
                  <c:v>2</c:v>
                </c:pt>
                <c:pt idx="1621">
                  <c:v>1</c:v>
                </c:pt>
                <c:pt idx="1622">
                  <c:v>3</c:v>
                </c:pt>
                <c:pt idx="1623">
                  <c:v>3</c:v>
                </c:pt>
                <c:pt idx="1624">
                  <c:v>2</c:v>
                </c:pt>
                <c:pt idx="1625">
                  <c:v>3</c:v>
                </c:pt>
                <c:pt idx="1626">
                  <c:v>2</c:v>
                </c:pt>
                <c:pt idx="1627">
                  <c:v>1</c:v>
                </c:pt>
                <c:pt idx="1628">
                  <c:v>2</c:v>
                </c:pt>
                <c:pt idx="1629">
                  <c:v>3</c:v>
                </c:pt>
                <c:pt idx="1630">
                  <c:v>2</c:v>
                </c:pt>
                <c:pt idx="1631">
                  <c:v>3</c:v>
                </c:pt>
                <c:pt idx="1633">
                  <c:v>1</c:v>
                </c:pt>
                <c:pt idx="1634">
                  <c:v>2</c:v>
                </c:pt>
                <c:pt idx="1635">
                  <c:v>2</c:v>
                </c:pt>
                <c:pt idx="1636">
                  <c:v>3</c:v>
                </c:pt>
                <c:pt idx="1637">
                  <c:v>1</c:v>
                </c:pt>
                <c:pt idx="1638">
                  <c:v>2</c:v>
                </c:pt>
                <c:pt idx="1639">
                  <c:v>3</c:v>
                </c:pt>
                <c:pt idx="1640">
                  <c:v>1</c:v>
                </c:pt>
                <c:pt idx="1641">
                  <c:v>1</c:v>
                </c:pt>
                <c:pt idx="1642">
                  <c:v>2</c:v>
                </c:pt>
                <c:pt idx="1643">
                  <c:v>3</c:v>
                </c:pt>
                <c:pt idx="1644">
                  <c:v>3</c:v>
                </c:pt>
                <c:pt idx="1646">
                  <c:v>3</c:v>
                </c:pt>
                <c:pt idx="1647">
                  <c:v>3</c:v>
                </c:pt>
                <c:pt idx="1648">
                  <c:v>2</c:v>
                </c:pt>
                <c:pt idx="1649">
                  <c:v>2</c:v>
                </c:pt>
                <c:pt idx="1650">
                  <c:v>2</c:v>
                </c:pt>
                <c:pt idx="1651">
                  <c:v>3</c:v>
                </c:pt>
                <c:pt idx="1652">
                  <c:v>2</c:v>
                </c:pt>
                <c:pt idx="1653">
                  <c:v>3</c:v>
                </c:pt>
                <c:pt idx="1654">
                  <c:v>2</c:v>
                </c:pt>
                <c:pt idx="1655">
                  <c:v>3</c:v>
                </c:pt>
                <c:pt idx="1656">
                  <c:v>2</c:v>
                </c:pt>
                <c:pt idx="1657">
                  <c:v>3</c:v>
                </c:pt>
                <c:pt idx="1659">
                  <c:v>3</c:v>
                </c:pt>
                <c:pt idx="1660">
                  <c:v>3</c:v>
                </c:pt>
                <c:pt idx="1661">
                  <c:v>3</c:v>
                </c:pt>
                <c:pt idx="1662">
                  <c:v>2</c:v>
                </c:pt>
                <c:pt idx="1663">
                  <c:v>2</c:v>
                </c:pt>
                <c:pt idx="1664">
                  <c:v>3</c:v>
                </c:pt>
                <c:pt idx="1665">
                  <c:v>2</c:v>
                </c:pt>
                <c:pt idx="1666">
                  <c:v>2</c:v>
                </c:pt>
                <c:pt idx="1668">
                  <c:v>3</c:v>
                </c:pt>
                <c:pt idx="1669">
                  <c:v>3</c:v>
                </c:pt>
                <c:pt idx="1670">
                  <c:v>3</c:v>
                </c:pt>
                <c:pt idx="1671">
                  <c:v>2</c:v>
                </c:pt>
                <c:pt idx="1672">
                  <c:v>3</c:v>
                </c:pt>
                <c:pt idx="1673">
                  <c:v>3</c:v>
                </c:pt>
                <c:pt idx="1674">
                  <c:v>3</c:v>
                </c:pt>
                <c:pt idx="1675">
                  <c:v>2</c:v>
                </c:pt>
                <c:pt idx="1676">
                  <c:v>3</c:v>
                </c:pt>
                <c:pt idx="1677">
                  <c:v>2</c:v>
                </c:pt>
                <c:pt idx="1679">
                  <c:v>3</c:v>
                </c:pt>
                <c:pt idx="1680">
                  <c:v>2</c:v>
                </c:pt>
                <c:pt idx="1681">
                  <c:v>3</c:v>
                </c:pt>
                <c:pt idx="1682">
                  <c:v>3</c:v>
                </c:pt>
                <c:pt idx="1683">
                  <c:v>3</c:v>
                </c:pt>
                <c:pt idx="1684">
                  <c:v>2</c:v>
                </c:pt>
                <c:pt idx="1685">
                  <c:v>2</c:v>
                </c:pt>
                <c:pt idx="1686">
                  <c:v>1</c:v>
                </c:pt>
                <c:pt idx="1687">
                  <c:v>3</c:v>
                </c:pt>
                <c:pt idx="1688">
                  <c:v>2</c:v>
                </c:pt>
                <c:pt idx="1689">
                  <c:v>2</c:v>
                </c:pt>
                <c:pt idx="1690">
                  <c:v>3</c:v>
                </c:pt>
                <c:pt idx="1691">
                  <c:v>2</c:v>
                </c:pt>
                <c:pt idx="1692">
                  <c:v>3</c:v>
                </c:pt>
                <c:pt idx="1693">
                  <c:v>3</c:v>
                </c:pt>
                <c:pt idx="1694">
                  <c:v>3</c:v>
                </c:pt>
                <c:pt idx="1695">
                  <c:v>3</c:v>
                </c:pt>
                <c:pt idx="1696">
                  <c:v>2</c:v>
                </c:pt>
                <c:pt idx="1697">
                  <c:v>3</c:v>
                </c:pt>
                <c:pt idx="1698">
                  <c:v>2</c:v>
                </c:pt>
                <c:pt idx="1699">
                  <c:v>2</c:v>
                </c:pt>
                <c:pt idx="1700">
                  <c:v>2</c:v>
                </c:pt>
                <c:pt idx="1701">
                  <c:v>2</c:v>
                </c:pt>
                <c:pt idx="1702">
                  <c:v>2</c:v>
                </c:pt>
                <c:pt idx="1703">
                  <c:v>1</c:v>
                </c:pt>
                <c:pt idx="1704">
                  <c:v>2</c:v>
                </c:pt>
                <c:pt idx="1705">
                  <c:v>3</c:v>
                </c:pt>
                <c:pt idx="1706">
                  <c:v>3</c:v>
                </c:pt>
                <c:pt idx="1707">
                  <c:v>2</c:v>
                </c:pt>
                <c:pt idx="1708">
                  <c:v>2</c:v>
                </c:pt>
                <c:pt idx="1709">
                  <c:v>3</c:v>
                </c:pt>
                <c:pt idx="1711">
                  <c:v>2</c:v>
                </c:pt>
                <c:pt idx="1712">
                  <c:v>3</c:v>
                </c:pt>
                <c:pt idx="1713">
                  <c:v>3</c:v>
                </c:pt>
                <c:pt idx="1715">
                  <c:v>2</c:v>
                </c:pt>
                <c:pt idx="1716">
                  <c:v>3</c:v>
                </c:pt>
                <c:pt idx="1717">
                  <c:v>2</c:v>
                </c:pt>
                <c:pt idx="1718">
                  <c:v>2</c:v>
                </c:pt>
                <c:pt idx="1719">
                  <c:v>2</c:v>
                </c:pt>
                <c:pt idx="1720">
                  <c:v>2</c:v>
                </c:pt>
                <c:pt idx="1721">
                  <c:v>1</c:v>
                </c:pt>
                <c:pt idx="1722">
                  <c:v>3</c:v>
                </c:pt>
                <c:pt idx="1723">
                  <c:v>2</c:v>
                </c:pt>
                <c:pt idx="1724">
                  <c:v>3</c:v>
                </c:pt>
                <c:pt idx="1725">
                  <c:v>3</c:v>
                </c:pt>
                <c:pt idx="1726">
                  <c:v>2</c:v>
                </c:pt>
                <c:pt idx="1727">
                  <c:v>2</c:v>
                </c:pt>
                <c:pt idx="1729">
                  <c:v>2</c:v>
                </c:pt>
                <c:pt idx="1730">
                  <c:v>2</c:v>
                </c:pt>
                <c:pt idx="1731">
                  <c:v>2</c:v>
                </c:pt>
                <c:pt idx="1732">
                  <c:v>2</c:v>
                </c:pt>
                <c:pt idx="1733">
                  <c:v>3</c:v>
                </c:pt>
                <c:pt idx="1734">
                  <c:v>2</c:v>
                </c:pt>
                <c:pt idx="1735">
                  <c:v>3</c:v>
                </c:pt>
                <c:pt idx="1736">
                  <c:v>2</c:v>
                </c:pt>
                <c:pt idx="1738">
                  <c:v>1</c:v>
                </c:pt>
                <c:pt idx="1739">
                  <c:v>1</c:v>
                </c:pt>
                <c:pt idx="1740">
                  <c:v>2</c:v>
                </c:pt>
                <c:pt idx="1741">
                  <c:v>3</c:v>
                </c:pt>
                <c:pt idx="1742">
                  <c:v>2</c:v>
                </c:pt>
                <c:pt idx="1743">
                  <c:v>3</c:v>
                </c:pt>
                <c:pt idx="1744">
                  <c:v>2</c:v>
                </c:pt>
                <c:pt idx="1745">
                  <c:v>2</c:v>
                </c:pt>
                <c:pt idx="1746">
                  <c:v>3</c:v>
                </c:pt>
                <c:pt idx="1747">
                  <c:v>2</c:v>
                </c:pt>
                <c:pt idx="1748">
                  <c:v>1</c:v>
                </c:pt>
                <c:pt idx="1749">
                  <c:v>2</c:v>
                </c:pt>
                <c:pt idx="1750">
                  <c:v>2</c:v>
                </c:pt>
                <c:pt idx="1751">
                  <c:v>3</c:v>
                </c:pt>
                <c:pt idx="1752">
                  <c:v>3</c:v>
                </c:pt>
                <c:pt idx="1753">
                  <c:v>2</c:v>
                </c:pt>
                <c:pt idx="1754">
                  <c:v>2</c:v>
                </c:pt>
                <c:pt idx="1755">
                  <c:v>3</c:v>
                </c:pt>
                <c:pt idx="1757">
                  <c:v>2</c:v>
                </c:pt>
                <c:pt idx="1758">
                  <c:v>2</c:v>
                </c:pt>
                <c:pt idx="1759">
                  <c:v>3</c:v>
                </c:pt>
                <c:pt idx="1760">
                  <c:v>3</c:v>
                </c:pt>
                <c:pt idx="1761">
                  <c:v>3</c:v>
                </c:pt>
                <c:pt idx="1762">
                  <c:v>3</c:v>
                </c:pt>
                <c:pt idx="1763">
                  <c:v>3</c:v>
                </c:pt>
                <c:pt idx="1764">
                  <c:v>3</c:v>
                </c:pt>
                <c:pt idx="1765">
                  <c:v>1</c:v>
                </c:pt>
                <c:pt idx="1766">
                  <c:v>3</c:v>
                </c:pt>
                <c:pt idx="1767">
                  <c:v>2</c:v>
                </c:pt>
                <c:pt idx="1768">
                  <c:v>2</c:v>
                </c:pt>
                <c:pt idx="1769">
                  <c:v>3</c:v>
                </c:pt>
                <c:pt idx="1770">
                  <c:v>3</c:v>
                </c:pt>
                <c:pt idx="1771">
                  <c:v>3</c:v>
                </c:pt>
                <c:pt idx="1772">
                  <c:v>3</c:v>
                </c:pt>
                <c:pt idx="1773">
                  <c:v>2</c:v>
                </c:pt>
                <c:pt idx="1774">
                  <c:v>3</c:v>
                </c:pt>
                <c:pt idx="1775">
                  <c:v>3</c:v>
                </c:pt>
                <c:pt idx="1776">
                  <c:v>3</c:v>
                </c:pt>
                <c:pt idx="1777">
                  <c:v>3</c:v>
                </c:pt>
                <c:pt idx="1778">
                  <c:v>2</c:v>
                </c:pt>
                <c:pt idx="1779">
                  <c:v>1</c:v>
                </c:pt>
                <c:pt idx="1780">
                  <c:v>2</c:v>
                </c:pt>
                <c:pt idx="1781">
                  <c:v>3</c:v>
                </c:pt>
                <c:pt idx="1782">
                  <c:v>2</c:v>
                </c:pt>
                <c:pt idx="1783">
                  <c:v>3</c:v>
                </c:pt>
                <c:pt idx="1784">
                  <c:v>3</c:v>
                </c:pt>
                <c:pt idx="1785">
                  <c:v>2</c:v>
                </c:pt>
                <c:pt idx="1786">
                  <c:v>2</c:v>
                </c:pt>
                <c:pt idx="1787">
                  <c:v>2</c:v>
                </c:pt>
                <c:pt idx="1788">
                  <c:v>1</c:v>
                </c:pt>
                <c:pt idx="1789">
                  <c:v>3</c:v>
                </c:pt>
                <c:pt idx="1790">
                  <c:v>2</c:v>
                </c:pt>
                <c:pt idx="1791">
                  <c:v>2</c:v>
                </c:pt>
                <c:pt idx="1792">
                  <c:v>3</c:v>
                </c:pt>
                <c:pt idx="1793">
                  <c:v>3</c:v>
                </c:pt>
                <c:pt idx="1794">
                  <c:v>2</c:v>
                </c:pt>
                <c:pt idx="1796">
                  <c:v>3</c:v>
                </c:pt>
                <c:pt idx="1797">
                  <c:v>3</c:v>
                </c:pt>
                <c:pt idx="1798">
                  <c:v>3</c:v>
                </c:pt>
                <c:pt idx="1799">
                  <c:v>3</c:v>
                </c:pt>
                <c:pt idx="1800">
                  <c:v>2</c:v>
                </c:pt>
                <c:pt idx="1801">
                  <c:v>3</c:v>
                </c:pt>
                <c:pt idx="1802">
                  <c:v>3</c:v>
                </c:pt>
                <c:pt idx="1803">
                  <c:v>2</c:v>
                </c:pt>
                <c:pt idx="1804">
                  <c:v>2</c:v>
                </c:pt>
                <c:pt idx="1805">
                  <c:v>2</c:v>
                </c:pt>
                <c:pt idx="1806">
                  <c:v>3</c:v>
                </c:pt>
                <c:pt idx="1807">
                  <c:v>2</c:v>
                </c:pt>
                <c:pt idx="1808">
                  <c:v>3</c:v>
                </c:pt>
                <c:pt idx="1809">
                  <c:v>3</c:v>
                </c:pt>
                <c:pt idx="1810">
                  <c:v>3</c:v>
                </c:pt>
                <c:pt idx="1811">
                  <c:v>2</c:v>
                </c:pt>
                <c:pt idx="1812">
                  <c:v>3</c:v>
                </c:pt>
                <c:pt idx="1813">
                  <c:v>3</c:v>
                </c:pt>
                <c:pt idx="1815">
                  <c:v>3</c:v>
                </c:pt>
                <c:pt idx="1816">
                  <c:v>3</c:v>
                </c:pt>
                <c:pt idx="1817">
                  <c:v>3</c:v>
                </c:pt>
                <c:pt idx="1818">
                  <c:v>2</c:v>
                </c:pt>
                <c:pt idx="1819">
                  <c:v>3</c:v>
                </c:pt>
                <c:pt idx="1820">
                  <c:v>3</c:v>
                </c:pt>
                <c:pt idx="1821">
                  <c:v>3</c:v>
                </c:pt>
                <c:pt idx="1822">
                  <c:v>1</c:v>
                </c:pt>
                <c:pt idx="1823">
                  <c:v>3</c:v>
                </c:pt>
                <c:pt idx="1824">
                  <c:v>2</c:v>
                </c:pt>
                <c:pt idx="1825">
                  <c:v>3</c:v>
                </c:pt>
                <c:pt idx="1826">
                  <c:v>3</c:v>
                </c:pt>
                <c:pt idx="1827">
                  <c:v>2</c:v>
                </c:pt>
                <c:pt idx="1828">
                  <c:v>2</c:v>
                </c:pt>
                <c:pt idx="1829">
                  <c:v>3</c:v>
                </c:pt>
                <c:pt idx="1830">
                  <c:v>3</c:v>
                </c:pt>
                <c:pt idx="1832">
                  <c:v>3</c:v>
                </c:pt>
                <c:pt idx="1833">
                  <c:v>2</c:v>
                </c:pt>
                <c:pt idx="1834">
                  <c:v>2</c:v>
                </c:pt>
                <c:pt idx="1835">
                  <c:v>3</c:v>
                </c:pt>
                <c:pt idx="1836">
                  <c:v>3</c:v>
                </c:pt>
                <c:pt idx="1837">
                  <c:v>1</c:v>
                </c:pt>
                <c:pt idx="1838">
                  <c:v>3</c:v>
                </c:pt>
                <c:pt idx="1839">
                  <c:v>2</c:v>
                </c:pt>
                <c:pt idx="1840">
                  <c:v>3</c:v>
                </c:pt>
                <c:pt idx="1841">
                  <c:v>3</c:v>
                </c:pt>
                <c:pt idx="1842">
                  <c:v>3</c:v>
                </c:pt>
                <c:pt idx="1843">
                  <c:v>3</c:v>
                </c:pt>
                <c:pt idx="1844">
                  <c:v>3</c:v>
                </c:pt>
                <c:pt idx="1845">
                  <c:v>3</c:v>
                </c:pt>
                <c:pt idx="1846">
                  <c:v>3</c:v>
                </c:pt>
                <c:pt idx="1847">
                  <c:v>1</c:v>
                </c:pt>
                <c:pt idx="1848">
                  <c:v>3</c:v>
                </c:pt>
                <c:pt idx="1849">
                  <c:v>2</c:v>
                </c:pt>
                <c:pt idx="1850">
                  <c:v>2</c:v>
                </c:pt>
                <c:pt idx="1851">
                  <c:v>2</c:v>
                </c:pt>
                <c:pt idx="1852">
                  <c:v>2</c:v>
                </c:pt>
                <c:pt idx="1853">
                  <c:v>2</c:v>
                </c:pt>
                <c:pt idx="1854">
                  <c:v>2</c:v>
                </c:pt>
                <c:pt idx="1855">
                  <c:v>2</c:v>
                </c:pt>
                <c:pt idx="1856">
                  <c:v>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13F-4323-BBC7-A31435290A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553258672"/>
        <c:axId val="-553257584"/>
      </c:scatterChart>
      <c:valAx>
        <c:axId val="-55325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PE"/>
                  <a:t>Efectividad de denuncia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P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-553257584"/>
        <c:crosses val="autoZero"/>
        <c:crossBetween val="midCat"/>
      </c:valAx>
      <c:valAx>
        <c:axId val="-553257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s-PE"/>
                  <a:t>Corrupción a futur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P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-55325867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881392836936582"/>
          <c:y val="3.7461932186093561E-2"/>
          <c:w val="0.51118607163063423"/>
          <c:h val="0.876969859214870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i perciben efectivida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8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5</c:f>
              <c:strCache>
                <c:ptCount val="3"/>
                <c:pt idx="0">
                  <c:v>Habrá aumentado</c:v>
                </c:pt>
                <c:pt idx="1">
                  <c:v>Seguirá igual</c:v>
                </c:pt>
                <c:pt idx="2">
                  <c:v>Habrá disminuido</c:v>
                </c:pt>
              </c:strCache>
            </c:strRef>
          </c:cat>
          <c:val>
            <c:numRef>
              <c:f>Hoja1!$B$2:$B$15</c:f>
              <c:numCache>
                <c:formatCode>0%</c:formatCode>
                <c:ptCount val="3"/>
                <c:pt idx="0">
                  <c:v>0.36</c:v>
                </c:pt>
                <c:pt idx="1">
                  <c:v>0.41</c:v>
                </c:pt>
                <c:pt idx="2">
                  <c:v>0.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F3-4926-9F21-67BBC39C091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No perciben efectivida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8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5</c:f>
              <c:strCache>
                <c:ptCount val="3"/>
                <c:pt idx="0">
                  <c:v>Habrá aumentado</c:v>
                </c:pt>
                <c:pt idx="1">
                  <c:v>Seguirá igual</c:v>
                </c:pt>
                <c:pt idx="2">
                  <c:v>Habrá disminuido</c:v>
                </c:pt>
              </c:strCache>
            </c:strRef>
          </c:cat>
          <c:val>
            <c:numRef>
              <c:f>Hoja1!$C$2:$C$15</c:f>
              <c:numCache>
                <c:formatCode>0%</c:formatCode>
                <c:ptCount val="3"/>
                <c:pt idx="0">
                  <c:v>0.44</c:v>
                </c:pt>
                <c:pt idx="1">
                  <c:v>0.42399999999999999</c:v>
                </c:pt>
                <c:pt idx="2">
                  <c:v>0.136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240-4CB5-9E74-E8BA70162D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553265744"/>
        <c:axId val="-553267376"/>
      </c:barChart>
      <c:catAx>
        <c:axId val="-5532657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53267376"/>
        <c:crosses val="autoZero"/>
        <c:auto val="0"/>
        <c:lblAlgn val="ctr"/>
        <c:lblOffset val="100"/>
        <c:noMultiLvlLbl val="1"/>
      </c:catAx>
      <c:valAx>
        <c:axId val="-553267376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53265744"/>
        <c:crossesAt val="1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4.8386205740432774E-3"/>
          <c:y val="0.29581854666181595"/>
          <c:w val="0.31042570336207931"/>
          <c:h val="0.382210232719901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s-ES" sz="1800" b="0" i="0" u="none" strike="noStrike" kern="1200" baseline="0">
              <a:solidFill>
                <a:srgbClr val="000000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lvl="0" algn="l" defTabSz="914400" rtl="0" eaLnBrk="1" latinLnBrk="0" hangingPunct="1">
        <a:defRPr lang="es-ES" sz="1600" kern="1200">
          <a:solidFill>
            <a:srgbClr val="000000"/>
          </a:solidFill>
          <a:latin typeface="Corbel" panose="020B0503020204020204" pitchFamily="34" charset="0"/>
          <a:ea typeface="+mn-ea"/>
          <a:cs typeface="+mn-cs"/>
        </a:defRPr>
      </a:pPr>
      <a:endParaRPr lang="es-PE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160514541387051E-2"/>
          <c:y val="6.834887334887337E-3"/>
          <c:w val="0.84941441518066041"/>
          <c:h val="0.969123833757421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rgbClr val="1C738A"/>
            </a:solidFill>
          </c:spPr>
          <c:invertIfNegative val="1"/>
          <c:dPt>
            <c:idx val="16"/>
            <c:invertIfNegative val="1"/>
            <c:bubble3D val="0"/>
            <c:spPr>
              <a:solidFill>
                <a:schemeClr val="accent1">
                  <a:lumMod val="7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2</c:f>
              <c:strCache>
                <c:ptCount val="11"/>
                <c:pt idx="0">
                  <c:v>Que rindan cuenta de sus acciones a la ciudadanía</c:v>
                </c:pt>
                <c:pt idx="1">
                  <c:v>Que entreguen la información que se solicita</c:v>
                </c:pt>
                <c:pt idx="2">
                  <c:v>Que tengan procesos claros y transparentes</c:v>
                </c:pt>
                <c:pt idx="3">
                  <c:v>Que los responsables de las instituciones garanticen la integridad de sus actos</c:v>
                </c:pt>
                <c:pt idx="4">
                  <c:v>Que admitan su responsabilidad cuando se equivocan</c:v>
                </c:pt>
                <c:pt idx="5">
                  <c:v>Que se vea que sus trabajadores están comprometidos con su institución</c:v>
                </c:pt>
                <c:pt idx="6">
                  <c:v>Que traten a todos los usuarios de sus servicios por igual</c:v>
                </c:pt>
                <c:pt idx="7">
                  <c:v>Que se comuniquen con frecuencia con el público</c:v>
                </c:pt>
                <c:pt idx="8">
                  <c:v>Que cuente con alguna certificación de aplicación de buenas prácticas</c:v>
                </c:pt>
                <c:pt idx="9">
                  <c:v>Que se vea innovación en sus procesos administrativos</c:v>
                </c:pt>
                <c:pt idx="10">
                  <c:v>Que se vea innovación en su atención al público</c:v>
                </c:pt>
              </c:strCache>
            </c:strRef>
          </c:cat>
          <c:val>
            <c:numRef>
              <c:f>Hoja1!$B$2:$B$12</c:f>
              <c:numCache>
                <c:formatCode>0%</c:formatCode>
                <c:ptCount val="11"/>
                <c:pt idx="0">
                  <c:v>0.48899999999999999</c:v>
                </c:pt>
                <c:pt idx="1">
                  <c:v>0.36099999999999999</c:v>
                </c:pt>
                <c:pt idx="2">
                  <c:v>0.34200000000000003</c:v>
                </c:pt>
                <c:pt idx="3">
                  <c:v>0.32500000000000001</c:v>
                </c:pt>
                <c:pt idx="4">
                  <c:v>0.29100000000000004</c:v>
                </c:pt>
                <c:pt idx="5">
                  <c:v>0.255</c:v>
                </c:pt>
                <c:pt idx="6">
                  <c:v>0.23300000000000001</c:v>
                </c:pt>
                <c:pt idx="7">
                  <c:v>0.193</c:v>
                </c:pt>
                <c:pt idx="8">
                  <c:v>0.10400000000000001</c:v>
                </c:pt>
                <c:pt idx="9">
                  <c:v>8.900000000000001E-2</c:v>
                </c:pt>
                <c:pt idx="10">
                  <c:v>8.5000000000000006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5"/>
        <c:axId val="-553258128"/>
        <c:axId val="-553261936"/>
      </c:barChart>
      <c:catAx>
        <c:axId val="-553258128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one"/>
        <c:crossAx val="-553261936"/>
        <c:crosses val="autoZero"/>
        <c:auto val="1"/>
        <c:lblAlgn val="ctr"/>
        <c:lblOffset val="100"/>
        <c:noMultiLvlLbl val="0"/>
      </c:catAx>
      <c:valAx>
        <c:axId val="-55326193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one"/>
        <c:crossAx val="-5532581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099031991077E-2"/>
          <c:y val="0.10219737456362202"/>
          <c:w val="0.99805655623168099"/>
          <c:h val="0.433499279971919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3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8</c:f>
              <c:strCache>
                <c:ptCount val="6"/>
                <c:pt idx="0">
                  <c:v>Que haya más transparencia en las compras públicas, etc.</c:v>
                </c:pt>
                <c:pt idx="1">
                  <c:v>Simplificar trámites</c:v>
                </c:pt>
                <c:pt idx="2">
                  <c:v>Mejorar la carrera pública para que los mejores trabajen en el Estado</c:v>
                </c:pt>
                <c:pt idx="3">
                  <c:v>Promover una cultura de Integridad en los empleados públicos y en la ciudadanía.</c:v>
                </c:pt>
                <c:pt idx="4">
                  <c:v>Aplicar procesos de innovación tecnológica/digitales en los servicios de atención al público</c:v>
                </c:pt>
                <c:pt idx="5">
                  <c:v>Que en las entidades públicas se realicen, entre sus funcionarios, acciones preventivas frente a la corrupción</c:v>
                </c:pt>
              </c:strCache>
            </c:strRef>
          </c:cat>
          <c:val>
            <c:numRef>
              <c:f>Hoja1!$B$2:$B$18</c:f>
              <c:numCache>
                <c:formatCode>0%</c:formatCode>
                <c:ptCount val="6"/>
                <c:pt idx="0">
                  <c:v>0.31</c:v>
                </c:pt>
                <c:pt idx="1">
                  <c:v>0.27899999999999997</c:v>
                </c:pt>
                <c:pt idx="2">
                  <c:v>0.27100000000000002</c:v>
                </c:pt>
                <c:pt idx="3">
                  <c:v>0.26700000000000002</c:v>
                </c:pt>
                <c:pt idx="4">
                  <c:v>0.24299999999999999</c:v>
                </c:pt>
                <c:pt idx="5">
                  <c:v>0.233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F3-4926-9F21-67BBC39C09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552708336"/>
        <c:axId val="-552696368"/>
      </c:barChart>
      <c:catAx>
        <c:axId val="-552708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4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52696368"/>
        <c:crosses val="autoZero"/>
        <c:auto val="0"/>
        <c:lblAlgn val="ctr"/>
        <c:lblOffset val="100"/>
        <c:noMultiLvlLbl val="1"/>
      </c:catAx>
      <c:valAx>
        <c:axId val="-55269636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52708336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lvl="0" algn="l" defTabSz="914400" rtl="0" eaLnBrk="1" latinLnBrk="0" hangingPunct="1">
        <a:defRPr lang="es-ES" sz="1600" kern="1200">
          <a:solidFill>
            <a:srgbClr val="000000"/>
          </a:solidFill>
          <a:latin typeface="Corbel" panose="020B0503020204020204" pitchFamily="34" charset="0"/>
          <a:ea typeface="+mn-ea"/>
          <a:cs typeface="+mn-cs"/>
        </a:defRPr>
      </a:pPr>
      <a:endParaRPr lang="es-PE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099031991077E-2"/>
          <c:y val="0.1769429264278079"/>
          <c:w val="0.99805655623168099"/>
          <c:h val="0.563137679597864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6.9312808979810963E-3"/>
                  <c:y val="3.037494884691165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2AF-4EA7-B505-C5E27161586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No pagar coimas</c:v>
                </c:pt>
                <c:pt idx="1">
                  <c:v>No votar por candidatos ni partidos políticos con antecedentes de corrupción.</c:v>
                </c:pt>
                <c:pt idx="2">
                  <c:v>Denunciar actos de corrupción de los que sea testigo o víctima</c:v>
                </c:pt>
                <c:pt idx="3">
                  <c:v>Hablar con amigos o familiares sobre el tema</c:v>
                </c:pt>
                <c:pt idx="4">
                  <c:v>Usar redes sociales para hablar sobre el tema</c:v>
                </c:pt>
                <c:pt idx="5">
                  <c:v>Participar en marchas u otras manifestaciones públicas pacíficas contra la corrupción</c:v>
                </c:pt>
                <c:pt idx="6">
                  <c:v>Unirse a una organización anticorrupción</c:v>
                </c:pt>
                <c:pt idx="7">
                  <c:v>Firmar una petición (de lucha contra la corrupción)</c:v>
                </c:pt>
              </c:strCache>
            </c:strRef>
          </c:cat>
          <c:val>
            <c:numRef>
              <c:f>Hoja1!$B$2:$B$20</c:f>
              <c:numCache>
                <c:formatCode>0%</c:formatCode>
                <c:ptCount val="8"/>
                <c:pt idx="0">
                  <c:v>0.4</c:v>
                </c:pt>
                <c:pt idx="1">
                  <c:v>0.48</c:v>
                </c:pt>
                <c:pt idx="2">
                  <c:v>0.54</c:v>
                </c:pt>
                <c:pt idx="3">
                  <c:v>0.15</c:v>
                </c:pt>
                <c:pt idx="4">
                  <c:v>0.19</c:v>
                </c:pt>
                <c:pt idx="5">
                  <c:v>0.14000000000000001</c:v>
                </c:pt>
                <c:pt idx="6">
                  <c:v>0.22</c:v>
                </c:pt>
                <c:pt idx="7">
                  <c:v>0.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F3-4926-9F21-67BBC39C091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20</c:f>
              <c:strCache>
                <c:ptCount val="8"/>
                <c:pt idx="0">
                  <c:v>No pagar coimas</c:v>
                </c:pt>
                <c:pt idx="1">
                  <c:v>No votar por candidatos ni partidos políticos con antecedentes de corrupción.</c:v>
                </c:pt>
                <c:pt idx="2">
                  <c:v>Denunciar actos de corrupción de los que sea testigo o víctima</c:v>
                </c:pt>
                <c:pt idx="3">
                  <c:v>Hablar con amigos o familiares sobre el tema</c:v>
                </c:pt>
                <c:pt idx="4">
                  <c:v>Usar redes sociales para hablar sobre el tema</c:v>
                </c:pt>
                <c:pt idx="5">
                  <c:v>Participar en marchas u otras manifestaciones públicas pacíficas contra la corrupción</c:v>
                </c:pt>
                <c:pt idx="6">
                  <c:v>Unirse a una organización anticorrupción</c:v>
                </c:pt>
                <c:pt idx="7">
                  <c:v>Firmar una petición (de lucha contra la corrupción)</c:v>
                </c:pt>
              </c:strCache>
            </c:strRef>
          </c:cat>
          <c:val>
            <c:numRef>
              <c:f>Hoja1!$C$2:$C$20</c:f>
              <c:numCache>
                <c:formatCode>0%</c:formatCode>
                <c:ptCount val="8"/>
                <c:pt idx="0">
                  <c:v>0.57200000000000006</c:v>
                </c:pt>
                <c:pt idx="1">
                  <c:v>0.54899999999999993</c:v>
                </c:pt>
                <c:pt idx="2">
                  <c:v>0.54</c:v>
                </c:pt>
                <c:pt idx="3">
                  <c:v>0.24</c:v>
                </c:pt>
                <c:pt idx="4">
                  <c:v>0.193</c:v>
                </c:pt>
                <c:pt idx="5">
                  <c:v>0.16800000000000001</c:v>
                </c:pt>
                <c:pt idx="6">
                  <c:v>0.16699999999999998</c:v>
                </c:pt>
                <c:pt idx="7">
                  <c:v>0.144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2AF-4EA7-B505-C5E2716158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552705072"/>
        <c:axId val="-552707792"/>
      </c:barChart>
      <c:catAx>
        <c:axId val="-552705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4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52707792"/>
        <c:crosses val="autoZero"/>
        <c:auto val="0"/>
        <c:lblAlgn val="ctr"/>
        <c:lblOffset val="100"/>
        <c:noMultiLvlLbl val="1"/>
      </c:catAx>
      <c:valAx>
        <c:axId val="-55270779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52705072"/>
        <c:crossesAt val="1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88165192617294"/>
          <c:y val="6.9092245849574152E-3"/>
          <c:w val="0.13807921107833357"/>
          <c:h val="0.105307795096813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s-ES" sz="1600" b="0" i="0" u="none" strike="noStrike" kern="1200" baseline="0">
              <a:solidFill>
                <a:srgbClr val="000000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lvl="0" algn="l" defTabSz="914400" rtl="0" eaLnBrk="1" latinLnBrk="0" hangingPunct="1">
        <a:defRPr lang="es-ES" sz="1600" kern="1200">
          <a:solidFill>
            <a:srgbClr val="000000"/>
          </a:solidFill>
          <a:latin typeface="Corbel" panose="020B0503020204020204" pitchFamily="34" charset="0"/>
          <a:ea typeface="+mn-ea"/>
          <a:cs typeface="+mn-cs"/>
        </a:defRPr>
      </a:pPr>
      <a:endParaRPr lang="es-P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095179798416017"/>
          <c:y val="7.7089642507129547E-2"/>
          <c:w val="0.42214021037532878"/>
          <c:h val="0.845820714985740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NSE E</c:v>
                </c:pt>
                <c:pt idx="1">
                  <c:v>NSE D</c:v>
                </c:pt>
                <c:pt idx="2">
                  <c:v>NSE C</c:v>
                </c:pt>
                <c:pt idx="3">
                  <c:v>NSE A/B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161</c:v>
                </c:pt>
                <c:pt idx="1">
                  <c:v>0.27100000000000002</c:v>
                </c:pt>
                <c:pt idx="2">
                  <c:v>0.34499999999999997</c:v>
                </c:pt>
                <c:pt idx="3">
                  <c:v>0.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B4B-4048-A233-74C22F652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565735312"/>
        <c:axId val="-565723888"/>
      </c:barChart>
      <c:catAx>
        <c:axId val="-5657353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-565723888"/>
        <c:crosses val="autoZero"/>
        <c:auto val="1"/>
        <c:lblAlgn val="ctr"/>
        <c:lblOffset val="100"/>
        <c:noMultiLvlLbl val="0"/>
      </c:catAx>
      <c:valAx>
        <c:axId val="-565723888"/>
        <c:scaling>
          <c:orientation val="minMax"/>
          <c:max val="0.5"/>
        </c:scaling>
        <c:delete val="1"/>
        <c:axPos val="b"/>
        <c:numFmt formatCode="0%" sourceLinked="1"/>
        <c:majorTickMark val="out"/>
        <c:minorTickMark val="none"/>
        <c:tickLblPos val="nextTo"/>
        <c:crossAx val="-565735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s-P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095179798416017"/>
          <c:y val="7.7089642507129547E-2"/>
          <c:w val="0.42214021037532878"/>
          <c:h val="0.845820714985740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5</c:f>
              <c:strCache>
                <c:ptCount val="4"/>
                <c:pt idx="0">
                  <c:v>Otros</c:v>
                </c:pt>
                <c:pt idx="1">
                  <c:v>Hijo</c:v>
                </c:pt>
                <c:pt idx="2">
                  <c:v>Ama de casa</c:v>
                </c:pt>
                <c:pt idx="3">
                  <c:v>Jefe de hogar</c:v>
                </c:pt>
              </c:strCache>
            </c:strRef>
          </c:cat>
          <c:val>
            <c:numRef>
              <c:f>Hoja1!$B$2:$B$5</c:f>
              <c:numCache>
                <c:formatCode>0%</c:formatCode>
                <c:ptCount val="4"/>
                <c:pt idx="0">
                  <c:v>0.03</c:v>
                </c:pt>
                <c:pt idx="1">
                  <c:v>0.31</c:v>
                </c:pt>
                <c:pt idx="2">
                  <c:v>0.28999999999999998</c:v>
                </c:pt>
                <c:pt idx="3">
                  <c:v>0.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02A-408F-B8BA-3B7BFD464A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565724432"/>
        <c:axId val="-565729328"/>
      </c:barChart>
      <c:catAx>
        <c:axId val="-56572443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65729328"/>
        <c:crosses val="autoZero"/>
        <c:auto val="1"/>
        <c:lblAlgn val="ctr"/>
        <c:lblOffset val="100"/>
        <c:noMultiLvlLbl val="0"/>
      </c:catAx>
      <c:valAx>
        <c:axId val="-565729328"/>
        <c:scaling>
          <c:orientation val="minMax"/>
          <c:max val="0.5"/>
        </c:scaling>
        <c:delete val="1"/>
        <c:axPos val="b"/>
        <c:numFmt formatCode="0%" sourceLinked="1"/>
        <c:majorTickMark val="out"/>
        <c:minorTickMark val="none"/>
        <c:tickLblPos val="nextTo"/>
        <c:crossAx val="-565724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Corbel" panose="020B0503020204020204" pitchFamily="34" charset="0"/>
        </a:defRPr>
      </a:pPr>
      <a:endParaRPr lang="es-P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294785793288328E-2"/>
          <c:y val="0.27513134207237244"/>
          <c:w val="0.91154559916235323"/>
          <c:h val="0.552474633691952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02</c:v>
                </c:pt>
              </c:strCache>
            </c:strRef>
          </c:tx>
          <c:spPr>
            <a:solidFill>
              <a:srgbClr val="0087C8"/>
            </a:solidFill>
          </c:spPr>
          <c:invertIfNegative val="1"/>
          <c:dPt>
            <c:idx val="16"/>
            <c:invertIfNegative val="1"/>
            <c:bubble3D val="0"/>
            <c:spPr>
              <a:solidFill>
                <a:schemeClr val="accent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31</c:v>
                </c:pt>
                <c:pt idx="1">
                  <c:v>0.28999999999999998</c:v>
                </c:pt>
                <c:pt idx="2">
                  <c:v>0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0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C$2:$C$4</c:f>
              <c:numCache>
                <c:formatCode>0%</c:formatCode>
                <c:ptCount val="3"/>
                <c:pt idx="0">
                  <c:v>0.25</c:v>
                </c:pt>
                <c:pt idx="1">
                  <c:v>0.26</c:v>
                </c:pt>
                <c:pt idx="2">
                  <c:v>0.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548-4657-8238-FDE365A1314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06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D$2:$D$4</c:f>
              <c:numCache>
                <c:formatCode>0%</c:formatCode>
                <c:ptCount val="3"/>
                <c:pt idx="0">
                  <c:v>0.47</c:v>
                </c:pt>
                <c:pt idx="1">
                  <c:v>0.3</c:v>
                </c:pt>
                <c:pt idx="2">
                  <c:v>0.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F548-4657-8238-FDE365A13145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2008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E$2:$E$4</c:f>
              <c:numCache>
                <c:formatCode>0%</c:formatCode>
                <c:ptCount val="3"/>
                <c:pt idx="0">
                  <c:v>0.36</c:v>
                </c:pt>
                <c:pt idx="1">
                  <c:v>0.37</c:v>
                </c:pt>
                <c:pt idx="2">
                  <c:v>0.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548-4657-8238-FDE365A13145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2010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F$2:$F$4</c:f>
              <c:numCache>
                <c:formatCode>0%</c:formatCode>
                <c:ptCount val="3"/>
                <c:pt idx="0">
                  <c:v>0.41</c:v>
                </c:pt>
                <c:pt idx="1">
                  <c:v>0.51</c:v>
                </c:pt>
                <c:pt idx="2">
                  <c:v>0.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548-4657-8238-FDE365A13145}"/>
            </c:ext>
          </c:extLst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G$2:$G$4</c:f>
              <c:numCache>
                <c:formatCode>0%</c:formatCode>
                <c:ptCount val="3"/>
                <c:pt idx="0">
                  <c:v>0.61</c:v>
                </c:pt>
                <c:pt idx="1">
                  <c:v>0.47</c:v>
                </c:pt>
                <c:pt idx="2">
                  <c:v>0.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F548-4657-8238-FDE365A13145}"/>
            </c:ext>
          </c:extLst>
        </c:ser>
        <c:ser>
          <c:idx val="6"/>
          <c:order val="6"/>
          <c:tx>
            <c:strRef>
              <c:f>Hoja1!$H$1</c:f>
              <c:strCache>
                <c:ptCount val="1"/>
                <c:pt idx="0">
                  <c:v>2013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H$2:$H$4</c:f>
              <c:numCache>
                <c:formatCode>0%</c:formatCode>
                <c:ptCount val="3"/>
                <c:pt idx="0">
                  <c:v>0.63</c:v>
                </c:pt>
                <c:pt idx="1">
                  <c:v>0.44</c:v>
                </c:pt>
                <c:pt idx="2">
                  <c:v>0.2899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F548-4657-8238-FDE365A13145}"/>
            </c:ext>
          </c:extLst>
        </c:ser>
        <c:ser>
          <c:idx val="7"/>
          <c:order val="7"/>
          <c:tx>
            <c:strRef>
              <c:f>Hoja1!$I$1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I$2:$I$4</c:f>
              <c:numCache>
                <c:formatCode>0%</c:formatCode>
                <c:ptCount val="3"/>
                <c:pt idx="0">
                  <c:v>0.62</c:v>
                </c:pt>
                <c:pt idx="1">
                  <c:v>0.46</c:v>
                </c:pt>
                <c:pt idx="2">
                  <c:v>0.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F548-4657-8238-FDE365A13145}"/>
            </c:ext>
          </c:extLst>
        </c:ser>
        <c:ser>
          <c:idx val="8"/>
          <c:order val="8"/>
          <c:tx>
            <c:strRef>
              <c:f>Hoja1!$J$1</c:f>
              <c:strCache>
                <c:ptCount val="1"/>
                <c:pt idx="0">
                  <c:v>2017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J$2:$J$4</c:f>
              <c:numCache>
                <c:formatCode>0%</c:formatCode>
                <c:ptCount val="3"/>
                <c:pt idx="0">
                  <c:v>0.56999999999999995</c:v>
                </c:pt>
                <c:pt idx="1">
                  <c:v>0.52</c:v>
                </c:pt>
                <c:pt idx="2">
                  <c:v>0.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F548-4657-8238-FDE365A13145}"/>
            </c:ext>
          </c:extLst>
        </c:ser>
        <c:ser>
          <c:idx val="9"/>
          <c:order val="9"/>
          <c:tx>
            <c:strRef>
              <c:f>Hoja1!$K$1</c:f>
              <c:strCache>
                <c:ptCount val="1"/>
                <c:pt idx="0">
                  <c:v>2019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1">
                    <a:solidFill>
                      <a:srgbClr val="FF0000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4</c:f>
              <c:strCache>
                <c:ptCount val="3"/>
                <c:pt idx="0">
                  <c:v>Delincuencia/ Falta de seguridad</c:v>
                </c:pt>
                <c:pt idx="1">
                  <c:v>Corrupción/ coimas</c:v>
                </c:pt>
                <c:pt idx="2">
                  <c:v>Desempleo/ Falta de trabajo</c:v>
                </c:pt>
              </c:strCache>
            </c:strRef>
          </c:cat>
          <c:val>
            <c:numRef>
              <c:f>Hoja1!$K$2:$K$4</c:f>
              <c:numCache>
                <c:formatCode>0%</c:formatCode>
                <c:ptCount val="3"/>
                <c:pt idx="0">
                  <c:v>0.66</c:v>
                </c:pt>
                <c:pt idx="1">
                  <c:v>0.61499999999999999</c:v>
                </c:pt>
                <c:pt idx="2">
                  <c:v>0.2939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F548-4657-8238-FDE365A131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-565734768"/>
        <c:axId val="-565721712"/>
      </c:barChart>
      <c:catAx>
        <c:axId val="-5657347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>
                <a:latin typeface="Corbel" panose="020B0503020204020204" pitchFamily="34" charset="0"/>
              </a:defRPr>
            </a:pPr>
            <a:endParaRPr lang="es-PE"/>
          </a:p>
        </c:txPr>
        <c:crossAx val="-565721712"/>
        <c:crosses val="autoZero"/>
        <c:auto val="1"/>
        <c:lblAlgn val="ctr"/>
        <c:lblOffset val="100"/>
        <c:noMultiLvlLbl val="0"/>
      </c:catAx>
      <c:valAx>
        <c:axId val="-56572171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565734768"/>
        <c:crosses val="autoZero"/>
        <c:crossBetween val="between"/>
      </c:valAx>
    </c:plotArea>
    <c:legend>
      <c:legendPos val="l"/>
      <c:layout>
        <c:manualLayout>
          <c:xMode val="edge"/>
          <c:yMode val="edge"/>
          <c:x val="7.599060555700532E-2"/>
          <c:y val="5.9195133931156343E-2"/>
          <c:w val="0.90465626017468748"/>
          <c:h val="0.11829229657252402"/>
        </c:manualLayout>
      </c:layout>
      <c:overlay val="0"/>
      <c:txPr>
        <a:bodyPr/>
        <a:lstStyle/>
        <a:p>
          <a:pPr>
            <a:defRPr>
              <a:latin typeface="Corbel" panose="020B0503020204020204" pitchFamily="34" charset="0"/>
            </a:defRPr>
          </a:pPr>
          <a:endParaRPr lang="es-P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160514541387051E-2"/>
          <c:y val="6.834887334887337E-3"/>
          <c:w val="0.65360587609697873"/>
          <c:h val="0.969123833757421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solidFill>
              <a:srgbClr val="8EA9A3"/>
            </a:solidFill>
          </c:spPr>
          <c:invertIfNegative val="1"/>
          <c:dPt>
            <c:idx val="16"/>
            <c:invertIfNegative val="1"/>
            <c:bubble3D val="0"/>
            <c:spPr>
              <a:solidFill>
                <a:schemeClr val="accent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1</c:f>
              <c:strCache>
                <c:ptCount val="10"/>
                <c:pt idx="0">
                  <c:v>Que una autoridad elegida entregue contratos de grandes obras públicas a empresarios que financiaron su campaña</c:v>
                </c:pt>
                <c:pt idx="1">
                  <c:v>Dar bienes o pagar una “propina” para que le perdonen una multa o para agilizar un trámite o servicio público</c:v>
                </c:pt>
                <c:pt idx="2">
                  <c:v>Que una autoridad elegida coloque a simpatizantes poco calificados en puestos clave</c:v>
                </c:pt>
                <c:pt idx="3">
                  <c:v>Evadir impuestos si sabe que no lo descubrirán</c:v>
                </c:pt>
                <c:pt idx="4">
                  <c:v>No pedir factura para evitar el IGV</c:v>
                </c:pt>
                <c:pt idx="5">
                  <c:v>Que un parlamentario promueva leyes a favor de quienes financiaron su campaña política</c:v>
                </c:pt>
                <c:pt idx="6">
                  <c:v>Que un magistrado supremo influya en las decisiones de jueces o fiscales de menor jerarquía para favorecer a sus allegados</c:v>
                </c:pt>
                <c:pt idx="7">
                  <c:v>Comprar productos piratas o instalar servicios piratas (cable, Internet, etc.)</c:v>
                </c:pt>
                <c:pt idx="8">
                  <c:v>Buscar un pariente o amigo que es funcionario público para que lo favorezca en un servicio</c:v>
                </c:pt>
                <c:pt idx="9">
                  <c:v>Pedir un favor sexual a cambio de un trámite o servicio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0">
                  <c:v>0.34100000000000003</c:v>
                </c:pt>
                <c:pt idx="1">
                  <c:v>0.34</c:v>
                </c:pt>
                <c:pt idx="2">
                  <c:v>0.33200000000000002</c:v>
                </c:pt>
                <c:pt idx="3">
                  <c:v>0.32200000000000001</c:v>
                </c:pt>
                <c:pt idx="4">
                  <c:v>0.32</c:v>
                </c:pt>
                <c:pt idx="5">
                  <c:v>0.316</c:v>
                </c:pt>
                <c:pt idx="6">
                  <c:v>0.315</c:v>
                </c:pt>
                <c:pt idx="7">
                  <c:v>0.315</c:v>
                </c:pt>
                <c:pt idx="8">
                  <c:v>0.29199999999999998</c:v>
                </c:pt>
                <c:pt idx="9">
                  <c:v>0.233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5"/>
        <c:axId val="-565734224"/>
        <c:axId val="-565733136"/>
      </c:barChart>
      <c:catAx>
        <c:axId val="-56573422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one"/>
        <c:crossAx val="-565733136"/>
        <c:crosses val="autoZero"/>
        <c:auto val="1"/>
        <c:lblAlgn val="ctr"/>
        <c:lblOffset val="100"/>
        <c:noMultiLvlLbl val="0"/>
      </c:catAx>
      <c:valAx>
        <c:axId val="-565733136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one"/>
        <c:crossAx val="-5657342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E$5:$G$5</c:f>
              <c:strCache>
                <c:ptCount val="3"/>
                <c:pt idx="0">
                  <c:v>Costa</c:v>
                </c:pt>
                <c:pt idx="1">
                  <c:v>Sierra </c:v>
                </c:pt>
                <c:pt idx="2">
                  <c:v>Oriente</c:v>
                </c:pt>
              </c:strCache>
            </c:strRef>
          </c:cat>
          <c:val>
            <c:numRef>
              <c:f>Hoja1!$E$6:$G$6</c:f>
              <c:numCache>
                <c:formatCode>0%</c:formatCode>
                <c:ptCount val="3"/>
                <c:pt idx="0">
                  <c:v>0.37</c:v>
                </c:pt>
                <c:pt idx="1">
                  <c:v>0.27</c:v>
                </c:pt>
                <c:pt idx="2">
                  <c:v>0.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608-4E79-AD50-990957F9319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565724976"/>
        <c:axId val="-565727152"/>
      </c:barChart>
      <c:catAx>
        <c:axId val="-565724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65727152"/>
        <c:crosses val="autoZero"/>
        <c:auto val="1"/>
        <c:lblAlgn val="ctr"/>
        <c:lblOffset val="100"/>
        <c:noMultiLvlLbl val="0"/>
      </c:catAx>
      <c:valAx>
        <c:axId val="-56572715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565724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PE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7099031991077E-2"/>
          <c:y val="0.1769429264278079"/>
          <c:w val="0.99805655623168099"/>
          <c:h val="0.5631376795978644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6</c:f>
              <c:strCache>
                <c:ptCount val="4"/>
                <c:pt idx="0">
                  <c:v>Ha aumentado</c:v>
                </c:pt>
                <c:pt idx="1">
                  <c:v>Sigue igual</c:v>
                </c:pt>
                <c:pt idx="2">
                  <c:v>Ha disminuido</c:v>
                </c:pt>
                <c:pt idx="3">
                  <c:v>NS/NP</c:v>
                </c:pt>
              </c:strCache>
            </c:strRef>
          </c:cat>
          <c:val>
            <c:numRef>
              <c:f>Hoja1!$B$2:$B$16</c:f>
              <c:numCache>
                <c:formatCode>0%</c:formatCode>
                <c:ptCount val="4"/>
                <c:pt idx="0">
                  <c:v>0.78</c:v>
                </c:pt>
                <c:pt idx="1">
                  <c:v>0.18</c:v>
                </c:pt>
                <c:pt idx="2">
                  <c:v>0.03</c:v>
                </c:pt>
                <c:pt idx="3">
                  <c:v>0.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F3-4926-9F21-67BBC39C091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6</c:f>
              <c:strCache>
                <c:ptCount val="4"/>
                <c:pt idx="0">
                  <c:v>Ha aumentado</c:v>
                </c:pt>
                <c:pt idx="1">
                  <c:v>Sigue igual</c:v>
                </c:pt>
                <c:pt idx="2">
                  <c:v>Ha disminuido</c:v>
                </c:pt>
                <c:pt idx="3">
                  <c:v>NS/NP</c:v>
                </c:pt>
              </c:strCache>
            </c:strRef>
          </c:cat>
          <c:val>
            <c:numRef>
              <c:f>Hoja1!$C$2:$C$16</c:f>
              <c:numCache>
                <c:formatCode>0%</c:formatCode>
                <c:ptCount val="4"/>
                <c:pt idx="0">
                  <c:v>0.71</c:v>
                </c:pt>
                <c:pt idx="1">
                  <c:v>0.24</c:v>
                </c:pt>
                <c:pt idx="2">
                  <c:v>0.04</c:v>
                </c:pt>
                <c:pt idx="3">
                  <c:v>0.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240-4CB5-9E74-E8BA70162DC3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s-ES" sz="1600" b="0" i="0" u="none" strike="noStrike" kern="1200" baseline="0">
                    <a:solidFill>
                      <a:srgbClr val="000000"/>
                    </a:solidFill>
                    <a:latin typeface="Corbel" panose="020B0503020204020204" pitchFamily="34" charset="0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6</c:f>
              <c:strCache>
                <c:ptCount val="4"/>
                <c:pt idx="0">
                  <c:v>Ha aumentado</c:v>
                </c:pt>
                <c:pt idx="1">
                  <c:v>Sigue igual</c:v>
                </c:pt>
                <c:pt idx="2">
                  <c:v>Ha disminuido</c:v>
                </c:pt>
                <c:pt idx="3">
                  <c:v>NS/NP</c:v>
                </c:pt>
              </c:strCache>
            </c:strRef>
          </c:cat>
          <c:val>
            <c:numRef>
              <c:f>Hoja1!$D$2:$D$16</c:f>
              <c:numCache>
                <c:formatCode>0%</c:formatCode>
                <c:ptCount val="4"/>
                <c:pt idx="0">
                  <c:v>0.7340000000000001</c:v>
                </c:pt>
                <c:pt idx="1">
                  <c:v>0.22800000000000001</c:v>
                </c:pt>
                <c:pt idx="2">
                  <c:v>3.5000000000000003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FCE-42C0-B5F1-DB60960205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565726064"/>
        <c:axId val="-565732048"/>
      </c:barChart>
      <c:catAx>
        <c:axId val="-565726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65732048"/>
        <c:crosses val="autoZero"/>
        <c:auto val="0"/>
        <c:lblAlgn val="ctr"/>
        <c:lblOffset val="100"/>
        <c:noMultiLvlLbl val="1"/>
      </c:catAx>
      <c:valAx>
        <c:axId val="-56573204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600" b="0" i="0" u="none" strike="noStrike" kern="1200" baseline="0">
                <a:solidFill>
                  <a:srgbClr val="000000"/>
                </a:solidFill>
                <a:latin typeface="Corbel" panose="020B0503020204020204" pitchFamily="34" charset="0"/>
                <a:ea typeface="+mn-ea"/>
                <a:cs typeface="+mn-cs"/>
              </a:defRPr>
            </a:pPr>
            <a:endParaRPr lang="es-PE"/>
          </a:p>
        </c:txPr>
        <c:crossAx val="-565726064"/>
        <c:crossesAt val="1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436174318621896"/>
          <c:y val="6.8590939607187318E-2"/>
          <c:w val="0.33446550318779794"/>
          <c:h val="0.106324279605470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s-ES" sz="1800" b="0" i="0" u="none" strike="noStrike" kern="1200" baseline="0">
              <a:solidFill>
                <a:srgbClr val="000000"/>
              </a:solidFill>
              <a:latin typeface="Corbel" panose="020B0503020204020204" pitchFamily="34" charset="0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lvl="0" algn="l" defTabSz="914400" rtl="0" eaLnBrk="1" latinLnBrk="0" hangingPunct="1">
        <a:defRPr lang="es-ES" sz="1600" kern="1200">
          <a:solidFill>
            <a:srgbClr val="000000"/>
          </a:solidFill>
          <a:latin typeface="Corbel" panose="020B0503020204020204" pitchFamily="34" charset="0"/>
          <a:ea typeface="+mn-ea"/>
          <a:cs typeface="+mn-cs"/>
        </a:defRPr>
      </a:pPr>
      <a:endParaRPr lang="es-P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294785793288328E-2"/>
          <c:y val="0.19963840888460899"/>
          <c:w val="0.91154559916235323"/>
          <c:h val="0.6279675668797156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S/NP</c:v>
                </c:pt>
              </c:strCache>
            </c:strRef>
          </c:tx>
          <c:spPr>
            <a:solidFill>
              <a:srgbClr val="CCC4A3"/>
            </a:solidFill>
          </c:spPr>
          <c:invertIfNegative val="1"/>
          <c:dPt>
            <c:idx val="16"/>
            <c:invertIfNegative val="1"/>
            <c:bubble3D val="0"/>
            <c:spPr>
              <a:solidFill>
                <a:schemeClr val="accent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6D-441B-B06E-227266918A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tx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0</c:f>
              <c:strCache>
                <c:ptCount val="9"/>
                <c:pt idx="0">
                  <c:v>2004</c:v>
                </c:pt>
                <c:pt idx="1">
                  <c:v>2006</c:v>
                </c:pt>
                <c:pt idx="2">
                  <c:v>2008</c:v>
                </c:pt>
                <c:pt idx="3">
                  <c:v>2010</c:v>
                </c:pt>
                <c:pt idx="4">
                  <c:v>2012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strCache>
            </c:strRef>
          </c:cat>
          <c:val>
            <c:numRef>
              <c:f>Hoja1!$B$2:$B$10</c:f>
              <c:numCache>
                <c:formatCode>0%</c:formatCode>
                <c:ptCount val="9"/>
                <c:pt idx="0">
                  <c:v>0.09</c:v>
                </c:pt>
                <c:pt idx="1">
                  <c:v>0.13</c:v>
                </c:pt>
                <c:pt idx="2">
                  <c:v>0.06</c:v>
                </c:pt>
                <c:pt idx="3">
                  <c:v>0.12</c:v>
                </c:pt>
                <c:pt idx="4">
                  <c:v>0.05</c:v>
                </c:pt>
                <c:pt idx="5">
                  <c:v>0.05</c:v>
                </c:pt>
                <c:pt idx="6">
                  <c:v>0.13</c:v>
                </c:pt>
                <c:pt idx="7">
                  <c:v>0.05</c:v>
                </c:pt>
                <c:pt idx="8">
                  <c:v>5.399999999999999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6D-441B-B06E-227266918A11}"/>
            </c:ex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</c14:spPr>
              </c14:invertSolidFillFmt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Habrá disminuido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tx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0</c:f>
              <c:strCache>
                <c:ptCount val="9"/>
                <c:pt idx="0">
                  <c:v>2004</c:v>
                </c:pt>
                <c:pt idx="1">
                  <c:v>2006</c:v>
                </c:pt>
                <c:pt idx="2">
                  <c:v>2008</c:v>
                </c:pt>
                <c:pt idx="3">
                  <c:v>2010</c:v>
                </c:pt>
                <c:pt idx="4">
                  <c:v>2012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strCache>
            </c:strRef>
          </c:cat>
          <c:val>
            <c:numRef>
              <c:f>Hoja1!$C$2:$C$10</c:f>
              <c:numCache>
                <c:formatCode>0%</c:formatCode>
                <c:ptCount val="9"/>
                <c:pt idx="0">
                  <c:v>0.08</c:v>
                </c:pt>
                <c:pt idx="1">
                  <c:v>0.21</c:v>
                </c:pt>
                <c:pt idx="2">
                  <c:v>0.09</c:v>
                </c:pt>
                <c:pt idx="3">
                  <c:v>0.11</c:v>
                </c:pt>
                <c:pt idx="4">
                  <c:v>0.18</c:v>
                </c:pt>
                <c:pt idx="5">
                  <c:v>0.06</c:v>
                </c:pt>
                <c:pt idx="6">
                  <c:v>7.0000000000000007E-2</c:v>
                </c:pt>
                <c:pt idx="7">
                  <c:v>0.12</c:v>
                </c:pt>
                <c:pt idx="8">
                  <c:v>0.1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BA1-45D8-95DC-B123B6301FA3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Seguirá igual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0</c:f>
              <c:strCache>
                <c:ptCount val="9"/>
                <c:pt idx="0">
                  <c:v>2004</c:v>
                </c:pt>
                <c:pt idx="1">
                  <c:v>2006</c:v>
                </c:pt>
                <c:pt idx="2">
                  <c:v>2008</c:v>
                </c:pt>
                <c:pt idx="3">
                  <c:v>2010</c:v>
                </c:pt>
                <c:pt idx="4">
                  <c:v>2012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strCache>
            </c:strRef>
          </c:cat>
          <c:val>
            <c:numRef>
              <c:f>Hoja1!$D$2:$D$10</c:f>
              <c:numCache>
                <c:formatCode>0%</c:formatCode>
                <c:ptCount val="9"/>
                <c:pt idx="0">
                  <c:v>0.4</c:v>
                </c:pt>
                <c:pt idx="1">
                  <c:v>0.36</c:v>
                </c:pt>
                <c:pt idx="2">
                  <c:v>0.42</c:v>
                </c:pt>
                <c:pt idx="3">
                  <c:v>0.38</c:v>
                </c:pt>
                <c:pt idx="4">
                  <c:v>0.43</c:v>
                </c:pt>
                <c:pt idx="5">
                  <c:v>0.34</c:v>
                </c:pt>
                <c:pt idx="6">
                  <c:v>0.27</c:v>
                </c:pt>
                <c:pt idx="7">
                  <c:v>0.35</c:v>
                </c:pt>
                <c:pt idx="8">
                  <c:v>0.395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BA1-45D8-95DC-B123B6301FA3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Habrá aumentado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  <a:latin typeface="Corbel" panose="020B0503020204020204" pitchFamily="34" charset="0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10</c:f>
              <c:strCache>
                <c:ptCount val="9"/>
                <c:pt idx="0">
                  <c:v>2004</c:v>
                </c:pt>
                <c:pt idx="1">
                  <c:v>2006</c:v>
                </c:pt>
                <c:pt idx="2">
                  <c:v>2008</c:v>
                </c:pt>
                <c:pt idx="3">
                  <c:v>2010</c:v>
                </c:pt>
                <c:pt idx="4">
                  <c:v>2012</c:v>
                </c:pt>
                <c:pt idx="5">
                  <c:v>2013</c:v>
                </c:pt>
                <c:pt idx="6">
                  <c:v>2015</c:v>
                </c:pt>
                <c:pt idx="7">
                  <c:v>2017</c:v>
                </c:pt>
                <c:pt idx="8">
                  <c:v>2019</c:v>
                </c:pt>
              </c:strCache>
            </c:strRef>
          </c:cat>
          <c:val>
            <c:numRef>
              <c:f>Hoja1!$E$2:$E$10</c:f>
              <c:numCache>
                <c:formatCode>0%</c:formatCode>
                <c:ptCount val="9"/>
                <c:pt idx="0">
                  <c:v>0.43</c:v>
                </c:pt>
                <c:pt idx="1">
                  <c:v>0.3</c:v>
                </c:pt>
                <c:pt idx="2">
                  <c:v>0.43</c:v>
                </c:pt>
                <c:pt idx="3">
                  <c:v>0.39</c:v>
                </c:pt>
                <c:pt idx="4">
                  <c:v>0.34</c:v>
                </c:pt>
                <c:pt idx="5">
                  <c:v>0.55000000000000004</c:v>
                </c:pt>
                <c:pt idx="6">
                  <c:v>0.53</c:v>
                </c:pt>
                <c:pt idx="7">
                  <c:v>0.49</c:v>
                </c:pt>
                <c:pt idx="8">
                  <c:v>0.397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BA1-45D8-95DC-B123B6301F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-565730960"/>
        <c:axId val="-563302512"/>
      </c:barChart>
      <c:catAx>
        <c:axId val="-5657309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>
                <a:latin typeface="Corbel" panose="020B0503020204020204" pitchFamily="34" charset="0"/>
              </a:defRPr>
            </a:pPr>
            <a:endParaRPr lang="es-PE"/>
          </a:p>
        </c:txPr>
        <c:crossAx val="-563302512"/>
        <c:crosses val="autoZero"/>
        <c:auto val="1"/>
        <c:lblAlgn val="ctr"/>
        <c:lblOffset val="100"/>
        <c:noMultiLvlLbl val="0"/>
      </c:catAx>
      <c:valAx>
        <c:axId val="-56330251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-5657309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34055041837440153"/>
          <c:y val="6.2893585140110925E-2"/>
          <c:w val="0.65944958162559852"/>
          <c:h val="9.3941653190070265E-2"/>
        </c:manualLayout>
      </c:layout>
      <c:overlay val="0"/>
      <c:txPr>
        <a:bodyPr/>
        <a:lstStyle/>
        <a:p>
          <a:pPr>
            <a:defRPr sz="1600"/>
          </a:pPr>
          <a:endParaRPr lang="es-P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77858E-9A15-4CB6-B875-01152EF9B81F}" type="datetimeFigureOut">
              <a:rPr lang="es-PE" smtClean="0"/>
              <a:t>5/12/2019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36F383-DF1A-4AE6-8D38-872F6505F4C3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918183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F961A7-5D15-4096-9A45-693ADB9E083A}" type="datetimeFigureOut">
              <a:rPr lang="es-PE" smtClean="0"/>
              <a:t>5/12/2019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DA237B-E9E3-4EDF-8E2E-042A7196A3EE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441019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9563" y="809625"/>
            <a:ext cx="7188201" cy="4044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4268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1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548532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15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322942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34950" y="815975"/>
            <a:ext cx="7261225" cy="4084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39238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1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680422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18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2871836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34950" y="815975"/>
            <a:ext cx="7261225" cy="4084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97312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8D1150E-B58B-4800-90BC-5103C4AE7551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20</a:t>
            </a:fld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0" name="Rectangle 7"/>
          <p:cNvSpPr txBox="1">
            <a:spLocks noGrp="1" noChangeArrowheads="1"/>
          </p:cNvSpPr>
          <p:nvPr/>
        </p:nvSpPr>
        <p:spPr bwMode="auto">
          <a:xfrm>
            <a:off x="3801418" y="9342159"/>
            <a:ext cx="2906963" cy="49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34" tIns="45219" rIns="90434" bIns="45219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685800" indent="-263525">
              <a:defRPr>
                <a:solidFill>
                  <a:schemeClr val="tx1"/>
                </a:solidFill>
                <a:latin typeface="Arial" charset="0"/>
              </a:defRPr>
            </a:lvl2pPr>
            <a:lvl3pPr marL="1055688" indent="-211138">
              <a:defRPr>
                <a:solidFill>
                  <a:schemeClr val="tx1"/>
                </a:solidFill>
                <a:latin typeface="Arial" charset="0"/>
              </a:defRPr>
            </a:lvl3pPr>
            <a:lvl4pPr marL="1476375" indent="-209550">
              <a:defRPr>
                <a:solidFill>
                  <a:schemeClr val="tx1"/>
                </a:solidFill>
                <a:latin typeface="Arial" charset="0"/>
              </a:defRPr>
            </a:lvl4pPr>
            <a:lvl5pPr marL="1898650" indent="-211138">
              <a:defRPr>
                <a:solidFill>
                  <a:schemeClr val="tx1"/>
                </a:solidFill>
                <a:latin typeface="Arial" charset="0"/>
              </a:defRPr>
            </a:lvl5pPr>
            <a:lvl6pPr marL="23558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8130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702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7274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C0F273B9-DCD6-4EA5-8028-67E83C314090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algn="r"/>
              <a:t>20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3525" cy="3721100"/>
          </a:xfrm>
          <a:ln/>
        </p:spPr>
      </p:sp>
      <p:sp>
        <p:nvSpPr>
          <p:cNvPr id="555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4452" y="4671079"/>
            <a:ext cx="4919475" cy="4425233"/>
          </a:xfrm>
        </p:spPr>
        <p:txBody>
          <a:bodyPr lIns="90434" tIns="45219" rIns="90434" bIns="45219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1321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2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303026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2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3425092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2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81183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9563" y="809625"/>
            <a:ext cx="7188201" cy="4044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0487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8D1150E-B58B-4800-90BC-5103C4AE7551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24</a:t>
            </a:fld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0" name="Rectangle 7"/>
          <p:cNvSpPr txBox="1">
            <a:spLocks noGrp="1" noChangeArrowheads="1"/>
          </p:cNvSpPr>
          <p:nvPr/>
        </p:nvSpPr>
        <p:spPr bwMode="auto">
          <a:xfrm>
            <a:off x="3801418" y="9342159"/>
            <a:ext cx="2906963" cy="49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34" tIns="45219" rIns="90434" bIns="45219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685800" indent="-263525">
              <a:defRPr>
                <a:solidFill>
                  <a:schemeClr val="tx1"/>
                </a:solidFill>
                <a:latin typeface="Arial" charset="0"/>
              </a:defRPr>
            </a:lvl2pPr>
            <a:lvl3pPr marL="1055688" indent="-211138">
              <a:defRPr>
                <a:solidFill>
                  <a:schemeClr val="tx1"/>
                </a:solidFill>
                <a:latin typeface="Arial" charset="0"/>
              </a:defRPr>
            </a:lvl3pPr>
            <a:lvl4pPr marL="1476375" indent="-209550">
              <a:defRPr>
                <a:solidFill>
                  <a:schemeClr val="tx1"/>
                </a:solidFill>
                <a:latin typeface="Arial" charset="0"/>
              </a:defRPr>
            </a:lvl4pPr>
            <a:lvl5pPr marL="1898650" indent="-211138">
              <a:defRPr>
                <a:solidFill>
                  <a:schemeClr val="tx1"/>
                </a:solidFill>
                <a:latin typeface="Arial" charset="0"/>
              </a:defRPr>
            </a:lvl5pPr>
            <a:lvl6pPr marL="23558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8130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702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7274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C0F273B9-DCD6-4EA5-8028-67E83C314090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algn="r"/>
              <a:t>24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3525" cy="3721100"/>
          </a:xfrm>
          <a:ln/>
        </p:spPr>
      </p:sp>
      <p:sp>
        <p:nvSpPr>
          <p:cNvPr id="555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4452" y="4671079"/>
            <a:ext cx="4919475" cy="4425233"/>
          </a:xfrm>
        </p:spPr>
        <p:txBody>
          <a:bodyPr lIns="90434" tIns="45219" rIns="90434" bIns="45219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3993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34950" y="815975"/>
            <a:ext cx="7261225" cy="4084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07932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8D1150E-B58B-4800-90BC-5103C4AE7551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26</a:t>
            </a:fld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0" name="Rectangle 7"/>
          <p:cNvSpPr txBox="1">
            <a:spLocks noGrp="1" noChangeArrowheads="1"/>
          </p:cNvSpPr>
          <p:nvPr/>
        </p:nvSpPr>
        <p:spPr bwMode="auto">
          <a:xfrm>
            <a:off x="3801418" y="9342159"/>
            <a:ext cx="2906963" cy="49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34" tIns="45219" rIns="90434" bIns="45219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685800" indent="-263525">
              <a:defRPr>
                <a:solidFill>
                  <a:schemeClr val="tx1"/>
                </a:solidFill>
                <a:latin typeface="Arial" charset="0"/>
              </a:defRPr>
            </a:lvl2pPr>
            <a:lvl3pPr marL="1055688" indent="-211138">
              <a:defRPr>
                <a:solidFill>
                  <a:schemeClr val="tx1"/>
                </a:solidFill>
                <a:latin typeface="Arial" charset="0"/>
              </a:defRPr>
            </a:lvl3pPr>
            <a:lvl4pPr marL="1476375" indent="-209550">
              <a:defRPr>
                <a:solidFill>
                  <a:schemeClr val="tx1"/>
                </a:solidFill>
                <a:latin typeface="Arial" charset="0"/>
              </a:defRPr>
            </a:lvl4pPr>
            <a:lvl5pPr marL="1898650" indent="-211138">
              <a:defRPr>
                <a:solidFill>
                  <a:schemeClr val="tx1"/>
                </a:solidFill>
                <a:latin typeface="Arial" charset="0"/>
              </a:defRPr>
            </a:lvl5pPr>
            <a:lvl6pPr marL="23558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8130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702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7274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C0F273B9-DCD6-4EA5-8028-67E83C314090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algn="r"/>
              <a:t>26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3525" cy="3721100"/>
          </a:xfrm>
          <a:ln/>
        </p:spPr>
      </p:sp>
      <p:sp>
        <p:nvSpPr>
          <p:cNvPr id="555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4452" y="4671079"/>
            <a:ext cx="4919475" cy="4425233"/>
          </a:xfrm>
        </p:spPr>
        <p:txBody>
          <a:bodyPr lIns="90434" tIns="45219" rIns="90434" bIns="45219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5257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2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7339511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28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5319402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34950" y="815975"/>
            <a:ext cx="7261225" cy="4084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830432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3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9540958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3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39224986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34950" y="815975"/>
            <a:ext cx="7261225" cy="4084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94623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3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686530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45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>
                <a:solidFill>
                  <a:srgbClr val="EEECE1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rgbClr val="EEECE1"/>
                </a:solidFill>
              </a:rPr>
              <a:pPr/>
              <a:t>6</a:t>
            </a:fld>
            <a:endParaRPr lang="en-US" sz="800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64561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3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86645834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34950" y="815975"/>
            <a:ext cx="7261225" cy="4084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239630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8D1150E-B58B-4800-90BC-5103C4AE7551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36</a:t>
            </a:fld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0" name="Rectangle 7"/>
          <p:cNvSpPr txBox="1">
            <a:spLocks noGrp="1" noChangeArrowheads="1"/>
          </p:cNvSpPr>
          <p:nvPr/>
        </p:nvSpPr>
        <p:spPr bwMode="auto">
          <a:xfrm>
            <a:off x="3801418" y="9342159"/>
            <a:ext cx="2906963" cy="49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34" tIns="45219" rIns="90434" bIns="45219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685800" indent="-263525">
              <a:defRPr>
                <a:solidFill>
                  <a:schemeClr val="tx1"/>
                </a:solidFill>
                <a:latin typeface="Arial" charset="0"/>
              </a:defRPr>
            </a:lvl2pPr>
            <a:lvl3pPr marL="1055688" indent="-211138">
              <a:defRPr>
                <a:solidFill>
                  <a:schemeClr val="tx1"/>
                </a:solidFill>
                <a:latin typeface="Arial" charset="0"/>
              </a:defRPr>
            </a:lvl3pPr>
            <a:lvl4pPr marL="1476375" indent="-209550">
              <a:defRPr>
                <a:solidFill>
                  <a:schemeClr val="tx1"/>
                </a:solidFill>
                <a:latin typeface="Arial" charset="0"/>
              </a:defRPr>
            </a:lvl4pPr>
            <a:lvl5pPr marL="1898650" indent="-211138">
              <a:defRPr>
                <a:solidFill>
                  <a:schemeClr val="tx1"/>
                </a:solidFill>
                <a:latin typeface="Arial" charset="0"/>
              </a:defRPr>
            </a:lvl5pPr>
            <a:lvl6pPr marL="23558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8130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702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7274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C0F273B9-DCD6-4EA5-8028-67E83C314090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algn="r"/>
              <a:t>36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3525" cy="3721100"/>
          </a:xfrm>
          <a:ln/>
        </p:spPr>
      </p:sp>
      <p:sp>
        <p:nvSpPr>
          <p:cNvPr id="555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4452" y="4671079"/>
            <a:ext cx="4919475" cy="4425233"/>
          </a:xfrm>
        </p:spPr>
        <p:txBody>
          <a:bodyPr lIns="90434" tIns="45219" rIns="90434" bIns="45219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03218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8D1150E-B58B-4800-90BC-5103C4AE7551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37</a:t>
            </a:fld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0" name="Rectangle 7"/>
          <p:cNvSpPr txBox="1">
            <a:spLocks noGrp="1" noChangeArrowheads="1"/>
          </p:cNvSpPr>
          <p:nvPr/>
        </p:nvSpPr>
        <p:spPr bwMode="auto">
          <a:xfrm>
            <a:off x="3801418" y="9342159"/>
            <a:ext cx="2906963" cy="49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34" tIns="45219" rIns="90434" bIns="45219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685800" indent="-263525">
              <a:defRPr>
                <a:solidFill>
                  <a:schemeClr val="tx1"/>
                </a:solidFill>
                <a:latin typeface="Arial" charset="0"/>
              </a:defRPr>
            </a:lvl2pPr>
            <a:lvl3pPr marL="1055688" indent="-211138">
              <a:defRPr>
                <a:solidFill>
                  <a:schemeClr val="tx1"/>
                </a:solidFill>
                <a:latin typeface="Arial" charset="0"/>
              </a:defRPr>
            </a:lvl3pPr>
            <a:lvl4pPr marL="1476375" indent="-209550">
              <a:defRPr>
                <a:solidFill>
                  <a:schemeClr val="tx1"/>
                </a:solidFill>
                <a:latin typeface="Arial" charset="0"/>
              </a:defRPr>
            </a:lvl4pPr>
            <a:lvl5pPr marL="1898650" indent="-211138">
              <a:defRPr>
                <a:solidFill>
                  <a:schemeClr val="tx1"/>
                </a:solidFill>
                <a:latin typeface="Arial" charset="0"/>
              </a:defRPr>
            </a:lvl5pPr>
            <a:lvl6pPr marL="23558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8130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702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7274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C0F273B9-DCD6-4EA5-8028-67E83C314090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algn="r"/>
              <a:t>37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3525" cy="3721100"/>
          </a:xfrm>
          <a:ln/>
        </p:spPr>
      </p:sp>
      <p:sp>
        <p:nvSpPr>
          <p:cNvPr id="555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4452" y="4671079"/>
            <a:ext cx="4919475" cy="4425233"/>
          </a:xfrm>
        </p:spPr>
        <p:txBody>
          <a:bodyPr lIns="90434" tIns="45219" rIns="90434" bIns="45219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19691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34950" y="815975"/>
            <a:ext cx="7261225" cy="4084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28323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3525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rgbClr val="EEECE1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rgbClr val="EEECE1"/>
                </a:solidFill>
              </a:rPr>
              <a:pPr/>
              <a:t>39</a:t>
            </a:fld>
            <a:endParaRPr lang="en-US" sz="800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2885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40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820378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4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3892925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4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63315702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3995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45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>
                <a:solidFill>
                  <a:srgbClr val="EEECE1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rgbClr val="EEECE1"/>
                </a:solidFill>
              </a:rPr>
              <a:pPr/>
              <a:t>7</a:t>
            </a:fld>
            <a:endParaRPr lang="en-US" sz="800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88184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44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876265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14052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9563" y="809625"/>
            <a:ext cx="7188201" cy="4044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428724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9563" y="809625"/>
            <a:ext cx="7188201" cy="4044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559220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9563" y="809625"/>
            <a:ext cx="7188201" cy="4044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882532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09563" y="809625"/>
            <a:ext cx="7188201" cy="4044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76736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34950" y="815975"/>
            <a:ext cx="7261225" cy="4084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10148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34950" y="815975"/>
            <a:ext cx="7261225" cy="4084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91379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8D1150E-B58B-4800-90BC-5103C4AE7551}" type="slidenum">
              <a:rPr lang="en-US" smtClean="0">
                <a:solidFill>
                  <a:prstClr val="black"/>
                </a:solidFill>
                <a:latin typeface="Arial" pitchFamily="34" charset="0"/>
              </a:rPr>
              <a:pPr/>
              <a:t>10</a:t>
            </a:fld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0" name="Rectangle 7"/>
          <p:cNvSpPr txBox="1">
            <a:spLocks noGrp="1" noChangeArrowheads="1"/>
          </p:cNvSpPr>
          <p:nvPr/>
        </p:nvSpPr>
        <p:spPr bwMode="auto">
          <a:xfrm>
            <a:off x="3801418" y="9342159"/>
            <a:ext cx="2906963" cy="49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34" tIns="45219" rIns="90434" bIns="45219" anchor="b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685800" indent="-263525">
              <a:defRPr>
                <a:solidFill>
                  <a:schemeClr val="tx1"/>
                </a:solidFill>
                <a:latin typeface="Arial" charset="0"/>
              </a:defRPr>
            </a:lvl2pPr>
            <a:lvl3pPr marL="1055688" indent="-211138">
              <a:defRPr>
                <a:solidFill>
                  <a:schemeClr val="tx1"/>
                </a:solidFill>
                <a:latin typeface="Arial" charset="0"/>
              </a:defRPr>
            </a:lvl3pPr>
            <a:lvl4pPr marL="1476375" indent="-209550">
              <a:defRPr>
                <a:solidFill>
                  <a:schemeClr val="tx1"/>
                </a:solidFill>
                <a:latin typeface="Arial" charset="0"/>
              </a:defRPr>
            </a:lvl4pPr>
            <a:lvl5pPr marL="1898650" indent="-211138">
              <a:defRPr>
                <a:solidFill>
                  <a:schemeClr val="tx1"/>
                </a:solidFill>
                <a:latin typeface="Arial" charset="0"/>
              </a:defRPr>
            </a:lvl5pPr>
            <a:lvl6pPr marL="23558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8130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2702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727450" indent="-2111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C0F273B9-DCD6-4EA5-8028-67E83C314090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algn="r"/>
              <a:t>10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55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3525" cy="3721100"/>
          </a:xfrm>
          <a:ln/>
        </p:spPr>
      </p:sp>
      <p:sp>
        <p:nvSpPr>
          <p:cNvPr id="555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4452" y="4671079"/>
            <a:ext cx="4919475" cy="4425233"/>
          </a:xfrm>
        </p:spPr>
        <p:txBody>
          <a:bodyPr lIns="90434" tIns="45219" rIns="90434" bIns="45219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42145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46063" y="809625"/>
            <a:ext cx="7192963" cy="40465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 dirty="0">
                <a:solidFill>
                  <a:srgbClr val="EEECE1"/>
                </a:solidFill>
              </a:rPr>
              <a:t>Page </a:t>
            </a:r>
            <a:fld id="{631115FC-FCCC-412E-8B45-85A3F482063D}" type="slidenum">
              <a:rPr lang="en-US" sz="800">
                <a:solidFill>
                  <a:srgbClr val="EEECE1"/>
                </a:solidFill>
              </a:rPr>
              <a:pPr/>
              <a:t>11</a:t>
            </a:fld>
            <a:endParaRPr lang="en-US" sz="800" dirty="0">
              <a:solidFill>
                <a:srgbClr val="EEECE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141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1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305249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3BCAF4-0212-4423-80DA-A482C019B50C}" type="slidenum">
              <a:rPr lang="es-PE" smtClean="0"/>
              <a:t>13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771760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800" y="2372784"/>
            <a:ext cx="11328401" cy="1344257"/>
          </a:xfrm>
        </p:spPr>
        <p:txBody>
          <a:bodyPr anchor="b"/>
          <a:lstStyle>
            <a:lvl1pPr>
              <a:defRPr sz="48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799" y="3813054"/>
            <a:ext cx="11328403" cy="1535764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800" y="6117413"/>
            <a:ext cx="1132840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3"/>
          <p:cNvSpPr/>
          <p:nvPr userDrawn="1"/>
        </p:nvSpPr>
        <p:spPr bwMode="gray">
          <a:xfrm>
            <a:off x="0" y="6597650"/>
            <a:ext cx="12192000" cy="26035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5142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1220694"/>
            <a:ext cx="11329573" cy="3840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431214" y="1700760"/>
            <a:ext cx="3647604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4271746" y="1701800"/>
            <a:ext cx="3648508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 bwMode="gray">
          <a:xfrm>
            <a:off x="8112280" y="1701800"/>
            <a:ext cx="3648507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1972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02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431215" y="1700760"/>
            <a:ext cx="26883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 bwMode="gray">
          <a:xfrm>
            <a:off x="3311615" y="1700760"/>
            <a:ext cx="2688372" cy="460798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 bwMode="gray">
          <a:xfrm>
            <a:off x="6192014" y="1700760"/>
            <a:ext cx="2688373" cy="460694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9072414" y="1700760"/>
            <a:ext cx="2688373" cy="460590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21119585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431215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6192014" y="1700760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31215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6192014" y="4101093"/>
            <a:ext cx="5568773" cy="2208307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88852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en-US" sz="2133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2547" y="234242"/>
            <a:ext cx="1828799" cy="83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8279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9"/>
            <a:ext cx="11328399" cy="268563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2547" y="234242"/>
            <a:ext cx="1828799" cy="83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9110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802" y="1221319"/>
            <a:ext cx="11328399" cy="2688168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57131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1221318"/>
            <a:ext cx="11328400" cy="2688167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48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5036396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9155785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313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3515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3515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23515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3516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6192971" y="410132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113186" y="5445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113184" y="4869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8113184" y="5733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113290" y="6021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431371" y="1700810"/>
            <a:ext cx="1728192" cy="220824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3515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3515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3515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3516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6192971" y="1701800"/>
            <a:ext cx="1728192" cy="220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Picture</a:t>
            </a:r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8113186" y="3046305"/>
            <a:ext cx="3648404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113184" y="2470241"/>
            <a:ext cx="3648405" cy="576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113184" y="3334336"/>
            <a:ext cx="3648405" cy="288032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3290" y="3622368"/>
            <a:ext cx="3648301" cy="28668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6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800" y="1220755"/>
            <a:ext cx="11328400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351584" y="1701800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113184" y="1702432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2351584" y="4101093"/>
            <a:ext cx="3648405" cy="76844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113184" y="4101725"/>
            <a:ext cx="3648405" cy="768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840296" algn="l"/>
              </a:tabLst>
              <a:defRPr sz="1867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11470335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214" y="1316567"/>
            <a:ext cx="11329573" cy="2592917"/>
          </a:xfrm>
        </p:spPr>
        <p:txBody>
          <a:bodyPr anchor="b"/>
          <a:lstStyle>
            <a:lvl1pPr>
              <a:defRPr sz="48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8"/>
            <a:ext cx="11329259" cy="288032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8821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3" y="1316707"/>
            <a:ext cx="11328987" cy="5280943"/>
          </a:xfrm>
        </p:spPr>
        <p:txBody>
          <a:bodyPr/>
          <a:lstStyle/>
          <a:p>
            <a:r>
              <a:rPr lang="en-US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3240" y="2372785"/>
            <a:ext cx="10945520" cy="134425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2495" y="3813054"/>
            <a:ext cx="10946245" cy="1536213"/>
          </a:xfrm>
        </p:spPr>
        <p:txBody>
          <a:bodyPr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3241" y="6117373"/>
            <a:ext cx="10945520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2603347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526621" y="1269058"/>
            <a:ext cx="11329259" cy="5328592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8"/>
            <a:ext cx="113284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431801" y="638458"/>
            <a:ext cx="8447617" cy="64740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82427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>
          <a:xfrm>
            <a:off x="1487489" y="260648"/>
            <a:ext cx="7391929" cy="64740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7689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99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638458"/>
            <a:ext cx="8447617" cy="647402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8"/>
            <a:ext cx="113284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31371" y="1052736"/>
            <a:ext cx="5569380" cy="5328592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192014" y="1052736"/>
            <a:ext cx="5569380" cy="5328592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663429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431800" y="2205038"/>
            <a:ext cx="1727200" cy="2016050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6193367" y="2205038"/>
            <a:ext cx="1727200" cy="2016050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351479" y="3573017"/>
            <a:ext cx="3649271" cy="216023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351584" y="3140968"/>
            <a:ext cx="364916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2351584" y="2205039"/>
            <a:ext cx="3648405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351583" y="3789040"/>
            <a:ext cx="3649167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351690" y="4005064"/>
            <a:ext cx="3648301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112224" y="3573017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112224" y="3140969"/>
            <a:ext cx="3648405" cy="21676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112224" y="2205039"/>
            <a:ext cx="3648405" cy="935931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112224" y="3789040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112224" y="4005064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431371" y="4365626"/>
            <a:ext cx="17272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6192937" y="4365626"/>
            <a:ext cx="1727200" cy="2015703"/>
          </a:xfr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351584" y="5733734"/>
            <a:ext cx="364916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351584" y="5301209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2351584" y="4365625"/>
            <a:ext cx="3648405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2351584" y="5949237"/>
            <a:ext cx="364916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2351584" y="6164740"/>
            <a:ext cx="364916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112224" y="5733744"/>
            <a:ext cx="364840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112224" y="5301209"/>
            <a:ext cx="3648405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112224" y="4365625"/>
            <a:ext cx="3648405" cy="93558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112224" y="5949247"/>
            <a:ext cx="364840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8112224" y="6164750"/>
            <a:ext cx="3648405" cy="215535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638458"/>
            <a:ext cx="8447617" cy="64740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4061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11684000" y="1524000"/>
            <a:ext cx="5080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CB6E0AA-C8B1-4927-BB4E-D68A6ED6A46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E95E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310484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57249A6-3E01-474A-AE46-E39762F772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xmlns="" id="{243933AD-9063-48E8-8731-0CC09B5800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xmlns="" id="{A2FFABA9-51A2-49F8-B31C-96D2E59029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83E5E5B-A55A-4D76-845A-3615B85AA438}" type="datetimeFigureOut">
              <a:rPr lang="es-PE" smtClean="0"/>
              <a:t>5/12/2019</a:t>
            </a:fld>
            <a:endParaRPr lang="es-PE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xmlns="" id="{69564859-BC51-4637-A982-F9894765C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s-PE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xmlns="" id="{D46510AD-24AC-4603-AF05-76A762FDD5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B97346E-AE74-4A47-8B3F-8ABD32B45188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207805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431801" y="638458"/>
            <a:ext cx="8447617" cy="647402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800" y="6453188"/>
            <a:ext cx="11328400" cy="144462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431371" y="1052736"/>
            <a:ext cx="5569380" cy="5328592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6192014" y="1052736"/>
            <a:ext cx="5569380" cy="5328592"/>
          </a:xfrm>
        </p:spPr>
        <p:txBody>
          <a:bodyPr/>
          <a:lstStyle/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735917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31214" y="3429000"/>
            <a:ext cx="11329573" cy="28804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Click to the symbol to add a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31214" y="1220693"/>
            <a:ext cx="11329573" cy="1344187"/>
          </a:xfrm>
        </p:spPr>
        <p:txBody>
          <a:bodyPr anchor="b"/>
          <a:lstStyle>
            <a:lvl1pPr>
              <a:defRPr sz="48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1214" y="2660893"/>
            <a:ext cx="11329573" cy="576080"/>
          </a:xfrm>
        </p:spPr>
        <p:txBody>
          <a:bodyPr tIns="0"/>
          <a:lstStyle>
            <a:lvl1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1pPr>
            <a:lvl2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2pPr>
            <a:lvl3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3pPr>
            <a:lvl4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4pPr>
            <a:lvl5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5pPr>
            <a:lvl6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6pPr>
            <a:lvl7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667">
                <a:solidFill>
                  <a:schemeClr val="bg1"/>
                </a:solidFill>
              </a:defRPr>
            </a:lvl8pPr>
            <a:lvl9pPr marL="0" indent="0" algn="l">
              <a:spcBef>
                <a:spcPts val="800"/>
              </a:spcBef>
              <a:spcAft>
                <a:spcPts val="0"/>
              </a:spcAft>
              <a:buNone/>
              <a:defRPr sz="2667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6570171"/>
            <a:ext cx="12192000" cy="2878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371" y="6309400"/>
            <a:ext cx="11328829" cy="288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198372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479988" indent="-479988">
              <a:spcBef>
                <a:spcPts val="16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11327717" algn="r"/>
              </a:tabLst>
              <a:defRPr sz="2400">
                <a:solidFill>
                  <a:schemeClr val="tx1"/>
                </a:solidFill>
              </a:defRPr>
            </a:lvl1pPr>
            <a:lvl2pPr marL="478355" indent="0">
              <a:spcBef>
                <a:spcPts val="16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11039724" algn="r"/>
              </a:tabLst>
              <a:defRPr sz="2400">
                <a:solidFill>
                  <a:schemeClr val="bg2"/>
                </a:solidFill>
              </a:defRPr>
            </a:lvl2pPr>
            <a:lvl3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3pPr>
            <a:lvl4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4pPr>
            <a:lvl5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5pPr>
            <a:lvl6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6pPr>
            <a:lvl7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7pPr>
            <a:lvl8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8pPr>
            <a:lvl9pPr marL="479988" indent="0">
              <a:spcBef>
                <a:spcPts val="1600"/>
              </a:spcBef>
              <a:spcAft>
                <a:spcPts val="0"/>
              </a:spcAft>
              <a:buFontTx/>
              <a:buNone/>
              <a:defRPr sz="24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2380392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883"/>
            <a:ext cx="11329573" cy="1919747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/>
        </p:nvSpPr>
        <p:spPr bwMode="gray">
          <a:xfrm>
            <a:off x="0" y="1"/>
            <a:ext cx="12192000" cy="218016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>
              <a:solidFill>
                <a:schemeClr val="tx1"/>
              </a:solidFill>
              <a:latin typeface="Arial" pitchFamily="34" charset="0"/>
            </a:endParaRPr>
          </a:p>
        </p:txBody>
      </p:sp>
      <p:grpSp>
        <p:nvGrpSpPr>
          <p:cNvPr id="4" name="Gruppieren 4"/>
          <p:cNvGrpSpPr/>
          <p:nvPr userDrawn="1"/>
        </p:nvGrpSpPr>
        <p:grpSpPr bwMode="gray">
          <a:xfrm>
            <a:off x="-432907" y="908650"/>
            <a:ext cx="288040" cy="5688790"/>
            <a:chOff x="-540710" y="908650"/>
            <a:chExt cx="432060" cy="5688790"/>
          </a:xfrm>
        </p:grpSpPr>
        <p:cxnSp>
          <p:nvCxnSpPr>
            <p:cNvPr id="5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11"/>
          <p:cNvGrpSpPr/>
          <p:nvPr userDrawn="1"/>
        </p:nvGrpSpPr>
        <p:grpSpPr bwMode="gray">
          <a:xfrm>
            <a:off x="431800" y="-315520"/>
            <a:ext cx="11328987" cy="216030"/>
            <a:chOff x="323850" y="-531550"/>
            <a:chExt cx="8496740" cy="432060"/>
          </a:xfrm>
        </p:grpSpPr>
        <p:cxnSp>
          <p:nvCxnSpPr>
            <p:cNvPr id="11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24"/>
          <p:cNvGrpSpPr/>
          <p:nvPr userDrawn="1"/>
        </p:nvGrpSpPr>
        <p:grpSpPr bwMode="gray">
          <a:xfrm>
            <a:off x="431213" y="6957490"/>
            <a:ext cx="11328987" cy="216030"/>
            <a:chOff x="323850" y="-531550"/>
            <a:chExt cx="8496740" cy="432060"/>
          </a:xfrm>
        </p:grpSpPr>
        <p:cxnSp>
          <p:nvCxnSpPr>
            <p:cNvPr id="24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uppieren 37"/>
          <p:cNvGrpSpPr/>
          <p:nvPr userDrawn="1"/>
        </p:nvGrpSpPr>
        <p:grpSpPr bwMode="gray">
          <a:xfrm>
            <a:off x="12336867" y="908650"/>
            <a:ext cx="288040" cy="5688790"/>
            <a:chOff x="-540710" y="908650"/>
            <a:chExt cx="432060" cy="5688790"/>
          </a:xfrm>
        </p:grpSpPr>
        <p:cxnSp>
          <p:nvCxnSpPr>
            <p:cNvPr id="37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Rechteck 2"/>
          <p:cNvSpPr/>
          <p:nvPr userDrawn="1"/>
        </p:nvSpPr>
        <p:spPr bwMode="gray">
          <a:xfrm>
            <a:off x="0" y="0"/>
            <a:ext cx="12192000" cy="21328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00" dirty="0" err="1">
              <a:solidFill>
                <a:srgbClr val="000000"/>
              </a:solidFill>
            </a:endParaRPr>
          </a:p>
        </p:txBody>
      </p:sp>
      <p:pic>
        <p:nvPicPr>
          <p:cNvPr id="51" name="Imagen 5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2547" y="234242"/>
            <a:ext cx="1828799" cy="83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0101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99"/>
            <a:ext cx="12192000" cy="218006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2133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214" y="2372784"/>
            <a:ext cx="11328557" cy="1919816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4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431213" y="2372883"/>
            <a:ext cx="11329512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431214" y="4197085"/>
            <a:ext cx="11328157" cy="96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3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506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11038782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78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 bwMode="gray">
          <a:xfrm>
            <a:off x="431213" y="1700760"/>
            <a:ext cx="11328987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31214" y="1220695"/>
            <a:ext cx="11329573" cy="38405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4" y="6404736"/>
            <a:ext cx="11328557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50306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31213" y="1220755"/>
            <a:ext cx="11328987" cy="3843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800"/>
              </a:spcBef>
              <a:buNone/>
              <a:defRPr lang="en-GB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800"/>
              </a:spcBef>
              <a:buNone/>
              <a:defRPr lang="de-DE" sz="24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371" y="6404736"/>
            <a:ext cx="11328400" cy="192616"/>
          </a:xfrm>
        </p:spPr>
        <p:txBody>
          <a:bodyPr tIns="0" bIns="36000" anchor="b" anchorCtr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1067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 bwMode="gray">
          <a:xfrm>
            <a:off x="431215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 bwMode="gray">
          <a:xfrm>
            <a:off x="6192014" y="1700760"/>
            <a:ext cx="5568773" cy="4609024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6714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2.xml"/><Relationship Id="rId35" Type="http://schemas.openxmlformats.org/officeDocument/2006/relationships/image" Target="../media/image3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9" name="Diapositiva de think-cell" r:id="rId32" imgW="353" imgH="353" progId="TCLayout.ActiveDocument.1">
                  <p:embed/>
                </p:oleObj>
              </mc:Choice>
              <mc:Fallback>
                <p:oleObj name="Diapositiva de think-cell" r:id="rId32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1216" y="260560"/>
            <a:ext cx="8545185" cy="76810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 bwMode="gray">
          <a:xfrm>
            <a:off x="431214" y="1220695"/>
            <a:ext cx="11329573" cy="5088707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431800" y="-420693"/>
            <a:ext cx="11328987" cy="28804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431800" y="6981493"/>
            <a:ext cx="11328987" cy="28804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12336686" y="260648"/>
            <a:ext cx="288221" cy="6336792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432907" y="260648"/>
            <a:ext cx="288221" cy="6336792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VCT_Marker_ID_4" hidden="1"/>
          <p:cNvSpPr/>
          <p:nvPr>
            <p:custDataLst>
              <p:tags r:id="rId31"/>
            </p:custDataLst>
          </p:nvPr>
        </p:nvSpPr>
        <p:spPr bwMode="gray">
          <a:xfrm>
            <a:off x="1693334" y="169334"/>
            <a:ext cx="169333" cy="16933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400"/>
              </a:spcBef>
              <a:buFont typeface="Courier New" pitchFamily="49" charset="0"/>
              <a:buNone/>
            </a:pPr>
            <a:endParaRPr lang="en-US" sz="2133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Text Box 1222"/>
          <p:cNvSpPr txBox="1">
            <a:spLocks noChangeArrowheads="1"/>
          </p:cNvSpPr>
          <p:nvPr userDrawn="1"/>
        </p:nvSpPr>
        <p:spPr bwMode="auto">
          <a:xfrm>
            <a:off x="5436022" y="6405413"/>
            <a:ext cx="6356897" cy="240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PE" sz="107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Base: </a:t>
            </a:r>
            <a:r>
              <a:rPr kumimoji="0" lang="es-PE" sz="107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Total de entrevistados - Nacional </a:t>
            </a:r>
            <a:r>
              <a:rPr kumimoji="0" lang="es-PE" sz="107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orbel" panose="020B0503020204020204" pitchFamily="34" charset="0"/>
                <a:ea typeface="+mn-ea"/>
                <a:cs typeface="Tahoma" pitchFamily="34" charset="0"/>
              </a:rPr>
              <a:t>urbano (1857)</a:t>
            </a:r>
            <a:endParaRPr kumimoji="0" lang="es-PE" sz="107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orbel" panose="020B0503020204020204" pitchFamily="34" charset="0"/>
              <a:ea typeface="+mn-ea"/>
              <a:cs typeface="Tahoma" pitchFamily="34" charset="0"/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9125316" y="136817"/>
            <a:ext cx="1578096" cy="883734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10608892" y="284389"/>
            <a:ext cx="1184027" cy="60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183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771" r:id="rId20"/>
    <p:sldLayoutId id="2147483773" r:id="rId21"/>
    <p:sldLayoutId id="2147483774" r:id="rId22"/>
    <p:sldLayoutId id="2147483775" r:id="rId23"/>
    <p:sldLayoutId id="2147483776" r:id="rId24"/>
    <p:sldLayoutId id="2147483778" r:id="rId25"/>
    <p:sldLayoutId id="2147483779" r:id="rId26"/>
  </p:sldLayoutIdLst>
  <p:hf hdr="0" ftr="0" dt="0"/>
  <p:txStyles>
    <p:titleStyle>
      <a:lvl1pPr algn="l" defTabSz="121917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Arial" pitchFamily="34" charset="0"/>
        <a:buNone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39994" marR="0" indent="-2399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79988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9982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719982" indent="-239994" algn="l" defTabSz="1219170" rtl="0" eaLnBrk="1" latinLnBrk="0" hangingPunct="1">
        <a:spcBef>
          <a:spcPts val="400"/>
        </a:spcBef>
        <a:spcAft>
          <a:spcPts val="0"/>
        </a:spcAft>
        <a:buFont typeface="Arial" pitchFamily="34" charset="0"/>
        <a:buChar char="•"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959976" marR="0" indent="-241294" algn="l" defTabSz="121917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21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chart" Target="../charts/chart11.xml"/><Relationship Id="rId4" Type="http://schemas.openxmlformats.org/officeDocument/2006/relationships/notesSlide" Target="../notesSlides/notesSlide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1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1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9.xml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17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6.png"/><Relationship Id="rId5" Type="http://schemas.openxmlformats.org/officeDocument/2006/relationships/tags" Target="../tags/tag21.xml"/><Relationship Id="rId10" Type="http://schemas.openxmlformats.org/officeDocument/2006/relationships/image" Target="../media/image15.png"/><Relationship Id="rId4" Type="http://schemas.openxmlformats.org/officeDocument/2006/relationships/tags" Target="../tags/tag20.xml"/><Relationship Id="rId9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chart" Target="../charts/chart14.xml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chart" Target="../charts/chart15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20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2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chart" Target="../charts/chart16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21.xml"/><Relationship Id="rId4" Type="http://schemas.openxmlformats.org/officeDocument/2006/relationships/tags" Target="../tags/tag3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3.xml"/><Relationship Id="rId13" Type="http://schemas.openxmlformats.org/officeDocument/2006/relationships/image" Target="../media/image22.png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21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20.png"/><Relationship Id="rId5" Type="http://schemas.openxmlformats.org/officeDocument/2006/relationships/tags" Target="../tags/tag37.xml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tags" Target="../tags/tag36.xml"/><Relationship Id="rId9" Type="http://schemas.openxmlformats.org/officeDocument/2006/relationships/image" Target="../media/image18.jpeg"/><Relationship Id="rId14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9.xml"/><Relationship Id="rId4" Type="http://schemas.openxmlformats.org/officeDocument/2006/relationships/chart" Target="../charts/chart1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40.xml"/><Relationship Id="rId4" Type="http://schemas.openxmlformats.org/officeDocument/2006/relationships/chart" Target="../charts/chart1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41.xml"/><Relationship Id="rId4" Type="http://schemas.openxmlformats.org/officeDocument/2006/relationships/chart" Target="../charts/chart2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0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PE" dirty="0" smtClean="0">
                <a:solidFill>
                  <a:srgbClr val="008442"/>
                </a:solidFill>
                <a:latin typeface="Corbel" panose="020B0503020204020204" pitchFamily="34" charset="0"/>
              </a:rPr>
              <a:t>XI Encuesta nacional anual sobre percepciones de corrupción</a:t>
            </a:r>
            <a:endParaRPr lang="es-PE" dirty="0">
              <a:solidFill>
                <a:srgbClr val="008442"/>
              </a:solidFill>
              <a:latin typeface="Corbel" panose="020B0503020204020204" pitchFamily="34" charset="0"/>
            </a:endParaRPr>
          </a:p>
        </p:txBody>
      </p:sp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PE" dirty="0" smtClean="0">
                <a:solidFill>
                  <a:srgbClr val="423132"/>
                </a:solidFill>
                <a:latin typeface="Corbel" panose="020B0503020204020204" pitchFamily="34" charset="0"/>
              </a:rPr>
              <a:t>Informe especial preparado para Proética</a:t>
            </a:r>
            <a:endParaRPr lang="es-PE" dirty="0">
              <a:solidFill>
                <a:srgbClr val="423132"/>
              </a:solidFill>
              <a:latin typeface="Corbel" panose="020B0503020204020204" pitchFamily="34" charset="0"/>
            </a:endParaRPr>
          </a:p>
        </p:txBody>
      </p:sp>
      <p:sp>
        <p:nvSpPr>
          <p:cNvPr id="2" name="Rectángulo 1"/>
          <p:cNvSpPr/>
          <p:nvPr/>
        </p:nvSpPr>
        <p:spPr bwMode="gray">
          <a:xfrm>
            <a:off x="6658377" y="6439437"/>
            <a:ext cx="5102410" cy="2189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Marcador de texto 4"/>
          <p:cNvSpPr>
            <a:spLocks noGrp="1"/>
          </p:cNvSpPr>
          <p:nvPr>
            <p:ph type="body" sz="quarter" idx="10"/>
          </p:nvPr>
        </p:nvSpPr>
        <p:spPr>
          <a:xfrm>
            <a:off x="431371" y="6309400"/>
            <a:ext cx="11328829" cy="288000"/>
          </a:xfrm>
        </p:spPr>
        <p:txBody>
          <a:bodyPr/>
          <a:lstStyle/>
          <a:p>
            <a:r>
              <a:rPr lang="es-PE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Diciembre </a:t>
            </a:r>
            <a:r>
              <a:rPr lang="es-PE" dirty="0">
                <a:solidFill>
                  <a:schemeClr val="accent5"/>
                </a:solidFill>
                <a:latin typeface="Corbel" panose="020B0503020204020204" pitchFamily="34" charset="0"/>
              </a:rPr>
              <a:t>201</a:t>
            </a:r>
            <a:r>
              <a:rPr lang="es-419" dirty="0">
                <a:solidFill>
                  <a:schemeClr val="accent5"/>
                </a:solidFill>
                <a:latin typeface="Corbel" panose="020B0503020204020204" pitchFamily="34" charset="0"/>
              </a:rPr>
              <a:t>9</a:t>
            </a:r>
            <a:endParaRPr lang="es-PE" dirty="0">
              <a:solidFill>
                <a:schemeClr val="accent5"/>
              </a:solidFill>
              <a:latin typeface="Corbel" panose="020B0503020204020204" pitchFamily="34" charset="0"/>
            </a:endParaRPr>
          </a:p>
        </p:txBody>
      </p:sp>
      <p:pic>
        <p:nvPicPr>
          <p:cNvPr id="33794" name="Picture 2" descr="Resultado de imagen para corrupcion"/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04" b="27404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7875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20 Gráfico"/>
          <p:cNvGraphicFramePr/>
          <p:nvPr>
            <p:extLst>
              <p:ext uri="{D42A27DB-BD31-4B8C-83A1-F6EECF244321}">
                <p14:modId xmlns:p14="http://schemas.microsoft.com/office/powerpoint/2010/main" val="3984336074"/>
              </p:ext>
            </p:extLst>
          </p:nvPr>
        </p:nvGraphicFramePr>
        <p:xfrm>
          <a:off x="-502088" y="2152416"/>
          <a:ext cx="12377530" cy="4542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ítulo 10"/>
          <p:cNvSpPr txBox="1">
            <a:spLocks/>
          </p:cNvSpPr>
          <p:nvPr/>
        </p:nvSpPr>
        <p:spPr>
          <a:xfrm>
            <a:off x="371079" y="209546"/>
            <a:ext cx="8953225" cy="1019540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" b="1" dirty="0" smtClean="0">
                <a:latin typeface="Corbel" panose="020B0503020204020204" pitchFamily="34" charset="0"/>
              </a:rPr>
              <a:t>La corrupción se mantiene como segundo problema más importante del país, ahora con 62%. Tendencia va en aumento desde el 2013.</a:t>
            </a:r>
            <a:endParaRPr lang="es-419" b="1" dirty="0">
              <a:latin typeface="Corbel" panose="020B0503020204020204" pitchFamily="34" charset="0"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371079" y="1229086"/>
            <a:ext cx="1129083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¿Cuáles de los siguientes son los tres principales problemas del país en la actualidad</a:t>
            </a:r>
            <a:r>
              <a:rPr lang="es-ES" dirty="0" smtClean="0">
                <a:latin typeface="Corbel" panose="020B0503020204020204" pitchFamily="34" charset="0"/>
              </a:rPr>
              <a:t>?-  </a:t>
            </a:r>
            <a:r>
              <a:rPr lang="es-PE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RESPUESTA </a:t>
            </a:r>
            <a:r>
              <a:rPr lang="es-419" b="1" dirty="0">
                <a:solidFill>
                  <a:srgbClr val="000000"/>
                </a:solidFill>
                <a:latin typeface="Corbel" panose="020B0503020204020204" pitchFamily="34" charset="0"/>
              </a:rPr>
              <a:t>ASISTIDA- </a:t>
            </a: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MÚLTIPLE MÁXIMO 3 OPCIONES</a:t>
            </a:r>
          </a:p>
          <a:p>
            <a:r>
              <a:rPr lang="es-419" b="1" dirty="0" smtClean="0">
                <a:latin typeface="Corbel" panose="020B0503020204020204" pitchFamily="34" charset="0"/>
              </a:rPr>
              <a:t>MEDICIÓN COMPARATIVA</a:t>
            </a:r>
            <a:endParaRPr lang="es-PE" b="1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307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o 14"/>
          <p:cNvGrpSpPr/>
          <p:nvPr/>
        </p:nvGrpSpPr>
        <p:grpSpPr>
          <a:xfrm>
            <a:off x="4100540" y="1173246"/>
            <a:ext cx="3743325" cy="5500687"/>
            <a:chOff x="2562961" y="1232450"/>
            <a:chExt cx="3743325" cy="5500687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auto">
            <a:xfrm>
              <a:off x="2562961" y="1235625"/>
              <a:ext cx="3743325" cy="5497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/>
            </a:p>
          </p:txBody>
        </p:sp>
        <p:grpSp>
          <p:nvGrpSpPr>
            <p:cNvPr id="19" name="Agrupar 1"/>
            <p:cNvGrpSpPr/>
            <p:nvPr/>
          </p:nvGrpSpPr>
          <p:grpSpPr>
            <a:xfrm>
              <a:off x="3586899" y="3702600"/>
              <a:ext cx="1314450" cy="1735137"/>
              <a:chOff x="4732338" y="3519488"/>
              <a:chExt cx="1314450" cy="1735137"/>
            </a:xfrm>
            <a:solidFill>
              <a:schemeClr val="accent2"/>
            </a:solidFill>
          </p:grpSpPr>
          <p:sp>
            <p:nvSpPr>
              <p:cNvPr id="47" name="Freeform 5"/>
              <p:cNvSpPr>
                <a:spLocks/>
              </p:cNvSpPr>
              <p:nvPr/>
            </p:nvSpPr>
            <p:spPr bwMode="auto">
              <a:xfrm>
                <a:off x="5067300" y="3898900"/>
                <a:ext cx="763588" cy="434975"/>
              </a:xfrm>
              <a:custGeom>
                <a:avLst/>
                <a:gdLst>
                  <a:gd name="T0" fmla="*/ 477 w 481"/>
                  <a:gd name="T1" fmla="*/ 169 h 274"/>
                  <a:gd name="T2" fmla="*/ 457 w 481"/>
                  <a:gd name="T3" fmla="*/ 162 h 274"/>
                  <a:gd name="T4" fmla="*/ 455 w 481"/>
                  <a:gd name="T5" fmla="*/ 151 h 274"/>
                  <a:gd name="T6" fmla="*/ 444 w 481"/>
                  <a:gd name="T7" fmla="*/ 125 h 274"/>
                  <a:gd name="T8" fmla="*/ 446 w 481"/>
                  <a:gd name="T9" fmla="*/ 92 h 274"/>
                  <a:gd name="T10" fmla="*/ 433 w 481"/>
                  <a:gd name="T11" fmla="*/ 66 h 274"/>
                  <a:gd name="T12" fmla="*/ 431 w 481"/>
                  <a:gd name="T13" fmla="*/ 44 h 274"/>
                  <a:gd name="T14" fmla="*/ 420 w 481"/>
                  <a:gd name="T15" fmla="*/ 9 h 274"/>
                  <a:gd name="T16" fmla="*/ 369 w 481"/>
                  <a:gd name="T17" fmla="*/ 20 h 274"/>
                  <a:gd name="T18" fmla="*/ 308 w 481"/>
                  <a:gd name="T19" fmla="*/ 24 h 274"/>
                  <a:gd name="T20" fmla="*/ 266 w 481"/>
                  <a:gd name="T21" fmla="*/ 42 h 274"/>
                  <a:gd name="T22" fmla="*/ 233 w 481"/>
                  <a:gd name="T23" fmla="*/ 48 h 274"/>
                  <a:gd name="T24" fmla="*/ 196 w 481"/>
                  <a:gd name="T25" fmla="*/ 48 h 274"/>
                  <a:gd name="T26" fmla="*/ 180 w 481"/>
                  <a:gd name="T27" fmla="*/ 55 h 274"/>
                  <a:gd name="T28" fmla="*/ 174 w 481"/>
                  <a:gd name="T29" fmla="*/ 66 h 274"/>
                  <a:gd name="T30" fmla="*/ 172 w 481"/>
                  <a:gd name="T31" fmla="*/ 86 h 274"/>
                  <a:gd name="T32" fmla="*/ 180 w 481"/>
                  <a:gd name="T33" fmla="*/ 132 h 274"/>
                  <a:gd name="T34" fmla="*/ 143 w 481"/>
                  <a:gd name="T35" fmla="*/ 140 h 274"/>
                  <a:gd name="T36" fmla="*/ 97 w 481"/>
                  <a:gd name="T37" fmla="*/ 134 h 274"/>
                  <a:gd name="T38" fmla="*/ 90 w 481"/>
                  <a:gd name="T39" fmla="*/ 129 h 274"/>
                  <a:gd name="T40" fmla="*/ 86 w 481"/>
                  <a:gd name="T41" fmla="*/ 123 h 274"/>
                  <a:gd name="T42" fmla="*/ 68 w 481"/>
                  <a:gd name="T43" fmla="*/ 116 h 274"/>
                  <a:gd name="T44" fmla="*/ 33 w 481"/>
                  <a:gd name="T45" fmla="*/ 118 h 274"/>
                  <a:gd name="T46" fmla="*/ 13 w 481"/>
                  <a:gd name="T47" fmla="*/ 143 h 274"/>
                  <a:gd name="T48" fmla="*/ 7 w 481"/>
                  <a:gd name="T49" fmla="*/ 162 h 274"/>
                  <a:gd name="T50" fmla="*/ 18 w 481"/>
                  <a:gd name="T51" fmla="*/ 189 h 274"/>
                  <a:gd name="T52" fmla="*/ 22 w 481"/>
                  <a:gd name="T53" fmla="*/ 206 h 274"/>
                  <a:gd name="T54" fmla="*/ 33 w 481"/>
                  <a:gd name="T55" fmla="*/ 224 h 274"/>
                  <a:gd name="T56" fmla="*/ 35 w 481"/>
                  <a:gd name="T57" fmla="*/ 252 h 274"/>
                  <a:gd name="T58" fmla="*/ 44 w 481"/>
                  <a:gd name="T59" fmla="*/ 261 h 274"/>
                  <a:gd name="T60" fmla="*/ 49 w 481"/>
                  <a:gd name="T61" fmla="*/ 272 h 274"/>
                  <a:gd name="T62" fmla="*/ 64 w 481"/>
                  <a:gd name="T63" fmla="*/ 274 h 274"/>
                  <a:gd name="T64" fmla="*/ 90 w 481"/>
                  <a:gd name="T65" fmla="*/ 261 h 274"/>
                  <a:gd name="T66" fmla="*/ 88 w 481"/>
                  <a:gd name="T67" fmla="*/ 239 h 274"/>
                  <a:gd name="T68" fmla="*/ 90 w 481"/>
                  <a:gd name="T69" fmla="*/ 237 h 274"/>
                  <a:gd name="T70" fmla="*/ 95 w 481"/>
                  <a:gd name="T71" fmla="*/ 239 h 274"/>
                  <a:gd name="T72" fmla="*/ 112 w 481"/>
                  <a:gd name="T73" fmla="*/ 239 h 274"/>
                  <a:gd name="T74" fmla="*/ 132 w 481"/>
                  <a:gd name="T75" fmla="*/ 226 h 274"/>
                  <a:gd name="T76" fmla="*/ 136 w 481"/>
                  <a:gd name="T77" fmla="*/ 233 h 274"/>
                  <a:gd name="T78" fmla="*/ 141 w 481"/>
                  <a:gd name="T79" fmla="*/ 235 h 274"/>
                  <a:gd name="T80" fmla="*/ 226 w 481"/>
                  <a:gd name="T81" fmla="*/ 222 h 274"/>
                  <a:gd name="T82" fmla="*/ 268 w 481"/>
                  <a:gd name="T83" fmla="*/ 215 h 274"/>
                  <a:gd name="T84" fmla="*/ 305 w 481"/>
                  <a:gd name="T85" fmla="*/ 204 h 274"/>
                  <a:gd name="T86" fmla="*/ 314 w 481"/>
                  <a:gd name="T87" fmla="*/ 195 h 274"/>
                  <a:gd name="T88" fmla="*/ 323 w 481"/>
                  <a:gd name="T89" fmla="*/ 195 h 274"/>
                  <a:gd name="T90" fmla="*/ 343 w 481"/>
                  <a:gd name="T91" fmla="*/ 206 h 274"/>
                  <a:gd name="T92" fmla="*/ 367 w 481"/>
                  <a:gd name="T93" fmla="*/ 222 h 274"/>
                  <a:gd name="T94" fmla="*/ 426 w 481"/>
                  <a:gd name="T95" fmla="*/ 222 h 274"/>
                  <a:gd name="T96" fmla="*/ 450 w 481"/>
                  <a:gd name="T97" fmla="*/ 200 h 274"/>
                  <a:gd name="T98" fmla="*/ 470 w 481"/>
                  <a:gd name="T99" fmla="*/ 184 h 274"/>
                  <a:gd name="T100" fmla="*/ 481 w 481"/>
                  <a:gd name="T101" fmla="*/ 178 h 274"/>
                  <a:gd name="T102" fmla="*/ 479 w 481"/>
                  <a:gd name="T103" fmla="*/ 173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1" h="274">
                    <a:moveTo>
                      <a:pt x="479" y="173"/>
                    </a:moveTo>
                    <a:lnTo>
                      <a:pt x="479" y="171"/>
                    </a:lnTo>
                    <a:lnTo>
                      <a:pt x="477" y="169"/>
                    </a:lnTo>
                    <a:lnTo>
                      <a:pt x="472" y="169"/>
                    </a:lnTo>
                    <a:lnTo>
                      <a:pt x="459" y="162"/>
                    </a:lnTo>
                    <a:lnTo>
                      <a:pt x="457" y="162"/>
                    </a:lnTo>
                    <a:lnTo>
                      <a:pt x="457" y="160"/>
                    </a:lnTo>
                    <a:lnTo>
                      <a:pt x="457" y="160"/>
                    </a:lnTo>
                    <a:lnTo>
                      <a:pt x="455" y="151"/>
                    </a:lnTo>
                    <a:lnTo>
                      <a:pt x="450" y="143"/>
                    </a:lnTo>
                    <a:lnTo>
                      <a:pt x="448" y="140"/>
                    </a:lnTo>
                    <a:lnTo>
                      <a:pt x="444" y="125"/>
                    </a:lnTo>
                    <a:lnTo>
                      <a:pt x="442" y="123"/>
                    </a:lnTo>
                    <a:lnTo>
                      <a:pt x="442" y="121"/>
                    </a:lnTo>
                    <a:lnTo>
                      <a:pt x="446" y="92"/>
                    </a:lnTo>
                    <a:lnTo>
                      <a:pt x="444" y="88"/>
                    </a:lnTo>
                    <a:lnTo>
                      <a:pt x="442" y="83"/>
                    </a:lnTo>
                    <a:lnTo>
                      <a:pt x="433" y="66"/>
                    </a:lnTo>
                    <a:lnTo>
                      <a:pt x="431" y="57"/>
                    </a:lnTo>
                    <a:lnTo>
                      <a:pt x="431" y="50"/>
                    </a:lnTo>
                    <a:lnTo>
                      <a:pt x="431" y="44"/>
                    </a:lnTo>
                    <a:lnTo>
                      <a:pt x="431" y="37"/>
                    </a:lnTo>
                    <a:lnTo>
                      <a:pt x="422" y="18"/>
                    </a:lnTo>
                    <a:lnTo>
                      <a:pt x="420" y="9"/>
                    </a:lnTo>
                    <a:lnTo>
                      <a:pt x="417" y="7"/>
                    </a:lnTo>
                    <a:lnTo>
                      <a:pt x="411" y="0"/>
                    </a:lnTo>
                    <a:lnTo>
                      <a:pt x="369" y="20"/>
                    </a:lnTo>
                    <a:lnTo>
                      <a:pt x="330" y="26"/>
                    </a:lnTo>
                    <a:lnTo>
                      <a:pt x="330" y="26"/>
                    </a:lnTo>
                    <a:lnTo>
                      <a:pt x="308" y="24"/>
                    </a:lnTo>
                    <a:lnTo>
                      <a:pt x="303" y="24"/>
                    </a:lnTo>
                    <a:lnTo>
                      <a:pt x="301" y="24"/>
                    </a:lnTo>
                    <a:lnTo>
                      <a:pt x="266" y="42"/>
                    </a:lnTo>
                    <a:lnTo>
                      <a:pt x="259" y="44"/>
                    </a:lnTo>
                    <a:lnTo>
                      <a:pt x="246" y="46"/>
                    </a:lnTo>
                    <a:lnTo>
                      <a:pt x="233" y="48"/>
                    </a:lnTo>
                    <a:lnTo>
                      <a:pt x="211" y="46"/>
                    </a:lnTo>
                    <a:lnTo>
                      <a:pt x="198" y="48"/>
                    </a:lnTo>
                    <a:lnTo>
                      <a:pt x="196" y="48"/>
                    </a:lnTo>
                    <a:lnTo>
                      <a:pt x="189" y="50"/>
                    </a:lnTo>
                    <a:lnTo>
                      <a:pt x="187" y="53"/>
                    </a:lnTo>
                    <a:lnTo>
                      <a:pt x="180" y="55"/>
                    </a:lnTo>
                    <a:lnTo>
                      <a:pt x="178" y="59"/>
                    </a:lnTo>
                    <a:lnTo>
                      <a:pt x="176" y="61"/>
                    </a:lnTo>
                    <a:lnTo>
                      <a:pt x="174" y="66"/>
                    </a:lnTo>
                    <a:lnTo>
                      <a:pt x="172" y="77"/>
                    </a:lnTo>
                    <a:lnTo>
                      <a:pt x="172" y="81"/>
                    </a:lnTo>
                    <a:lnTo>
                      <a:pt x="172" y="86"/>
                    </a:lnTo>
                    <a:lnTo>
                      <a:pt x="178" y="118"/>
                    </a:lnTo>
                    <a:lnTo>
                      <a:pt x="182" y="129"/>
                    </a:lnTo>
                    <a:lnTo>
                      <a:pt x="180" y="132"/>
                    </a:lnTo>
                    <a:lnTo>
                      <a:pt x="176" y="136"/>
                    </a:lnTo>
                    <a:lnTo>
                      <a:pt x="150" y="147"/>
                    </a:lnTo>
                    <a:lnTo>
                      <a:pt x="143" y="140"/>
                    </a:lnTo>
                    <a:lnTo>
                      <a:pt x="134" y="138"/>
                    </a:lnTo>
                    <a:lnTo>
                      <a:pt x="97" y="136"/>
                    </a:lnTo>
                    <a:lnTo>
                      <a:pt x="97" y="134"/>
                    </a:lnTo>
                    <a:lnTo>
                      <a:pt x="95" y="134"/>
                    </a:lnTo>
                    <a:lnTo>
                      <a:pt x="92" y="134"/>
                    </a:lnTo>
                    <a:lnTo>
                      <a:pt x="90" y="129"/>
                    </a:lnTo>
                    <a:lnTo>
                      <a:pt x="90" y="127"/>
                    </a:lnTo>
                    <a:lnTo>
                      <a:pt x="88" y="123"/>
                    </a:lnTo>
                    <a:lnTo>
                      <a:pt x="86" y="123"/>
                    </a:lnTo>
                    <a:lnTo>
                      <a:pt x="81" y="121"/>
                    </a:lnTo>
                    <a:lnTo>
                      <a:pt x="75" y="116"/>
                    </a:lnTo>
                    <a:lnTo>
                      <a:pt x="68" y="116"/>
                    </a:lnTo>
                    <a:lnTo>
                      <a:pt x="44" y="116"/>
                    </a:lnTo>
                    <a:lnTo>
                      <a:pt x="35" y="118"/>
                    </a:lnTo>
                    <a:lnTo>
                      <a:pt x="33" y="118"/>
                    </a:lnTo>
                    <a:lnTo>
                      <a:pt x="31" y="121"/>
                    </a:lnTo>
                    <a:lnTo>
                      <a:pt x="18" y="138"/>
                    </a:lnTo>
                    <a:lnTo>
                      <a:pt x="13" y="143"/>
                    </a:lnTo>
                    <a:lnTo>
                      <a:pt x="0" y="149"/>
                    </a:lnTo>
                    <a:lnTo>
                      <a:pt x="5" y="158"/>
                    </a:lnTo>
                    <a:lnTo>
                      <a:pt x="7" y="162"/>
                    </a:lnTo>
                    <a:lnTo>
                      <a:pt x="11" y="176"/>
                    </a:lnTo>
                    <a:lnTo>
                      <a:pt x="11" y="180"/>
                    </a:lnTo>
                    <a:lnTo>
                      <a:pt x="18" y="189"/>
                    </a:lnTo>
                    <a:lnTo>
                      <a:pt x="18" y="191"/>
                    </a:lnTo>
                    <a:lnTo>
                      <a:pt x="20" y="195"/>
                    </a:lnTo>
                    <a:lnTo>
                      <a:pt x="22" y="206"/>
                    </a:lnTo>
                    <a:lnTo>
                      <a:pt x="24" y="213"/>
                    </a:lnTo>
                    <a:lnTo>
                      <a:pt x="31" y="219"/>
                    </a:lnTo>
                    <a:lnTo>
                      <a:pt x="33" y="224"/>
                    </a:lnTo>
                    <a:lnTo>
                      <a:pt x="35" y="239"/>
                    </a:lnTo>
                    <a:lnTo>
                      <a:pt x="33" y="250"/>
                    </a:lnTo>
                    <a:lnTo>
                      <a:pt x="35" y="252"/>
                    </a:lnTo>
                    <a:lnTo>
                      <a:pt x="35" y="255"/>
                    </a:lnTo>
                    <a:lnTo>
                      <a:pt x="35" y="257"/>
                    </a:lnTo>
                    <a:lnTo>
                      <a:pt x="44" y="261"/>
                    </a:lnTo>
                    <a:lnTo>
                      <a:pt x="49" y="263"/>
                    </a:lnTo>
                    <a:lnTo>
                      <a:pt x="49" y="268"/>
                    </a:lnTo>
                    <a:lnTo>
                      <a:pt x="49" y="272"/>
                    </a:lnTo>
                    <a:lnTo>
                      <a:pt x="49" y="274"/>
                    </a:lnTo>
                    <a:lnTo>
                      <a:pt x="60" y="274"/>
                    </a:lnTo>
                    <a:lnTo>
                      <a:pt x="64" y="274"/>
                    </a:lnTo>
                    <a:lnTo>
                      <a:pt x="88" y="272"/>
                    </a:lnTo>
                    <a:lnTo>
                      <a:pt x="90" y="263"/>
                    </a:lnTo>
                    <a:lnTo>
                      <a:pt x="90" y="261"/>
                    </a:lnTo>
                    <a:lnTo>
                      <a:pt x="88" y="255"/>
                    </a:lnTo>
                    <a:lnTo>
                      <a:pt x="88" y="244"/>
                    </a:lnTo>
                    <a:lnTo>
                      <a:pt x="88" y="239"/>
                    </a:lnTo>
                    <a:lnTo>
                      <a:pt x="88" y="237"/>
                    </a:lnTo>
                    <a:lnTo>
                      <a:pt x="90" y="237"/>
                    </a:lnTo>
                    <a:lnTo>
                      <a:pt x="90" y="237"/>
                    </a:lnTo>
                    <a:lnTo>
                      <a:pt x="92" y="237"/>
                    </a:lnTo>
                    <a:lnTo>
                      <a:pt x="92" y="239"/>
                    </a:lnTo>
                    <a:lnTo>
                      <a:pt x="95" y="239"/>
                    </a:lnTo>
                    <a:lnTo>
                      <a:pt x="103" y="241"/>
                    </a:lnTo>
                    <a:lnTo>
                      <a:pt x="108" y="241"/>
                    </a:lnTo>
                    <a:lnTo>
                      <a:pt x="112" y="239"/>
                    </a:lnTo>
                    <a:lnTo>
                      <a:pt x="117" y="237"/>
                    </a:lnTo>
                    <a:lnTo>
                      <a:pt x="130" y="228"/>
                    </a:lnTo>
                    <a:lnTo>
                      <a:pt x="132" y="226"/>
                    </a:lnTo>
                    <a:lnTo>
                      <a:pt x="134" y="228"/>
                    </a:lnTo>
                    <a:lnTo>
                      <a:pt x="134" y="228"/>
                    </a:lnTo>
                    <a:lnTo>
                      <a:pt x="136" y="233"/>
                    </a:lnTo>
                    <a:lnTo>
                      <a:pt x="139" y="233"/>
                    </a:lnTo>
                    <a:lnTo>
                      <a:pt x="139" y="235"/>
                    </a:lnTo>
                    <a:lnTo>
                      <a:pt x="141" y="235"/>
                    </a:lnTo>
                    <a:lnTo>
                      <a:pt x="141" y="235"/>
                    </a:lnTo>
                    <a:lnTo>
                      <a:pt x="187" y="235"/>
                    </a:lnTo>
                    <a:lnTo>
                      <a:pt x="226" y="222"/>
                    </a:lnTo>
                    <a:lnTo>
                      <a:pt x="244" y="217"/>
                    </a:lnTo>
                    <a:lnTo>
                      <a:pt x="262" y="215"/>
                    </a:lnTo>
                    <a:lnTo>
                      <a:pt x="268" y="215"/>
                    </a:lnTo>
                    <a:lnTo>
                      <a:pt x="275" y="213"/>
                    </a:lnTo>
                    <a:lnTo>
                      <a:pt x="303" y="204"/>
                    </a:lnTo>
                    <a:lnTo>
                      <a:pt x="305" y="204"/>
                    </a:lnTo>
                    <a:lnTo>
                      <a:pt x="308" y="200"/>
                    </a:lnTo>
                    <a:lnTo>
                      <a:pt x="310" y="200"/>
                    </a:lnTo>
                    <a:lnTo>
                      <a:pt x="314" y="195"/>
                    </a:lnTo>
                    <a:lnTo>
                      <a:pt x="319" y="195"/>
                    </a:lnTo>
                    <a:lnTo>
                      <a:pt x="321" y="195"/>
                    </a:lnTo>
                    <a:lnTo>
                      <a:pt x="323" y="195"/>
                    </a:lnTo>
                    <a:lnTo>
                      <a:pt x="325" y="195"/>
                    </a:lnTo>
                    <a:lnTo>
                      <a:pt x="334" y="200"/>
                    </a:lnTo>
                    <a:lnTo>
                      <a:pt x="343" y="206"/>
                    </a:lnTo>
                    <a:lnTo>
                      <a:pt x="356" y="217"/>
                    </a:lnTo>
                    <a:lnTo>
                      <a:pt x="360" y="219"/>
                    </a:lnTo>
                    <a:lnTo>
                      <a:pt x="367" y="222"/>
                    </a:lnTo>
                    <a:lnTo>
                      <a:pt x="384" y="228"/>
                    </a:lnTo>
                    <a:lnTo>
                      <a:pt x="417" y="226"/>
                    </a:lnTo>
                    <a:lnTo>
                      <a:pt x="426" y="222"/>
                    </a:lnTo>
                    <a:lnTo>
                      <a:pt x="435" y="213"/>
                    </a:lnTo>
                    <a:lnTo>
                      <a:pt x="446" y="202"/>
                    </a:lnTo>
                    <a:lnTo>
                      <a:pt x="450" y="200"/>
                    </a:lnTo>
                    <a:lnTo>
                      <a:pt x="457" y="191"/>
                    </a:lnTo>
                    <a:lnTo>
                      <a:pt x="461" y="189"/>
                    </a:lnTo>
                    <a:lnTo>
                      <a:pt x="470" y="184"/>
                    </a:lnTo>
                    <a:lnTo>
                      <a:pt x="477" y="182"/>
                    </a:lnTo>
                    <a:lnTo>
                      <a:pt x="479" y="180"/>
                    </a:lnTo>
                    <a:lnTo>
                      <a:pt x="481" y="178"/>
                    </a:lnTo>
                    <a:lnTo>
                      <a:pt x="481" y="176"/>
                    </a:lnTo>
                    <a:lnTo>
                      <a:pt x="479" y="173"/>
                    </a:lnTo>
                    <a:lnTo>
                      <a:pt x="479" y="173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48" name="Freeform 6"/>
              <p:cNvSpPr>
                <a:spLocks/>
              </p:cNvSpPr>
              <p:nvPr/>
            </p:nvSpPr>
            <p:spPr bwMode="auto">
              <a:xfrm>
                <a:off x="5145088" y="4208463"/>
                <a:ext cx="901700" cy="603250"/>
              </a:xfrm>
              <a:custGeom>
                <a:avLst/>
                <a:gdLst>
                  <a:gd name="T0" fmla="*/ 568 w 568"/>
                  <a:gd name="T1" fmla="*/ 121 h 380"/>
                  <a:gd name="T2" fmla="*/ 553 w 568"/>
                  <a:gd name="T3" fmla="*/ 92 h 380"/>
                  <a:gd name="T4" fmla="*/ 537 w 568"/>
                  <a:gd name="T5" fmla="*/ 27 h 380"/>
                  <a:gd name="T6" fmla="*/ 516 w 568"/>
                  <a:gd name="T7" fmla="*/ 18 h 380"/>
                  <a:gd name="T8" fmla="*/ 483 w 568"/>
                  <a:gd name="T9" fmla="*/ 51 h 380"/>
                  <a:gd name="T10" fmla="*/ 456 w 568"/>
                  <a:gd name="T11" fmla="*/ 55 h 380"/>
                  <a:gd name="T12" fmla="*/ 430 w 568"/>
                  <a:gd name="T13" fmla="*/ 62 h 380"/>
                  <a:gd name="T14" fmla="*/ 404 w 568"/>
                  <a:gd name="T15" fmla="*/ 66 h 380"/>
                  <a:gd name="T16" fmla="*/ 375 w 568"/>
                  <a:gd name="T17" fmla="*/ 60 h 380"/>
                  <a:gd name="T18" fmla="*/ 311 w 568"/>
                  <a:gd name="T19" fmla="*/ 24 h 380"/>
                  <a:gd name="T20" fmla="*/ 272 w 568"/>
                  <a:gd name="T21" fmla="*/ 0 h 380"/>
                  <a:gd name="T22" fmla="*/ 254 w 568"/>
                  <a:gd name="T23" fmla="*/ 9 h 380"/>
                  <a:gd name="T24" fmla="*/ 138 w 568"/>
                  <a:gd name="T25" fmla="*/ 40 h 380"/>
                  <a:gd name="T26" fmla="*/ 85 w 568"/>
                  <a:gd name="T27" fmla="*/ 33 h 380"/>
                  <a:gd name="T28" fmla="*/ 59 w 568"/>
                  <a:gd name="T29" fmla="*/ 46 h 380"/>
                  <a:gd name="T30" fmla="*/ 41 w 568"/>
                  <a:gd name="T31" fmla="*/ 42 h 380"/>
                  <a:gd name="T32" fmla="*/ 41 w 568"/>
                  <a:gd name="T33" fmla="*/ 68 h 380"/>
                  <a:gd name="T34" fmla="*/ 2 w 568"/>
                  <a:gd name="T35" fmla="*/ 112 h 380"/>
                  <a:gd name="T36" fmla="*/ 24 w 568"/>
                  <a:gd name="T37" fmla="*/ 161 h 380"/>
                  <a:gd name="T38" fmla="*/ 37 w 568"/>
                  <a:gd name="T39" fmla="*/ 171 h 380"/>
                  <a:gd name="T40" fmla="*/ 50 w 568"/>
                  <a:gd name="T41" fmla="*/ 176 h 380"/>
                  <a:gd name="T42" fmla="*/ 63 w 568"/>
                  <a:gd name="T43" fmla="*/ 213 h 380"/>
                  <a:gd name="T44" fmla="*/ 76 w 568"/>
                  <a:gd name="T45" fmla="*/ 231 h 380"/>
                  <a:gd name="T46" fmla="*/ 103 w 568"/>
                  <a:gd name="T47" fmla="*/ 248 h 380"/>
                  <a:gd name="T48" fmla="*/ 129 w 568"/>
                  <a:gd name="T49" fmla="*/ 257 h 380"/>
                  <a:gd name="T50" fmla="*/ 155 w 568"/>
                  <a:gd name="T51" fmla="*/ 283 h 380"/>
                  <a:gd name="T52" fmla="*/ 175 w 568"/>
                  <a:gd name="T53" fmla="*/ 347 h 380"/>
                  <a:gd name="T54" fmla="*/ 173 w 568"/>
                  <a:gd name="T55" fmla="*/ 369 h 380"/>
                  <a:gd name="T56" fmla="*/ 193 w 568"/>
                  <a:gd name="T57" fmla="*/ 371 h 380"/>
                  <a:gd name="T58" fmla="*/ 202 w 568"/>
                  <a:gd name="T59" fmla="*/ 360 h 380"/>
                  <a:gd name="T60" fmla="*/ 228 w 568"/>
                  <a:gd name="T61" fmla="*/ 338 h 380"/>
                  <a:gd name="T62" fmla="*/ 252 w 568"/>
                  <a:gd name="T63" fmla="*/ 321 h 380"/>
                  <a:gd name="T64" fmla="*/ 248 w 568"/>
                  <a:gd name="T65" fmla="*/ 308 h 380"/>
                  <a:gd name="T66" fmla="*/ 254 w 568"/>
                  <a:gd name="T67" fmla="*/ 303 h 380"/>
                  <a:gd name="T68" fmla="*/ 265 w 568"/>
                  <a:gd name="T69" fmla="*/ 281 h 380"/>
                  <a:gd name="T70" fmla="*/ 256 w 568"/>
                  <a:gd name="T71" fmla="*/ 266 h 380"/>
                  <a:gd name="T72" fmla="*/ 261 w 568"/>
                  <a:gd name="T73" fmla="*/ 253 h 380"/>
                  <a:gd name="T74" fmla="*/ 267 w 568"/>
                  <a:gd name="T75" fmla="*/ 246 h 380"/>
                  <a:gd name="T76" fmla="*/ 278 w 568"/>
                  <a:gd name="T77" fmla="*/ 257 h 380"/>
                  <a:gd name="T78" fmla="*/ 303 w 568"/>
                  <a:gd name="T79" fmla="*/ 255 h 380"/>
                  <a:gd name="T80" fmla="*/ 327 w 568"/>
                  <a:gd name="T81" fmla="*/ 255 h 380"/>
                  <a:gd name="T82" fmla="*/ 333 w 568"/>
                  <a:gd name="T83" fmla="*/ 248 h 380"/>
                  <a:gd name="T84" fmla="*/ 353 w 568"/>
                  <a:gd name="T85" fmla="*/ 250 h 380"/>
                  <a:gd name="T86" fmla="*/ 390 w 568"/>
                  <a:gd name="T87" fmla="*/ 279 h 380"/>
                  <a:gd name="T88" fmla="*/ 397 w 568"/>
                  <a:gd name="T89" fmla="*/ 290 h 380"/>
                  <a:gd name="T90" fmla="*/ 412 w 568"/>
                  <a:gd name="T91" fmla="*/ 301 h 380"/>
                  <a:gd name="T92" fmla="*/ 432 w 568"/>
                  <a:gd name="T93" fmla="*/ 310 h 380"/>
                  <a:gd name="T94" fmla="*/ 447 w 568"/>
                  <a:gd name="T95" fmla="*/ 301 h 380"/>
                  <a:gd name="T96" fmla="*/ 461 w 568"/>
                  <a:gd name="T97" fmla="*/ 303 h 380"/>
                  <a:gd name="T98" fmla="*/ 524 w 568"/>
                  <a:gd name="T99" fmla="*/ 292 h 380"/>
                  <a:gd name="T100" fmla="*/ 535 w 568"/>
                  <a:gd name="T101" fmla="*/ 277 h 380"/>
                  <a:gd name="T102" fmla="*/ 537 w 568"/>
                  <a:gd name="T103" fmla="*/ 253 h 380"/>
                  <a:gd name="T104" fmla="*/ 557 w 568"/>
                  <a:gd name="T105" fmla="*/ 200 h 380"/>
                  <a:gd name="T106" fmla="*/ 540 w 568"/>
                  <a:gd name="T107" fmla="*/ 189 h 380"/>
                  <a:gd name="T108" fmla="*/ 522 w 568"/>
                  <a:gd name="T109" fmla="*/ 185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68" h="380">
                    <a:moveTo>
                      <a:pt x="524" y="180"/>
                    </a:moveTo>
                    <a:lnTo>
                      <a:pt x="531" y="176"/>
                    </a:lnTo>
                    <a:lnTo>
                      <a:pt x="548" y="161"/>
                    </a:lnTo>
                    <a:lnTo>
                      <a:pt x="557" y="145"/>
                    </a:lnTo>
                    <a:lnTo>
                      <a:pt x="566" y="128"/>
                    </a:lnTo>
                    <a:lnTo>
                      <a:pt x="568" y="121"/>
                    </a:lnTo>
                    <a:lnTo>
                      <a:pt x="564" y="119"/>
                    </a:lnTo>
                    <a:lnTo>
                      <a:pt x="559" y="114"/>
                    </a:lnTo>
                    <a:lnTo>
                      <a:pt x="557" y="108"/>
                    </a:lnTo>
                    <a:lnTo>
                      <a:pt x="553" y="97"/>
                    </a:lnTo>
                    <a:lnTo>
                      <a:pt x="553" y="95"/>
                    </a:lnTo>
                    <a:lnTo>
                      <a:pt x="553" y="92"/>
                    </a:lnTo>
                    <a:lnTo>
                      <a:pt x="557" y="68"/>
                    </a:lnTo>
                    <a:lnTo>
                      <a:pt x="557" y="62"/>
                    </a:lnTo>
                    <a:lnTo>
                      <a:pt x="557" y="60"/>
                    </a:lnTo>
                    <a:lnTo>
                      <a:pt x="551" y="46"/>
                    </a:lnTo>
                    <a:lnTo>
                      <a:pt x="544" y="35"/>
                    </a:lnTo>
                    <a:lnTo>
                      <a:pt x="537" y="27"/>
                    </a:lnTo>
                    <a:lnTo>
                      <a:pt x="533" y="24"/>
                    </a:lnTo>
                    <a:lnTo>
                      <a:pt x="531" y="22"/>
                    </a:lnTo>
                    <a:lnTo>
                      <a:pt x="529" y="20"/>
                    </a:lnTo>
                    <a:lnTo>
                      <a:pt x="526" y="20"/>
                    </a:lnTo>
                    <a:lnTo>
                      <a:pt x="518" y="18"/>
                    </a:lnTo>
                    <a:lnTo>
                      <a:pt x="516" y="18"/>
                    </a:lnTo>
                    <a:lnTo>
                      <a:pt x="511" y="16"/>
                    </a:lnTo>
                    <a:lnTo>
                      <a:pt x="507" y="13"/>
                    </a:lnTo>
                    <a:lnTo>
                      <a:pt x="505" y="16"/>
                    </a:lnTo>
                    <a:lnTo>
                      <a:pt x="498" y="29"/>
                    </a:lnTo>
                    <a:lnTo>
                      <a:pt x="485" y="49"/>
                    </a:lnTo>
                    <a:lnTo>
                      <a:pt x="483" y="51"/>
                    </a:lnTo>
                    <a:lnTo>
                      <a:pt x="478" y="53"/>
                    </a:lnTo>
                    <a:lnTo>
                      <a:pt x="476" y="55"/>
                    </a:lnTo>
                    <a:lnTo>
                      <a:pt x="474" y="55"/>
                    </a:lnTo>
                    <a:lnTo>
                      <a:pt x="467" y="55"/>
                    </a:lnTo>
                    <a:lnTo>
                      <a:pt x="461" y="55"/>
                    </a:lnTo>
                    <a:lnTo>
                      <a:pt x="456" y="55"/>
                    </a:lnTo>
                    <a:lnTo>
                      <a:pt x="454" y="55"/>
                    </a:lnTo>
                    <a:lnTo>
                      <a:pt x="447" y="57"/>
                    </a:lnTo>
                    <a:lnTo>
                      <a:pt x="445" y="57"/>
                    </a:lnTo>
                    <a:lnTo>
                      <a:pt x="443" y="57"/>
                    </a:lnTo>
                    <a:lnTo>
                      <a:pt x="432" y="60"/>
                    </a:lnTo>
                    <a:lnTo>
                      <a:pt x="430" y="62"/>
                    </a:lnTo>
                    <a:lnTo>
                      <a:pt x="425" y="62"/>
                    </a:lnTo>
                    <a:lnTo>
                      <a:pt x="421" y="64"/>
                    </a:lnTo>
                    <a:lnTo>
                      <a:pt x="412" y="62"/>
                    </a:lnTo>
                    <a:lnTo>
                      <a:pt x="408" y="64"/>
                    </a:lnTo>
                    <a:lnTo>
                      <a:pt x="406" y="64"/>
                    </a:lnTo>
                    <a:lnTo>
                      <a:pt x="404" y="66"/>
                    </a:lnTo>
                    <a:lnTo>
                      <a:pt x="399" y="68"/>
                    </a:lnTo>
                    <a:lnTo>
                      <a:pt x="390" y="71"/>
                    </a:lnTo>
                    <a:lnTo>
                      <a:pt x="386" y="71"/>
                    </a:lnTo>
                    <a:lnTo>
                      <a:pt x="382" y="68"/>
                    </a:lnTo>
                    <a:lnTo>
                      <a:pt x="379" y="66"/>
                    </a:lnTo>
                    <a:lnTo>
                      <a:pt x="375" y="60"/>
                    </a:lnTo>
                    <a:lnTo>
                      <a:pt x="373" y="57"/>
                    </a:lnTo>
                    <a:lnTo>
                      <a:pt x="373" y="49"/>
                    </a:lnTo>
                    <a:lnTo>
                      <a:pt x="368" y="31"/>
                    </a:lnTo>
                    <a:lnTo>
                      <a:pt x="335" y="33"/>
                    </a:lnTo>
                    <a:lnTo>
                      <a:pt x="318" y="27"/>
                    </a:lnTo>
                    <a:lnTo>
                      <a:pt x="311" y="24"/>
                    </a:lnTo>
                    <a:lnTo>
                      <a:pt x="307" y="22"/>
                    </a:lnTo>
                    <a:lnTo>
                      <a:pt x="294" y="11"/>
                    </a:lnTo>
                    <a:lnTo>
                      <a:pt x="285" y="5"/>
                    </a:lnTo>
                    <a:lnTo>
                      <a:pt x="276" y="0"/>
                    </a:lnTo>
                    <a:lnTo>
                      <a:pt x="274" y="0"/>
                    </a:lnTo>
                    <a:lnTo>
                      <a:pt x="272" y="0"/>
                    </a:lnTo>
                    <a:lnTo>
                      <a:pt x="270" y="0"/>
                    </a:lnTo>
                    <a:lnTo>
                      <a:pt x="265" y="0"/>
                    </a:lnTo>
                    <a:lnTo>
                      <a:pt x="261" y="5"/>
                    </a:lnTo>
                    <a:lnTo>
                      <a:pt x="259" y="5"/>
                    </a:lnTo>
                    <a:lnTo>
                      <a:pt x="256" y="9"/>
                    </a:lnTo>
                    <a:lnTo>
                      <a:pt x="254" y="9"/>
                    </a:lnTo>
                    <a:lnTo>
                      <a:pt x="226" y="18"/>
                    </a:lnTo>
                    <a:lnTo>
                      <a:pt x="219" y="20"/>
                    </a:lnTo>
                    <a:lnTo>
                      <a:pt x="213" y="20"/>
                    </a:lnTo>
                    <a:lnTo>
                      <a:pt x="195" y="22"/>
                    </a:lnTo>
                    <a:lnTo>
                      <a:pt x="177" y="27"/>
                    </a:lnTo>
                    <a:lnTo>
                      <a:pt x="138" y="40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0" y="40"/>
                    </a:lnTo>
                    <a:lnTo>
                      <a:pt x="90" y="38"/>
                    </a:lnTo>
                    <a:lnTo>
                      <a:pt x="87" y="38"/>
                    </a:lnTo>
                    <a:lnTo>
                      <a:pt x="85" y="33"/>
                    </a:lnTo>
                    <a:lnTo>
                      <a:pt x="85" y="33"/>
                    </a:lnTo>
                    <a:lnTo>
                      <a:pt x="83" y="31"/>
                    </a:lnTo>
                    <a:lnTo>
                      <a:pt x="81" y="33"/>
                    </a:lnTo>
                    <a:lnTo>
                      <a:pt x="68" y="42"/>
                    </a:lnTo>
                    <a:lnTo>
                      <a:pt x="63" y="44"/>
                    </a:lnTo>
                    <a:lnTo>
                      <a:pt x="59" y="46"/>
                    </a:lnTo>
                    <a:lnTo>
                      <a:pt x="54" y="46"/>
                    </a:lnTo>
                    <a:lnTo>
                      <a:pt x="46" y="44"/>
                    </a:lnTo>
                    <a:lnTo>
                      <a:pt x="43" y="44"/>
                    </a:lnTo>
                    <a:lnTo>
                      <a:pt x="43" y="42"/>
                    </a:lnTo>
                    <a:lnTo>
                      <a:pt x="41" y="42"/>
                    </a:lnTo>
                    <a:lnTo>
                      <a:pt x="41" y="42"/>
                    </a:lnTo>
                    <a:lnTo>
                      <a:pt x="39" y="42"/>
                    </a:lnTo>
                    <a:lnTo>
                      <a:pt x="39" y="44"/>
                    </a:lnTo>
                    <a:lnTo>
                      <a:pt x="39" y="49"/>
                    </a:lnTo>
                    <a:lnTo>
                      <a:pt x="39" y="60"/>
                    </a:lnTo>
                    <a:lnTo>
                      <a:pt x="41" y="66"/>
                    </a:lnTo>
                    <a:lnTo>
                      <a:pt x="41" y="68"/>
                    </a:lnTo>
                    <a:lnTo>
                      <a:pt x="39" y="77"/>
                    </a:lnTo>
                    <a:lnTo>
                      <a:pt x="15" y="79"/>
                    </a:lnTo>
                    <a:lnTo>
                      <a:pt x="11" y="79"/>
                    </a:lnTo>
                    <a:lnTo>
                      <a:pt x="0" y="79"/>
                    </a:lnTo>
                    <a:lnTo>
                      <a:pt x="0" y="92"/>
                    </a:lnTo>
                    <a:lnTo>
                      <a:pt x="2" y="112"/>
                    </a:lnTo>
                    <a:lnTo>
                      <a:pt x="2" y="119"/>
                    </a:lnTo>
                    <a:lnTo>
                      <a:pt x="13" y="130"/>
                    </a:lnTo>
                    <a:lnTo>
                      <a:pt x="15" y="132"/>
                    </a:lnTo>
                    <a:lnTo>
                      <a:pt x="15" y="136"/>
                    </a:lnTo>
                    <a:lnTo>
                      <a:pt x="22" y="156"/>
                    </a:lnTo>
                    <a:lnTo>
                      <a:pt x="24" y="161"/>
                    </a:lnTo>
                    <a:lnTo>
                      <a:pt x="26" y="163"/>
                    </a:lnTo>
                    <a:lnTo>
                      <a:pt x="28" y="165"/>
                    </a:lnTo>
                    <a:lnTo>
                      <a:pt x="32" y="167"/>
                    </a:lnTo>
                    <a:lnTo>
                      <a:pt x="35" y="169"/>
                    </a:lnTo>
                    <a:lnTo>
                      <a:pt x="37" y="171"/>
                    </a:lnTo>
                    <a:lnTo>
                      <a:pt x="37" y="171"/>
                    </a:lnTo>
                    <a:lnTo>
                      <a:pt x="41" y="169"/>
                    </a:lnTo>
                    <a:lnTo>
                      <a:pt x="43" y="169"/>
                    </a:lnTo>
                    <a:lnTo>
                      <a:pt x="48" y="169"/>
                    </a:lnTo>
                    <a:lnTo>
                      <a:pt x="48" y="171"/>
                    </a:lnTo>
                    <a:lnTo>
                      <a:pt x="50" y="174"/>
                    </a:lnTo>
                    <a:lnTo>
                      <a:pt x="50" y="176"/>
                    </a:lnTo>
                    <a:lnTo>
                      <a:pt x="50" y="185"/>
                    </a:lnTo>
                    <a:lnTo>
                      <a:pt x="52" y="193"/>
                    </a:lnTo>
                    <a:lnTo>
                      <a:pt x="52" y="200"/>
                    </a:lnTo>
                    <a:lnTo>
                      <a:pt x="52" y="202"/>
                    </a:lnTo>
                    <a:lnTo>
                      <a:pt x="54" y="204"/>
                    </a:lnTo>
                    <a:lnTo>
                      <a:pt x="63" y="213"/>
                    </a:lnTo>
                    <a:lnTo>
                      <a:pt x="63" y="215"/>
                    </a:lnTo>
                    <a:lnTo>
                      <a:pt x="65" y="222"/>
                    </a:lnTo>
                    <a:lnTo>
                      <a:pt x="65" y="224"/>
                    </a:lnTo>
                    <a:lnTo>
                      <a:pt x="68" y="224"/>
                    </a:lnTo>
                    <a:lnTo>
                      <a:pt x="72" y="226"/>
                    </a:lnTo>
                    <a:lnTo>
                      <a:pt x="76" y="231"/>
                    </a:lnTo>
                    <a:lnTo>
                      <a:pt x="85" y="248"/>
                    </a:lnTo>
                    <a:lnTo>
                      <a:pt x="85" y="250"/>
                    </a:lnTo>
                    <a:lnTo>
                      <a:pt x="90" y="253"/>
                    </a:lnTo>
                    <a:lnTo>
                      <a:pt x="90" y="253"/>
                    </a:lnTo>
                    <a:lnTo>
                      <a:pt x="94" y="253"/>
                    </a:lnTo>
                    <a:lnTo>
                      <a:pt x="103" y="248"/>
                    </a:lnTo>
                    <a:lnTo>
                      <a:pt x="105" y="248"/>
                    </a:lnTo>
                    <a:lnTo>
                      <a:pt x="109" y="248"/>
                    </a:lnTo>
                    <a:lnTo>
                      <a:pt x="112" y="248"/>
                    </a:lnTo>
                    <a:lnTo>
                      <a:pt x="127" y="255"/>
                    </a:lnTo>
                    <a:lnTo>
                      <a:pt x="129" y="255"/>
                    </a:lnTo>
                    <a:lnTo>
                      <a:pt x="129" y="257"/>
                    </a:lnTo>
                    <a:lnTo>
                      <a:pt x="133" y="259"/>
                    </a:lnTo>
                    <a:lnTo>
                      <a:pt x="149" y="266"/>
                    </a:lnTo>
                    <a:lnTo>
                      <a:pt x="158" y="272"/>
                    </a:lnTo>
                    <a:lnTo>
                      <a:pt x="160" y="275"/>
                    </a:lnTo>
                    <a:lnTo>
                      <a:pt x="160" y="277"/>
                    </a:lnTo>
                    <a:lnTo>
                      <a:pt x="155" y="283"/>
                    </a:lnTo>
                    <a:lnTo>
                      <a:pt x="158" y="288"/>
                    </a:lnTo>
                    <a:lnTo>
                      <a:pt x="160" y="292"/>
                    </a:lnTo>
                    <a:lnTo>
                      <a:pt x="173" y="319"/>
                    </a:lnTo>
                    <a:lnTo>
                      <a:pt x="175" y="323"/>
                    </a:lnTo>
                    <a:lnTo>
                      <a:pt x="177" y="329"/>
                    </a:lnTo>
                    <a:lnTo>
                      <a:pt x="175" y="347"/>
                    </a:lnTo>
                    <a:lnTo>
                      <a:pt x="175" y="349"/>
                    </a:lnTo>
                    <a:lnTo>
                      <a:pt x="171" y="356"/>
                    </a:lnTo>
                    <a:lnTo>
                      <a:pt x="171" y="362"/>
                    </a:lnTo>
                    <a:lnTo>
                      <a:pt x="171" y="367"/>
                    </a:lnTo>
                    <a:lnTo>
                      <a:pt x="171" y="369"/>
                    </a:lnTo>
                    <a:lnTo>
                      <a:pt x="173" y="369"/>
                    </a:lnTo>
                    <a:lnTo>
                      <a:pt x="180" y="373"/>
                    </a:lnTo>
                    <a:lnTo>
                      <a:pt x="191" y="380"/>
                    </a:lnTo>
                    <a:lnTo>
                      <a:pt x="191" y="378"/>
                    </a:lnTo>
                    <a:lnTo>
                      <a:pt x="191" y="376"/>
                    </a:lnTo>
                    <a:lnTo>
                      <a:pt x="193" y="373"/>
                    </a:lnTo>
                    <a:lnTo>
                      <a:pt x="193" y="371"/>
                    </a:lnTo>
                    <a:lnTo>
                      <a:pt x="195" y="371"/>
                    </a:lnTo>
                    <a:lnTo>
                      <a:pt x="197" y="369"/>
                    </a:lnTo>
                    <a:lnTo>
                      <a:pt x="199" y="369"/>
                    </a:lnTo>
                    <a:lnTo>
                      <a:pt x="199" y="367"/>
                    </a:lnTo>
                    <a:lnTo>
                      <a:pt x="202" y="365"/>
                    </a:lnTo>
                    <a:lnTo>
                      <a:pt x="202" y="360"/>
                    </a:lnTo>
                    <a:lnTo>
                      <a:pt x="204" y="358"/>
                    </a:lnTo>
                    <a:lnTo>
                      <a:pt x="206" y="356"/>
                    </a:lnTo>
                    <a:lnTo>
                      <a:pt x="219" y="340"/>
                    </a:lnTo>
                    <a:lnTo>
                      <a:pt x="221" y="338"/>
                    </a:lnTo>
                    <a:lnTo>
                      <a:pt x="226" y="338"/>
                    </a:lnTo>
                    <a:lnTo>
                      <a:pt x="228" y="338"/>
                    </a:lnTo>
                    <a:lnTo>
                      <a:pt x="230" y="336"/>
                    </a:lnTo>
                    <a:lnTo>
                      <a:pt x="232" y="334"/>
                    </a:lnTo>
                    <a:lnTo>
                      <a:pt x="239" y="327"/>
                    </a:lnTo>
                    <a:lnTo>
                      <a:pt x="243" y="323"/>
                    </a:lnTo>
                    <a:lnTo>
                      <a:pt x="254" y="321"/>
                    </a:lnTo>
                    <a:lnTo>
                      <a:pt x="252" y="321"/>
                    </a:lnTo>
                    <a:lnTo>
                      <a:pt x="252" y="321"/>
                    </a:lnTo>
                    <a:lnTo>
                      <a:pt x="252" y="321"/>
                    </a:lnTo>
                    <a:lnTo>
                      <a:pt x="250" y="316"/>
                    </a:lnTo>
                    <a:lnTo>
                      <a:pt x="250" y="316"/>
                    </a:lnTo>
                    <a:lnTo>
                      <a:pt x="250" y="312"/>
                    </a:lnTo>
                    <a:lnTo>
                      <a:pt x="248" y="308"/>
                    </a:lnTo>
                    <a:lnTo>
                      <a:pt x="248" y="308"/>
                    </a:lnTo>
                    <a:lnTo>
                      <a:pt x="245" y="305"/>
                    </a:lnTo>
                    <a:lnTo>
                      <a:pt x="248" y="305"/>
                    </a:lnTo>
                    <a:lnTo>
                      <a:pt x="248" y="305"/>
                    </a:lnTo>
                    <a:lnTo>
                      <a:pt x="250" y="305"/>
                    </a:lnTo>
                    <a:lnTo>
                      <a:pt x="254" y="303"/>
                    </a:lnTo>
                    <a:lnTo>
                      <a:pt x="256" y="301"/>
                    </a:lnTo>
                    <a:lnTo>
                      <a:pt x="259" y="301"/>
                    </a:lnTo>
                    <a:lnTo>
                      <a:pt x="259" y="299"/>
                    </a:lnTo>
                    <a:lnTo>
                      <a:pt x="265" y="286"/>
                    </a:lnTo>
                    <a:lnTo>
                      <a:pt x="265" y="283"/>
                    </a:lnTo>
                    <a:lnTo>
                      <a:pt x="265" y="281"/>
                    </a:lnTo>
                    <a:lnTo>
                      <a:pt x="265" y="277"/>
                    </a:lnTo>
                    <a:lnTo>
                      <a:pt x="265" y="275"/>
                    </a:lnTo>
                    <a:lnTo>
                      <a:pt x="263" y="272"/>
                    </a:lnTo>
                    <a:lnTo>
                      <a:pt x="263" y="272"/>
                    </a:lnTo>
                    <a:lnTo>
                      <a:pt x="259" y="268"/>
                    </a:lnTo>
                    <a:lnTo>
                      <a:pt x="256" y="266"/>
                    </a:lnTo>
                    <a:lnTo>
                      <a:pt x="254" y="264"/>
                    </a:lnTo>
                    <a:lnTo>
                      <a:pt x="254" y="261"/>
                    </a:lnTo>
                    <a:lnTo>
                      <a:pt x="254" y="259"/>
                    </a:lnTo>
                    <a:lnTo>
                      <a:pt x="254" y="259"/>
                    </a:lnTo>
                    <a:lnTo>
                      <a:pt x="256" y="257"/>
                    </a:lnTo>
                    <a:lnTo>
                      <a:pt x="261" y="253"/>
                    </a:lnTo>
                    <a:lnTo>
                      <a:pt x="261" y="253"/>
                    </a:lnTo>
                    <a:lnTo>
                      <a:pt x="263" y="250"/>
                    </a:lnTo>
                    <a:lnTo>
                      <a:pt x="263" y="248"/>
                    </a:lnTo>
                    <a:lnTo>
                      <a:pt x="265" y="246"/>
                    </a:lnTo>
                    <a:lnTo>
                      <a:pt x="265" y="246"/>
                    </a:lnTo>
                    <a:lnTo>
                      <a:pt x="267" y="246"/>
                    </a:lnTo>
                    <a:lnTo>
                      <a:pt x="270" y="248"/>
                    </a:lnTo>
                    <a:lnTo>
                      <a:pt x="272" y="253"/>
                    </a:lnTo>
                    <a:lnTo>
                      <a:pt x="274" y="255"/>
                    </a:lnTo>
                    <a:lnTo>
                      <a:pt x="274" y="255"/>
                    </a:lnTo>
                    <a:lnTo>
                      <a:pt x="276" y="255"/>
                    </a:lnTo>
                    <a:lnTo>
                      <a:pt x="278" y="257"/>
                    </a:lnTo>
                    <a:lnTo>
                      <a:pt x="283" y="259"/>
                    </a:lnTo>
                    <a:lnTo>
                      <a:pt x="285" y="259"/>
                    </a:lnTo>
                    <a:lnTo>
                      <a:pt x="287" y="259"/>
                    </a:lnTo>
                    <a:lnTo>
                      <a:pt x="294" y="257"/>
                    </a:lnTo>
                    <a:lnTo>
                      <a:pt x="300" y="255"/>
                    </a:lnTo>
                    <a:lnTo>
                      <a:pt x="303" y="255"/>
                    </a:lnTo>
                    <a:lnTo>
                      <a:pt x="305" y="257"/>
                    </a:lnTo>
                    <a:lnTo>
                      <a:pt x="307" y="257"/>
                    </a:lnTo>
                    <a:lnTo>
                      <a:pt x="309" y="257"/>
                    </a:lnTo>
                    <a:lnTo>
                      <a:pt x="314" y="257"/>
                    </a:lnTo>
                    <a:lnTo>
                      <a:pt x="318" y="257"/>
                    </a:lnTo>
                    <a:lnTo>
                      <a:pt x="327" y="255"/>
                    </a:lnTo>
                    <a:lnTo>
                      <a:pt x="327" y="255"/>
                    </a:lnTo>
                    <a:lnTo>
                      <a:pt x="329" y="253"/>
                    </a:lnTo>
                    <a:lnTo>
                      <a:pt x="329" y="250"/>
                    </a:lnTo>
                    <a:lnTo>
                      <a:pt x="331" y="248"/>
                    </a:lnTo>
                    <a:lnTo>
                      <a:pt x="331" y="248"/>
                    </a:lnTo>
                    <a:lnTo>
                      <a:pt x="333" y="248"/>
                    </a:lnTo>
                    <a:lnTo>
                      <a:pt x="333" y="246"/>
                    </a:lnTo>
                    <a:lnTo>
                      <a:pt x="335" y="246"/>
                    </a:lnTo>
                    <a:lnTo>
                      <a:pt x="338" y="246"/>
                    </a:lnTo>
                    <a:lnTo>
                      <a:pt x="344" y="248"/>
                    </a:lnTo>
                    <a:lnTo>
                      <a:pt x="349" y="248"/>
                    </a:lnTo>
                    <a:lnTo>
                      <a:pt x="353" y="250"/>
                    </a:lnTo>
                    <a:lnTo>
                      <a:pt x="362" y="257"/>
                    </a:lnTo>
                    <a:lnTo>
                      <a:pt x="366" y="257"/>
                    </a:lnTo>
                    <a:lnTo>
                      <a:pt x="368" y="257"/>
                    </a:lnTo>
                    <a:lnTo>
                      <a:pt x="368" y="259"/>
                    </a:lnTo>
                    <a:lnTo>
                      <a:pt x="382" y="270"/>
                    </a:lnTo>
                    <a:lnTo>
                      <a:pt x="390" y="279"/>
                    </a:lnTo>
                    <a:lnTo>
                      <a:pt x="395" y="281"/>
                    </a:lnTo>
                    <a:lnTo>
                      <a:pt x="395" y="283"/>
                    </a:lnTo>
                    <a:lnTo>
                      <a:pt x="397" y="286"/>
                    </a:lnTo>
                    <a:lnTo>
                      <a:pt x="397" y="290"/>
                    </a:lnTo>
                    <a:lnTo>
                      <a:pt x="397" y="290"/>
                    </a:lnTo>
                    <a:lnTo>
                      <a:pt x="397" y="290"/>
                    </a:lnTo>
                    <a:lnTo>
                      <a:pt x="399" y="292"/>
                    </a:lnTo>
                    <a:lnTo>
                      <a:pt x="399" y="292"/>
                    </a:lnTo>
                    <a:lnTo>
                      <a:pt x="406" y="294"/>
                    </a:lnTo>
                    <a:lnTo>
                      <a:pt x="408" y="294"/>
                    </a:lnTo>
                    <a:lnTo>
                      <a:pt x="410" y="297"/>
                    </a:lnTo>
                    <a:lnTo>
                      <a:pt x="412" y="301"/>
                    </a:lnTo>
                    <a:lnTo>
                      <a:pt x="417" y="303"/>
                    </a:lnTo>
                    <a:lnTo>
                      <a:pt x="419" y="305"/>
                    </a:lnTo>
                    <a:lnTo>
                      <a:pt x="421" y="305"/>
                    </a:lnTo>
                    <a:lnTo>
                      <a:pt x="423" y="308"/>
                    </a:lnTo>
                    <a:lnTo>
                      <a:pt x="430" y="310"/>
                    </a:lnTo>
                    <a:lnTo>
                      <a:pt x="432" y="310"/>
                    </a:lnTo>
                    <a:lnTo>
                      <a:pt x="434" y="310"/>
                    </a:lnTo>
                    <a:lnTo>
                      <a:pt x="436" y="308"/>
                    </a:lnTo>
                    <a:lnTo>
                      <a:pt x="439" y="308"/>
                    </a:lnTo>
                    <a:lnTo>
                      <a:pt x="445" y="303"/>
                    </a:lnTo>
                    <a:lnTo>
                      <a:pt x="447" y="301"/>
                    </a:lnTo>
                    <a:lnTo>
                      <a:pt x="447" y="301"/>
                    </a:lnTo>
                    <a:lnTo>
                      <a:pt x="450" y="299"/>
                    </a:lnTo>
                    <a:lnTo>
                      <a:pt x="452" y="299"/>
                    </a:lnTo>
                    <a:lnTo>
                      <a:pt x="454" y="301"/>
                    </a:lnTo>
                    <a:lnTo>
                      <a:pt x="456" y="303"/>
                    </a:lnTo>
                    <a:lnTo>
                      <a:pt x="458" y="303"/>
                    </a:lnTo>
                    <a:lnTo>
                      <a:pt x="461" y="303"/>
                    </a:lnTo>
                    <a:lnTo>
                      <a:pt x="463" y="303"/>
                    </a:lnTo>
                    <a:lnTo>
                      <a:pt x="469" y="303"/>
                    </a:lnTo>
                    <a:lnTo>
                      <a:pt x="489" y="303"/>
                    </a:lnTo>
                    <a:lnTo>
                      <a:pt x="496" y="301"/>
                    </a:lnTo>
                    <a:lnTo>
                      <a:pt x="518" y="297"/>
                    </a:lnTo>
                    <a:lnTo>
                      <a:pt x="524" y="292"/>
                    </a:lnTo>
                    <a:lnTo>
                      <a:pt x="524" y="292"/>
                    </a:lnTo>
                    <a:lnTo>
                      <a:pt x="526" y="290"/>
                    </a:lnTo>
                    <a:lnTo>
                      <a:pt x="529" y="288"/>
                    </a:lnTo>
                    <a:lnTo>
                      <a:pt x="531" y="288"/>
                    </a:lnTo>
                    <a:lnTo>
                      <a:pt x="533" y="279"/>
                    </a:lnTo>
                    <a:lnTo>
                      <a:pt x="535" y="277"/>
                    </a:lnTo>
                    <a:lnTo>
                      <a:pt x="535" y="272"/>
                    </a:lnTo>
                    <a:lnTo>
                      <a:pt x="535" y="268"/>
                    </a:lnTo>
                    <a:lnTo>
                      <a:pt x="535" y="259"/>
                    </a:lnTo>
                    <a:lnTo>
                      <a:pt x="535" y="257"/>
                    </a:lnTo>
                    <a:lnTo>
                      <a:pt x="535" y="253"/>
                    </a:lnTo>
                    <a:lnTo>
                      <a:pt x="537" y="253"/>
                    </a:lnTo>
                    <a:lnTo>
                      <a:pt x="555" y="224"/>
                    </a:lnTo>
                    <a:lnTo>
                      <a:pt x="555" y="224"/>
                    </a:lnTo>
                    <a:lnTo>
                      <a:pt x="557" y="207"/>
                    </a:lnTo>
                    <a:lnTo>
                      <a:pt x="557" y="204"/>
                    </a:lnTo>
                    <a:lnTo>
                      <a:pt x="557" y="202"/>
                    </a:lnTo>
                    <a:lnTo>
                      <a:pt x="557" y="200"/>
                    </a:lnTo>
                    <a:lnTo>
                      <a:pt x="557" y="198"/>
                    </a:lnTo>
                    <a:lnTo>
                      <a:pt x="555" y="198"/>
                    </a:lnTo>
                    <a:lnTo>
                      <a:pt x="551" y="193"/>
                    </a:lnTo>
                    <a:lnTo>
                      <a:pt x="548" y="191"/>
                    </a:lnTo>
                    <a:lnTo>
                      <a:pt x="546" y="191"/>
                    </a:lnTo>
                    <a:lnTo>
                      <a:pt x="540" y="189"/>
                    </a:lnTo>
                    <a:lnTo>
                      <a:pt x="533" y="187"/>
                    </a:lnTo>
                    <a:lnTo>
                      <a:pt x="531" y="185"/>
                    </a:lnTo>
                    <a:lnTo>
                      <a:pt x="529" y="185"/>
                    </a:lnTo>
                    <a:lnTo>
                      <a:pt x="524" y="185"/>
                    </a:lnTo>
                    <a:lnTo>
                      <a:pt x="522" y="185"/>
                    </a:lnTo>
                    <a:lnTo>
                      <a:pt x="522" y="185"/>
                    </a:lnTo>
                    <a:lnTo>
                      <a:pt x="522" y="182"/>
                    </a:lnTo>
                    <a:lnTo>
                      <a:pt x="522" y="180"/>
                    </a:lnTo>
                    <a:lnTo>
                      <a:pt x="524" y="180"/>
                    </a:lnTo>
                    <a:lnTo>
                      <a:pt x="524" y="180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49" name="Freeform 7"/>
              <p:cNvSpPr>
                <a:spLocks/>
              </p:cNvSpPr>
              <p:nvPr/>
            </p:nvSpPr>
            <p:spPr bwMode="auto">
              <a:xfrm>
                <a:off x="4900613" y="3519488"/>
                <a:ext cx="828675" cy="615950"/>
              </a:xfrm>
              <a:custGeom>
                <a:avLst/>
                <a:gdLst>
                  <a:gd name="T0" fmla="*/ 518 w 522"/>
                  <a:gd name="T1" fmla="*/ 55 h 388"/>
                  <a:gd name="T2" fmla="*/ 509 w 522"/>
                  <a:gd name="T3" fmla="*/ 48 h 388"/>
                  <a:gd name="T4" fmla="*/ 468 w 522"/>
                  <a:gd name="T5" fmla="*/ 52 h 388"/>
                  <a:gd name="T6" fmla="*/ 432 w 522"/>
                  <a:gd name="T7" fmla="*/ 77 h 388"/>
                  <a:gd name="T8" fmla="*/ 399 w 522"/>
                  <a:gd name="T9" fmla="*/ 120 h 388"/>
                  <a:gd name="T10" fmla="*/ 391 w 522"/>
                  <a:gd name="T11" fmla="*/ 138 h 388"/>
                  <a:gd name="T12" fmla="*/ 373 w 522"/>
                  <a:gd name="T13" fmla="*/ 162 h 388"/>
                  <a:gd name="T14" fmla="*/ 349 w 522"/>
                  <a:gd name="T15" fmla="*/ 171 h 388"/>
                  <a:gd name="T16" fmla="*/ 309 w 522"/>
                  <a:gd name="T17" fmla="*/ 193 h 388"/>
                  <a:gd name="T18" fmla="*/ 294 w 522"/>
                  <a:gd name="T19" fmla="*/ 169 h 388"/>
                  <a:gd name="T20" fmla="*/ 283 w 522"/>
                  <a:gd name="T21" fmla="*/ 151 h 388"/>
                  <a:gd name="T22" fmla="*/ 283 w 522"/>
                  <a:gd name="T23" fmla="*/ 138 h 388"/>
                  <a:gd name="T24" fmla="*/ 274 w 522"/>
                  <a:gd name="T25" fmla="*/ 120 h 388"/>
                  <a:gd name="T26" fmla="*/ 268 w 522"/>
                  <a:gd name="T27" fmla="*/ 118 h 388"/>
                  <a:gd name="T28" fmla="*/ 261 w 522"/>
                  <a:gd name="T29" fmla="*/ 74 h 388"/>
                  <a:gd name="T30" fmla="*/ 246 w 522"/>
                  <a:gd name="T31" fmla="*/ 41 h 388"/>
                  <a:gd name="T32" fmla="*/ 230 w 522"/>
                  <a:gd name="T33" fmla="*/ 63 h 388"/>
                  <a:gd name="T34" fmla="*/ 215 w 522"/>
                  <a:gd name="T35" fmla="*/ 61 h 388"/>
                  <a:gd name="T36" fmla="*/ 208 w 522"/>
                  <a:gd name="T37" fmla="*/ 41 h 388"/>
                  <a:gd name="T38" fmla="*/ 202 w 522"/>
                  <a:gd name="T39" fmla="*/ 28 h 388"/>
                  <a:gd name="T40" fmla="*/ 195 w 522"/>
                  <a:gd name="T41" fmla="*/ 20 h 388"/>
                  <a:gd name="T42" fmla="*/ 191 w 522"/>
                  <a:gd name="T43" fmla="*/ 9 h 388"/>
                  <a:gd name="T44" fmla="*/ 180 w 522"/>
                  <a:gd name="T45" fmla="*/ 4 h 388"/>
                  <a:gd name="T46" fmla="*/ 176 w 522"/>
                  <a:gd name="T47" fmla="*/ 37 h 388"/>
                  <a:gd name="T48" fmla="*/ 134 w 522"/>
                  <a:gd name="T49" fmla="*/ 37 h 388"/>
                  <a:gd name="T50" fmla="*/ 85 w 522"/>
                  <a:gd name="T51" fmla="*/ 33 h 388"/>
                  <a:gd name="T52" fmla="*/ 68 w 522"/>
                  <a:gd name="T53" fmla="*/ 41 h 388"/>
                  <a:gd name="T54" fmla="*/ 57 w 522"/>
                  <a:gd name="T55" fmla="*/ 39 h 388"/>
                  <a:gd name="T56" fmla="*/ 50 w 522"/>
                  <a:gd name="T57" fmla="*/ 22 h 388"/>
                  <a:gd name="T58" fmla="*/ 28 w 522"/>
                  <a:gd name="T59" fmla="*/ 28 h 388"/>
                  <a:gd name="T60" fmla="*/ 2 w 522"/>
                  <a:gd name="T61" fmla="*/ 39 h 388"/>
                  <a:gd name="T62" fmla="*/ 6 w 522"/>
                  <a:gd name="T63" fmla="*/ 59 h 388"/>
                  <a:gd name="T64" fmla="*/ 22 w 522"/>
                  <a:gd name="T65" fmla="*/ 77 h 388"/>
                  <a:gd name="T66" fmla="*/ 35 w 522"/>
                  <a:gd name="T67" fmla="*/ 99 h 388"/>
                  <a:gd name="T68" fmla="*/ 59 w 522"/>
                  <a:gd name="T69" fmla="*/ 120 h 388"/>
                  <a:gd name="T70" fmla="*/ 77 w 522"/>
                  <a:gd name="T71" fmla="*/ 127 h 388"/>
                  <a:gd name="T72" fmla="*/ 85 w 522"/>
                  <a:gd name="T73" fmla="*/ 136 h 388"/>
                  <a:gd name="T74" fmla="*/ 107 w 522"/>
                  <a:gd name="T75" fmla="*/ 156 h 388"/>
                  <a:gd name="T76" fmla="*/ 85 w 522"/>
                  <a:gd name="T77" fmla="*/ 178 h 388"/>
                  <a:gd name="T78" fmla="*/ 48 w 522"/>
                  <a:gd name="T79" fmla="*/ 259 h 388"/>
                  <a:gd name="T80" fmla="*/ 50 w 522"/>
                  <a:gd name="T81" fmla="*/ 274 h 388"/>
                  <a:gd name="T82" fmla="*/ 61 w 522"/>
                  <a:gd name="T83" fmla="*/ 316 h 388"/>
                  <a:gd name="T84" fmla="*/ 72 w 522"/>
                  <a:gd name="T85" fmla="*/ 322 h 388"/>
                  <a:gd name="T86" fmla="*/ 77 w 522"/>
                  <a:gd name="T87" fmla="*/ 331 h 388"/>
                  <a:gd name="T88" fmla="*/ 72 w 522"/>
                  <a:gd name="T89" fmla="*/ 366 h 388"/>
                  <a:gd name="T90" fmla="*/ 83 w 522"/>
                  <a:gd name="T91" fmla="*/ 371 h 388"/>
                  <a:gd name="T92" fmla="*/ 92 w 522"/>
                  <a:gd name="T93" fmla="*/ 379 h 388"/>
                  <a:gd name="T94" fmla="*/ 118 w 522"/>
                  <a:gd name="T95" fmla="*/ 382 h 388"/>
                  <a:gd name="T96" fmla="*/ 149 w 522"/>
                  <a:gd name="T97" fmla="*/ 355 h 388"/>
                  <a:gd name="T98" fmla="*/ 193 w 522"/>
                  <a:gd name="T99" fmla="*/ 362 h 388"/>
                  <a:gd name="T100" fmla="*/ 202 w 522"/>
                  <a:gd name="T101" fmla="*/ 373 h 388"/>
                  <a:gd name="T102" fmla="*/ 281 w 522"/>
                  <a:gd name="T103" fmla="*/ 375 h 388"/>
                  <a:gd name="T104" fmla="*/ 277 w 522"/>
                  <a:gd name="T105" fmla="*/ 320 h 388"/>
                  <a:gd name="T106" fmla="*/ 285 w 522"/>
                  <a:gd name="T107" fmla="*/ 294 h 388"/>
                  <a:gd name="T108" fmla="*/ 316 w 522"/>
                  <a:gd name="T109" fmla="*/ 285 h 388"/>
                  <a:gd name="T110" fmla="*/ 406 w 522"/>
                  <a:gd name="T111" fmla="*/ 263 h 388"/>
                  <a:gd name="T112" fmla="*/ 474 w 522"/>
                  <a:gd name="T113" fmla="*/ 259 h 388"/>
                  <a:gd name="T114" fmla="*/ 483 w 522"/>
                  <a:gd name="T115" fmla="*/ 188 h 388"/>
                  <a:gd name="T116" fmla="*/ 489 w 522"/>
                  <a:gd name="T117" fmla="*/ 158 h 388"/>
                  <a:gd name="T118" fmla="*/ 489 w 522"/>
                  <a:gd name="T119" fmla="*/ 131 h 388"/>
                  <a:gd name="T120" fmla="*/ 500 w 522"/>
                  <a:gd name="T121" fmla="*/ 112 h 388"/>
                  <a:gd name="T122" fmla="*/ 505 w 522"/>
                  <a:gd name="T123" fmla="*/ 81 h 388"/>
                  <a:gd name="T124" fmla="*/ 522 w 522"/>
                  <a:gd name="T125" fmla="*/ 6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22" h="388">
                    <a:moveTo>
                      <a:pt x="522" y="66"/>
                    </a:moveTo>
                    <a:lnTo>
                      <a:pt x="522" y="63"/>
                    </a:lnTo>
                    <a:lnTo>
                      <a:pt x="520" y="59"/>
                    </a:lnTo>
                    <a:lnTo>
                      <a:pt x="520" y="57"/>
                    </a:lnTo>
                    <a:lnTo>
                      <a:pt x="518" y="55"/>
                    </a:lnTo>
                    <a:lnTo>
                      <a:pt x="518" y="52"/>
                    </a:lnTo>
                    <a:lnTo>
                      <a:pt x="516" y="50"/>
                    </a:lnTo>
                    <a:lnTo>
                      <a:pt x="516" y="50"/>
                    </a:lnTo>
                    <a:lnTo>
                      <a:pt x="511" y="48"/>
                    </a:lnTo>
                    <a:lnTo>
                      <a:pt x="509" y="48"/>
                    </a:lnTo>
                    <a:lnTo>
                      <a:pt x="507" y="46"/>
                    </a:lnTo>
                    <a:lnTo>
                      <a:pt x="492" y="46"/>
                    </a:lnTo>
                    <a:lnTo>
                      <a:pt x="487" y="46"/>
                    </a:lnTo>
                    <a:lnTo>
                      <a:pt x="481" y="48"/>
                    </a:lnTo>
                    <a:lnTo>
                      <a:pt x="468" y="52"/>
                    </a:lnTo>
                    <a:lnTo>
                      <a:pt x="465" y="55"/>
                    </a:lnTo>
                    <a:lnTo>
                      <a:pt x="448" y="68"/>
                    </a:lnTo>
                    <a:lnTo>
                      <a:pt x="448" y="70"/>
                    </a:lnTo>
                    <a:lnTo>
                      <a:pt x="437" y="74"/>
                    </a:lnTo>
                    <a:lnTo>
                      <a:pt x="432" y="77"/>
                    </a:lnTo>
                    <a:lnTo>
                      <a:pt x="424" y="88"/>
                    </a:lnTo>
                    <a:lnTo>
                      <a:pt x="417" y="94"/>
                    </a:lnTo>
                    <a:lnTo>
                      <a:pt x="406" y="112"/>
                    </a:lnTo>
                    <a:lnTo>
                      <a:pt x="402" y="118"/>
                    </a:lnTo>
                    <a:lnTo>
                      <a:pt x="399" y="120"/>
                    </a:lnTo>
                    <a:lnTo>
                      <a:pt x="399" y="123"/>
                    </a:lnTo>
                    <a:lnTo>
                      <a:pt x="397" y="127"/>
                    </a:lnTo>
                    <a:lnTo>
                      <a:pt x="395" y="129"/>
                    </a:lnTo>
                    <a:lnTo>
                      <a:pt x="391" y="136"/>
                    </a:lnTo>
                    <a:lnTo>
                      <a:pt x="391" y="138"/>
                    </a:lnTo>
                    <a:lnTo>
                      <a:pt x="386" y="147"/>
                    </a:lnTo>
                    <a:lnTo>
                      <a:pt x="386" y="149"/>
                    </a:lnTo>
                    <a:lnTo>
                      <a:pt x="380" y="153"/>
                    </a:lnTo>
                    <a:lnTo>
                      <a:pt x="375" y="160"/>
                    </a:lnTo>
                    <a:lnTo>
                      <a:pt x="373" y="162"/>
                    </a:lnTo>
                    <a:lnTo>
                      <a:pt x="369" y="164"/>
                    </a:lnTo>
                    <a:lnTo>
                      <a:pt x="360" y="169"/>
                    </a:lnTo>
                    <a:lnTo>
                      <a:pt x="358" y="169"/>
                    </a:lnTo>
                    <a:lnTo>
                      <a:pt x="351" y="169"/>
                    </a:lnTo>
                    <a:lnTo>
                      <a:pt x="349" y="171"/>
                    </a:lnTo>
                    <a:lnTo>
                      <a:pt x="327" y="188"/>
                    </a:lnTo>
                    <a:lnTo>
                      <a:pt x="325" y="191"/>
                    </a:lnTo>
                    <a:lnTo>
                      <a:pt x="320" y="193"/>
                    </a:lnTo>
                    <a:lnTo>
                      <a:pt x="316" y="193"/>
                    </a:lnTo>
                    <a:lnTo>
                      <a:pt x="309" y="193"/>
                    </a:lnTo>
                    <a:lnTo>
                      <a:pt x="307" y="191"/>
                    </a:lnTo>
                    <a:lnTo>
                      <a:pt x="305" y="188"/>
                    </a:lnTo>
                    <a:lnTo>
                      <a:pt x="296" y="171"/>
                    </a:lnTo>
                    <a:lnTo>
                      <a:pt x="296" y="171"/>
                    </a:lnTo>
                    <a:lnTo>
                      <a:pt x="294" y="169"/>
                    </a:lnTo>
                    <a:lnTo>
                      <a:pt x="287" y="164"/>
                    </a:lnTo>
                    <a:lnTo>
                      <a:pt x="287" y="162"/>
                    </a:lnTo>
                    <a:lnTo>
                      <a:pt x="285" y="160"/>
                    </a:lnTo>
                    <a:lnTo>
                      <a:pt x="285" y="158"/>
                    </a:lnTo>
                    <a:lnTo>
                      <a:pt x="283" y="151"/>
                    </a:lnTo>
                    <a:lnTo>
                      <a:pt x="283" y="149"/>
                    </a:lnTo>
                    <a:lnTo>
                      <a:pt x="283" y="145"/>
                    </a:lnTo>
                    <a:lnTo>
                      <a:pt x="283" y="142"/>
                    </a:lnTo>
                    <a:lnTo>
                      <a:pt x="283" y="140"/>
                    </a:lnTo>
                    <a:lnTo>
                      <a:pt x="283" y="138"/>
                    </a:lnTo>
                    <a:lnTo>
                      <a:pt x="283" y="134"/>
                    </a:lnTo>
                    <a:lnTo>
                      <a:pt x="281" y="131"/>
                    </a:lnTo>
                    <a:lnTo>
                      <a:pt x="279" y="125"/>
                    </a:lnTo>
                    <a:lnTo>
                      <a:pt x="277" y="123"/>
                    </a:lnTo>
                    <a:lnTo>
                      <a:pt x="274" y="120"/>
                    </a:lnTo>
                    <a:lnTo>
                      <a:pt x="272" y="120"/>
                    </a:lnTo>
                    <a:lnTo>
                      <a:pt x="270" y="120"/>
                    </a:lnTo>
                    <a:lnTo>
                      <a:pt x="270" y="118"/>
                    </a:lnTo>
                    <a:lnTo>
                      <a:pt x="268" y="118"/>
                    </a:lnTo>
                    <a:lnTo>
                      <a:pt x="268" y="118"/>
                    </a:lnTo>
                    <a:lnTo>
                      <a:pt x="268" y="116"/>
                    </a:lnTo>
                    <a:lnTo>
                      <a:pt x="266" y="114"/>
                    </a:lnTo>
                    <a:lnTo>
                      <a:pt x="263" y="83"/>
                    </a:lnTo>
                    <a:lnTo>
                      <a:pt x="263" y="79"/>
                    </a:lnTo>
                    <a:lnTo>
                      <a:pt x="261" y="74"/>
                    </a:lnTo>
                    <a:lnTo>
                      <a:pt x="252" y="63"/>
                    </a:lnTo>
                    <a:lnTo>
                      <a:pt x="250" y="57"/>
                    </a:lnTo>
                    <a:lnTo>
                      <a:pt x="250" y="50"/>
                    </a:lnTo>
                    <a:lnTo>
                      <a:pt x="255" y="35"/>
                    </a:lnTo>
                    <a:lnTo>
                      <a:pt x="246" y="41"/>
                    </a:lnTo>
                    <a:lnTo>
                      <a:pt x="244" y="44"/>
                    </a:lnTo>
                    <a:lnTo>
                      <a:pt x="239" y="46"/>
                    </a:lnTo>
                    <a:lnTo>
                      <a:pt x="235" y="57"/>
                    </a:lnTo>
                    <a:lnTo>
                      <a:pt x="233" y="61"/>
                    </a:lnTo>
                    <a:lnTo>
                      <a:pt x="230" y="63"/>
                    </a:lnTo>
                    <a:lnTo>
                      <a:pt x="226" y="68"/>
                    </a:lnTo>
                    <a:lnTo>
                      <a:pt x="219" y="68"/>
                    </a:lnTo>
                    <a:lnTo>
                      <a:pt x="217" y="66"/>
                    </a:lnTo>
                    <a:lnTo>
                      <a:pt x="215" y="63"/>
                    </a:lnTo>
                    <a:lnTo>
                      <a:pt x="215" y="61"/>
                    </a:lnTo>
                    <a:lnTo>
                      <a:pt x="213" y="59"/>
                    </a:lnTo>
                    <a:lnTo>
                      <a:pt x="213" y="52"/>
                    </a:lnTo>
                    <a:lnTo>
                      <a:pt x="208" y="44"/>
                    </a:lnTo>
                    <a:lnTo>
                      <a:pt x="208" y="41"/>
                    </a:lnTo>
                    <a:lnTo>
                      <a:pt x="208" y="41"/>
                    </a:lnTo>
                    <a:lnTo>
                      <a:pt x="206" y="37"/>
                    </a:lnTo>
                    <a:lnTo>
                      <a:pt x="206" y="35"/>
                    </a:lnTo>
                    <a:lnTo>
                      <a:pt x="204" y="33"/>
                    </a:lnTo>
                    <a:lnTo>
                      <a:pt x="202" y="30"/>
                    </a:lnTo>
                    <a:lnTo>
                      <a:pt x="202" y="28"/>
                    </a:lnTo>
                    <a:lnTo>
                      <a:pt x="200" y="28"/>
                    </a:lnTo>
                    <a:lnTo>
                      <a:pt x="200" y="24"/>
                    </a:lnTo>
                    <a:lnTo>
                      <a:pt x="200" y="24"/>
                    </a:lnTo>
                    <a:lnTo>
                      <a:pt x="197" y="22"/>
                    </a:lnTo>
                    <a:lnTo>
                      <a:pt x="195" y="20"/>
                    </a:lnTo>
                    <a:lnTo>
                      <a:pt x="193" y="17"/>
                    </a:lnTo>
                    <a:lnTo>
                      <a:pt x="193" y="15"/>
                    </a:lnTo>
                    <a:lnTo>
                      <a:pt x="193" y="11"/>
                    </a:lnTo>
                    <a:lnTo>
                      <a:pt x="193" y="9"/>
                    </a:lnTo>
                    <a:lnTo>
                      <a:pt x="191" y="9"/>
                    </a:lnTo>
                    <a:lnTo>
                      <a:pt x="189" y="2"/>
                    </a:lnTo>
                    <a:lnTo>
                      <a:pt x="186" y="0"/>
                    </a:lnTo>
                    <a:lnTo>
                      <a:pt x="184" y="0"/>
                    </a:lnTo>
                    <a:lnTo>
                      <a:pt x="182" y="2"/>
                    </a:lnTo>
                    <a:lnTo>
                      <a:pt x="180" y="4"/>
                    </a:lnTo>
                    <a:lnTo>
                      <a:pt x="178" y="6"/>
                    </a:lnTo>
                    <a:lnTo>
                      <a:pt x="178" y="11"/>
                    </a:lnTo>
                    <a:lnTo>
                      <a:pt x="178" y="24"/>
                    </a:lnTo>
                    <a:lnTo>
                      <a:pt x="178" y="33"/>
                    </a:lnTo>
                    <a:lnTo>
                      <a:pt x="176" y="37"/>
                    </a:lnTo>
                    <a:lnTo>
                      <a:pt x="173" y="39"/>
                    </a:lnTo>
                    <a:lnTo>
                      <a:pt x="173" y="39"/>
                    </a:lnTo>
                    <a:lnTo>
                      <a:pt x="167" y="41"/>
                    </a:lnTo>
                    <a:lnTo>
                      <a:pt x="160" y="41"/>
                    </a:lnTo>
                    <a:lnTo>
                      <a:pt x="134" y="37"/>
                    </a:lnTo>
                    <a:lnTo>
                      <a:pt x="129" y="37"/>
                    </a:lnTo>
                    <a:lnTo>
                      <a:pt x="114" y="33"/>
                    </a:lnTo>
                    <a:lnTo>
                      <a:pt x="107" y="30"/>
                    </a:lnTo>
                    <a:lnTo>
                      <a:pt x="101" y="30"/>
                    </a:lnTo>
                    <a:lnTo>
                      <a:pt x="85" y="33"/>
                    </a:lnTo>
                    <a:lnTo>
                      <a:pt x="83" y="37"/>
                    </a:lnTo>
                    <a:lnTo>
                      <a:pt x="81" y="44"/>
                    </a:lnTo>
                    <a:lnTo>
                      <a:pt x="79" y="44"/>
                    </a:lnTo>
                    <a:lnTo>
                      <a:pt x="77" y="44"/>
                    </a:lnTo>
                    <a:lnTo>
                      <a:pt x="68" y="41"/>
                    </a:lnTo>
                    <a:lnTo>
                      <a:pt x="66" y="41"/>
                    </a:lnTo>
                    <a:lnTo>
                      <a:pt x="64" y="41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57" y="39"/>
                    </a:lnTo>
                    <a:lnTo>
                      <a:pt x="57" y="30"/>
                    </a:lnTo>
                    <a:lnTo>
                      <a:pt x="55" y="24"/>
                    </a:lnTo>
                    <a:lnTo>
                      <a:pt x="53" y="24"/>
                    </a:lnTo>
                    <a:lnTo>
                      <a:pt x="53" y="24"/>
                    </a:lnTo>
                    <a:lnTo>
                      <a:pt x="50" y="22"/>
                    </a:lnTo>
                    <a:lnTo>
                      <a:pt x="48" y="22"/>
                    </a:lnTo>
                    <a:lnTo>
                      <a:pt x="39" y="26"/>
                    </a:lnTo>
                    <a:lnTo>
                      <a:pt x="35" y="28"/>
                    </a:lnTo>
                    <a:lnTo>
                      <a:pt x="33" y="28"/>
                    </a:lnTo>
                    <a:lnTo>
                      <a:pt x="28" y="28"/>
                    </a:lnTo>
                    <a:lnTo>
                      <a:pt x="11" y="2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4" y="44"/>
                    </a:lnTo>
                    <a:lnTo>
                      <a:pt x="4" y="46"/>
                    </a:lnTo>
                    <a:lnTo>
                      <a:pt x="4" y="55"/>
                    </a:lnTo>
                    <a:lnTo>
                      <a:pt x="4" y="57"/>
                    </a:lnTo>
                    <a:lnTo>
                      <a:pt x="6" y="59"/>
                    </a:lnTo>
                    <a:lnTo>
                      <a:pt x="13" y="61"/>
                    </a:lnTo>
                    <a:lnTo>
                      <a:pt x="13" y="63"/>
                    </a:lnTo>
                    <a:lnTo>
                      <a:pt x="20" y="72"/>
                    </a:lnTo>
                    <a:lnTo>
                      <a:pt x="20" y="74"/>
                    </a:lnTo>
                    <a:lnTo>
                      <a:pt x="22" y="77"/>
                    </a:lnTo>
                    <a:lnTo>
                      <a:pt x="20" y="79"/>
                    </a:lnTo>
                    <a:lnTo>
                      <a:pt x="20" y="81"/>
                    </a:lnTo>
                    <a:lnTo>
                      <a:pt x="20" y="83"/>
                    </a:lnTo>
                    <a:lnTo>
                      <a:pt x="24" y="88"/>
                    </a:lnTo>
                    <a:lnTo>
                      <a:pt x="35" y="99"/>
                    </a:lnTo>
                    <a:lnTo>
                      <a:pt x="37" y="99"/>
                    </a:lnTo>
                    <a:lnTo>
                      <a:pt x="46" y="103"/>
                    </a:lnTo>
                    <a:lnTo>
                      <a:pt x="46" y="105"/>
                    </a:lnTo>
                    <a:lnTo>
                      <a:pt x="55" y="112"/>
                    </a:lnTo>
                    <a:lnTo>
                      <a:pt x="59" y="120"/>
                    </a:lnTo>
                    <a:lnTo>
                      <a:pt x="61" y="120"/>
                    </a:lnTo>
                    <a:lnTo>
                      <a:pt x="64" y="123"/>
                    </a:lnTo>
                    <a:lnTo>
                      <a:pt x="75" y="125"/>
                    </a:lnTo>
                    <a:lnTo>
                      <a:pt x="75" y="125"/>
                    </a:lnTo>
                    <a:lnTo>
                      <a:pt x="77" y="127"/>
                    </a:lnTo>
                    <a:lnTo>
                      <a:pt x="77" y="129"/>
                    </a:lnTo>
                    <a:lnTo>
                      <a:pt x="77" y="129"/>
                    </a:lnTo>
                    <a:lnTo>
                      <a:pt x="79" y="129"/>
                    </a:lnTo>
                    <a:lnTo>
                      <a:pt x="81" y="134"/>
                    </a:lnTo>
                    <a:lnTo>
                      <a:pt x="85" y="136"/>
                    </a:lnTo>
                    <a:lnTo>
                      <a:pt x="94" y="140"/>
                    </a:lnTo>
                    <a:lnTo>
                      <a:pt x="101" y="142"/>
                    </a:lnTo>
                    <a:lnTo>
                      <a:pt x="105" y="147"/>
                    </a:lnTo>
                    <a:lnTo>
                      <a:pt x="107" y="149"/>
                    </a:lnTo>
                    <a:lnTo>
                      <a:pt x="107" y="156"/>
                    </a:lnTo>
                    <a:lnTo>
                      <a:pt x="105" y="158"/>
                    </a:lnTo>
                    <a:lnTo>
                      <a:pt x="105" y="160"/>
                    </a:lnTo>
                    <a:lnTo>
                      <a:pt x="101" y="162"/>
                    </a:lnTo>
                    <a:lnTo>
                      <a:pt x="88" y="175"/>
                    </a:lnTo>
                    <a:lnTo>
                      <a:pt x="85" y="178"/>
                    </a:lnTo>
                    <a:lnTo>
                      <a:pt x="66" y="221"/>
                    </a:lnTo>
                    <a:lnTo>
                      <a:pt x="66" y="232"/>
                    </a:lnTo>
                    <a:lnTo>
                      <a:pt x="64" y="239"/>
                    </a:lnTo>
                    <a:lnTo>
                      <a:pt x="50" y="254"/>
                    </a:lnTo>
                    <a:lnTo>
                      <a:pt x="48" y="259"/>
                    </a:lnTo>
                    <a:lnTo>
                      <a:pt x="46" y="263"/>
                    </a:lnTo>
                    <a:lnTo>
                      <a:pt x="46" y="265"/>
                    </a:lnTo>
                    <a:lnTo>
                      <a:pt x="46" y="265"/>
                    </a:lnTo>
                    <a:lnTo>
                      <a:pt x="46" y="268"/>
                    </a:lnTo>
                    <a:lnTo>
                      <a:pt x="50" y="274"/>
                    </a:lnTo>
                    <a:lnTo>
                      <a:pt x="57" y="287"/>
                    </a:lnTo>
                    <a:lnTo>
                      <a:pt x="59" y="296"/>
                    </a:lnTo>
                    <a:lnTo>
                      <a:pt x="59" y="307"/>
                    </a:lnTo>
                    <a:lnTo>
                      <a:pt x="61" y="314"/>
                    </a:lnTo>
                    <a:lnTo>
                      <a:pt x="61" y="316"/>
                    </a:lnTo>
                    <a:lnTo>
                      <a:pt x="64" y="318"/>
                    </a:lnTo>
                    <a:lnTo>
                      <a:pt x="66" y="320"/>
                    </a:lnTo>
                    <a:lnTo>
                      <a:pt x="68" y="322"/>
                    </a:lnTo>
                    <a:lnTo>
                      <a:pt x="70" y="322"/>
                    </a:lnTo>
                    <a:lnTo>
                      <a:pt x="72" y="322"/>
                    </a:lnTo>
                    <a:lnTo>
                      <a:pt x="75" y="325"/>
                    </a:lnTo>
                    <a:lnTo>
                      <a:pt x="77" y="327"/>
                    </a:lnTo>
                    <a:lnTo>
                      <a:pt x="77" y="327"/>
                    </a:lnTo>
                    <a:lnTo>
                      <a:pt x="77" y="329"/>
                    </a:lnTo>
                    <a:lnTo>
                      <a:pt x="77" y="331"/>
                    </a:lnTo>
                    <a:lnTo>
                      <a:pt x="72" y="338"/>
                    </a:lnTo>
                    <a:lnTo>
                      <a:pt x="72" y="340"/>
                    </a:lnTo>
                    <a:lnTo>
                      <a:pt x="72" y="349"/>
                    </a:lnTo>
                    <a:lnTo>
                      <a:pt x="72" y="360"/>
                    </a:lnTo>
                    <a:lnTo>
                      <a:pt x="72" y="366"/>
                    </a:lnTo>
                    <a:lnTo>
                      <a:pt x="75" y="368"/>
                    </a:lnTo>
                    <a:lnTo>
                      <a:pt x="77" y="371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3" y="371"/>
                    </a:lnTo>
                    <a:lnTo>
                      <a:pt x="85" y="371"/>
                    </a:lnTo>
                    <a:lnTo>
                      <a:pt x="90" y="373"/>
                    </a:lnTo>
                    <a:lnTo>
                      <a:pt x="90" y="373"/>
                    </a:lnTo>
                    <a:lnTo>
                      <a:pt x="92" y="375"/>
                    </a:lnTo>
                    <a:lnTo>
                      <a:pt x="92" y="379"/>
                    </a:lnTo>
                    <a:lnTo>
                      <a:pt x="94" y="384"/>
                    </a:lnTo>
                    <a:lnTo>
                      <a:pt x="101" y="388"/>
                    </a:lnTo>
                    <a:lnTo>
                      <a:pt x="103" y="388"/>
                    </a:lnTo>
                    <a:lnTo>
                      <a:pt x="105" y="388"/>
                    </a:lnTo>
                    <a:lnTo>
                      <a:pt x="118" y="382"/>
                    </a:lnTo>
                    <a:lnTo>
                      <a:pt x="123" y="377"/>
                    </a:lnTo>
                    <a:lnTo>
                      <a:pt x="136" y="360"/>
                    </a:lnTo>
                    <a:lnTo>
                      <a:pt x="138" y="357"/>
                    </a:lnTo>
                    <a:lnTo>
                      <a:pt x="140" y="357"/>
                    </a:lnTo>
                    <a:lnTo>
                      <a:pt x="149" y="355"/>
                    </a:lnTo>
                    <a:lnTo>
                      <a:pt x="173" y="355"/>
                    </a:lnTo>
                    <a:lnTo>
                      <a:pt x="180" y="355"/>
                    </a:lnTo>
                    <a:lnTo>
                      <a:pt x="186" y="360"/>
                    </a:lnTo>
                    <a:lnTo>
                      <a:pt x="191" y="362"/>
                    </a:lnTo>
                    <a:lnTo>
                      <a:pt x="193" y="362"/>
                    </a:lnTo>
                    <a:lnTo>
                      <a:pt x="195" y="366"/>
                    </a:lnTo>
                    <a:lnTo>
                      <a:pt x="195" y="368"/>
                    </a:lnTo>
                    <a:lnTo>
                      <a:pt x="197" y="373"/>
                    </a:lnTo>
                    <a:lnTo>
                      <a:pt x="200" y="373"/>
                    </a:lnTo>
                    <a:lnTo>
                      <a:pt x="202" y="373"/>
                    </a:lnTo>
                    <a:lnTo>
                      <a:pt x="202" y="375"/>
                    </a:lnTo>
                    <a:lnTo>
                      <a:pt x="239" y="377"/>
                    </a:lnTo>
                    <a:lnTo>
                      <a:pt x="248" y="379"/>
                    </a:lnTo>
                    <a:lnTo>
                      <a:pt x="255" y="386"/>
                    </a:lnTo>
                    <a:lnTo>
                      <a:pt x="281" y="375"/>
                    </a:lnTo>
                    <a:lnTo>
                      <a:pt x="285" y="371"/>
                    </a:lnTo>
                    <a:lnTo>
                      <a:pt x="287" y="368"/>
                    </a:lnTo>
                    <a:lnTo>
                      <a:pt x="283" y="357"/>
                    </a:lnTo>
                    <a:lnTo>
                      <a:pt x="277" y="325"/>
                    </a:lnTo>
                    <a:lnTo>
                      <a:pt x="277" y="320"/>
                    </a:lnTo>
                    <a:lnTo>
                      <a:pt x="277" y="316"/>
                    </a:lnTo>
                    <a:lnTo>
                      <a:pt x="279" y="305"/>
                    </a:lnTo>
                    <a:lnTo>
                      <a:pt x="281" y="300"/>
                    </a:lnTo>
                    <a:lnTo>
                      <a:pt x="283" y="298"/>
                    </a:lnTo>
                    <a:lnTo>
                      <a:pt x="285" y="294"/>
                    </a:lnTo>
                    <a:lnTo>
                      <a:pt x="292" y="292"/>
                    </a:lnTo>
                    <a:lnTo>
                      <a:pt x="294" y="289"/>
                    </a:lnTo>
                    <a:lnTo>
                      <a:pt x="301" y="287"/>
                    </a:lnTo>
                    <a:lnTo>
                      <a:pt x="303" y="287"/>
                    </a:lnTo>
                    <a:lnTo>
                      <a:pt x="316" y="285"/>
                    </a:lnTo>
                    <a:lnTo>
                      <a:pt x="338" y="287"/>
                    </a:lnTo>
                    <a:lnTo>
                      <a:pt x="351" y="285"/>
                    </a:lnTo>
                    <a:lnTo>
                      <a:pt x="364" y="283"/>
                    </a:lnTo>
                    <a:lnTo>
                      <a:pt x="371" y="281"/>
                    </a:lnTo>
                    <a:lnTo>
                      <a:pt x="406" y="263"/>
                    </a:lnTo>
                    <a:lnTo>
                      <a:pt x="408" y="263"/>
                    </a:lnTo>
                    <a:lnTo>
                      <a:pt x="413" y="263"/>
                    </a:lnTo>
                    <a:lnTo>
                      <a:pt x="435" y="265"/>
                    </a:lnTo>
                    <a:lnTo>
                      <a:pt x="435" y="265"/>
                    </a:lnTo>
                    <a:lnTo>
                      <a:pt x="474" y="259"/>
                    </a:lnTo>
                    <a:lnTo>
                      <a:pt x="516" y="239"/>
                    </a:lnTo>
                    <a:lnTo>
                      <a:pt x="492" y="204"/>
                    </a:lnTo>
                    <a:lnTo>
                      <a:pt x="489" y="199"/>
                    </a:lnTo>
                    <a:lnTo>
                      <a:pt x="487" y="195"/>
                    </a:lnTo>
                    <a:lnTo>
                      <a:pt x="483" y="188"/>
                    </a:lnTo>
                    <a:lnTo>
                      <a:pt x="483" y="186"/>
                    </a:lnTo>
                    <a:lnTo>
                      <a:pt x="483" y="184"/>
                    </a:lnTo>
                    <a:lnTo>
                      <a:pt x="483" y="182"/>
                    </a:lnTo>
                    <a:lnTo>
                      <a:pt x="485" y="173"/>
                    </a:lnTo>
                    <a:lnTo>
                      <a:pt x="489" y="158"/>
                    </a:lnTo>
                    <a:lnTo>
                      <a:pt x="492" y="149"/>
                    </a:lnTo>
                    <a:lnTo>
                      <a:pt x="492" y="145"/>
                    </a:lnTo>
                    <a:lnTo>
                      <a:pt x="492" y="142"/>
                    </a:lnTo>
                    <a:lnTo>
                      <a:pt x="489" y="134"/>
                    </a:lnTo>
                    <a:lnTo>
                      <a:pt x="489" y="131"/>
                    </a:lnTo>
                    <a:lnTo>
                      <a:pt x="492" y="129"/>
                    </a:lnTo>
                    <a:lnTo>
                      <a:pt x="492" y="127"/>
                    </a:lnTo>
                    <a:lnTo>
                      <a:pt x="492" y="127"/>
                    </a:lnTo>
                    <a:lnTo>
                      <a:pt x="496" y="120"/>
                    </a:lnTo>
                    <a:lnTo>
                      <a:pt x="500" y="112"/>
                    </a:lnTo>
                    <a:lnTo>
                      <a:pt x="500" y="105"/>
                    </a:lnTo>
                    <a:lnTo>
                      <a:pt x="503" y="85"/>
                    </a:lnTo>
                    <a:lnTo>
                      <a:pt x="503" y="83"/>
                    </a:lnTo>
                    <a:lnTo>
                      <a:pt x="503" y="81"/>
                    </a:lnTo>
                    <a:lnTo>
                      <a:pt x="505" y="81"/>
                    </a:lnTo>
                    <a:lnTo>
                      <a:pt x="507" y="79"/>
                    </a:lnTo>
                    <a:lnTo>
                      <a:pt x="518" y="74"/>
                    </a:lnTo>
                    <a:lnTo>
                      <a:pt x="520" y="72"/>
                    </a:lnTo>
                    <a:lnTo>
                      <a:pt x="522" y="70"/>
                    </a:lnTo>
                    <a:lnTo>
                      <a:pt x="522" y="68"/>
                    </a:lnTo>
                    <a:lnTo>
                      <a:pt x="522" y="66"/>
                    </a:lnTo>
                    <a:lnTo>
                      <a:pt x="522" y="66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50" name="Freeform 8"/>
              <p:cNvSpPr>
                <a:spLocks/>
              </p:cNvSpPr>
              <p:nvPr/>
            </p:nvSpPr>
            <p:spPr bwMode="auto">
              <a:xfrm>
                <a:off x="5346700" y="4598988"/>
                <a:ext cx="449263" cy="655637"/>
              </a:xfrm>
              <a:custGeom>
                <a:avLst/>
                <a:gdLst>
                  <a:gd name="T0" fmla="*/ 274 w 283"/>
                  <a:gd name="T1" fmla="*/ 169 h 413"/>
                  <a:gd name="T2" fmla="*/ 279 w 283"/>
                  <a:gd name="T3" fmla="*/ 162 h 413"/>
                  <a:gd name="T4" fmla="*/ 279 w 283"/>
                  <a:gd name="T5" fmla="*/ 158 h 413"/>
                  <a:gd name="T6" fmla="*/ 279 w 283"/>
                  <a:gd name="T7" fmla="*/ 147 h 413"/>
                  <a:gd name="T8" fmla="*/ 274 w 283"/>
                  <a:gd name="T9" fmla="*/ 125 h 413"/>
                  <a:gd name="T10" fmla="*/ 259 w 283"/>
                  <a:gd name="T11" fmla="*/ 99 h 413"/>
                  <a:gd name="T12" fmla="*/ 248 w 283"/>
                  <a:gd name="T13" fmla="*/ 90 h 413"/>
                  <a:gd name="T14" fmla="*/ 241 w 283"/>
                  <a:gd name="T15" fmla="*/ 90 h 413"/>
                  <a:gd name="T16" fmla="*/ 246 w 283"/>
                  <a:gd name="T17" fmla="*/ 48 h 413"/>
                  <a:gd name="T18" fmla="*/ 239 w 283"/>
                  <a:gd name="T19" fmla="*/ 11 h 413"/>
                  <a:gd name="T20" fmla="*/ 208 w 283"/>
                  <a:gd name="T21" fmla="*/ 0 h 413"/>
                  <a:gd name="T22" fmla="*/ 202 w 283"/>
                  <a:gd name="T23" fmla="*/ 7 h 413"/>
                  <a:gd name="T24" fmla="*/ 180 w 283"/>
                  <a:gd name="T25" fmla="*/ 11 h 413"/>
                  <a:gd name="T26" fmla="*/ 158 w 283"/>
                  <a:gd name="T27" fmla="*/ 13 h 413"/>
                  <a:gd name="T28" fmla="*/ 145 w 283"/>
                  <a:gd name="T29" fmla="*/ 7 h 413"/>
                  <a:gd name="T30" fmla="*/ 136 w 283"/>
                  <a:gd name="T31" fmla="*/ 4 h 413"/>
                  <a:gd name="T32" fmla="*/ 127 w 283"/>
                  <a:gd name="T33" fmla="*/ 15 h 413"/>
                  <a:gd name="T34" fmla="*/ 138 w 283"/>
                  <a:gd name="T35" fmla="*/ 29 h 413"/>
                  <a:gd name="T36" fmla="*/ 132 w 283"/>
                  <a:gd name="T37" fmla="*/ 55 h 413"/>
                  <a:gd name="T38" fmla="*/ 118 w 283"/>
                  <a:gd name="T39" fmla="*/ 59 h 413"/>
                  <a:gd name="T40" fmla="*/ 125 w 283"/>
                  <a:gd name="T41" fmla="*/ 75 h 413"/>
                  <a:gd name="T42" fmla="*/ 105 w 283"/>
                  <a:gd name="T43" fmla="*/ 88 h 413"/>
                  <a:gd name="T44" fmla="*/ 79 w 283"/>
                  <a:gd name="T45" fmla="*/ 110 h 413"/>
                  <a:gd name="T46" fmla="*/ 70 w 283"/>
                  <a:gd name="T47" fmla="*/ 123 h 413"/>
                  <a:gd name="T48" fmla="*/ 64 w 283"/>
                  <a:gd name="T49" fmla="*/ 134 h 413"/>
                  <a:gd name="T50" fmla="*/ 37 w 283"/>
                  <a:gd name="T51" fmla="*/ 169 h 413"/>
                  <a:gd name="T52" fmla="*/ 35 w 283"/>
                  <a:gd name="T53" fmla="*/ 195 h 413"/>
                  <a:gd name="T54" fmla="*/ 20 w 283"/>
                  <a:gd name="T55" fmla="*/ 209 h 413"/>
                  <a:gd name="T56" fmla="*/ 20 w 283"/>
                  <a:gd name="T57" fmla="*/ 231 h 413"/>
                  <a:gd name="T58" fmla="*/ 11 w 283"/>
                  <a:gd name="T59" fmla="*/ 244 h 413"/>
                  <a:gd name="T60" fmla="*/ 2 w 283"/>
                  <a:gd name="T61" fmla="*/ 263 h 413"/>
                  <a:gd name="T62" fmla="*/ 9 w 283"/>
                  <a:gd name="T63" fmla="*/ 272 h 413"/>
                  <a:gd name="T64" fmla="*/ 48 w 283"/>
                  <a:gd name="T65" fmla="*/ 279 h 413"/>
                  <a:gd name="T66" fmla="*/ 53 w 283"/>
                  <a:gd name="T67" fmla="*/ 301 h 413"/>
                  <a:gd name="T68" fmla="*/ 55 w 283"/>
                  <a:gd name="T69" fmla="*/ 323 h 413"/>
                  <a:gd name="T70" fmla="*/ 48 w 283"/>
                  <a:gd name="T71" fmla="*/ 349 h 413"/>
                  <a:gd name="T72" fmla="*/ 48 w 283"/>
                  <a:gd name="T73" fmla="*/ 362 h 413"/>
                  <a:gd name="T74" fmla="*/ 72 w 283"/>
                  <a:gd name="T75" fmla="*/ 375 h 413"/>
                  <a:gd name="T76" fmla="*/ 92 w 283"/>
                  <a:gd name="T77" fmla="*/ 384 h 413"/>
                  <a:gd name="T78" fmla="*/ 127 w 283"/>
                  <a:gd name="T79" fmla="*/ 404 h 413"/>
                  <a:gd name="T80" fmla="*/ 151 w 283"/>
                  <a:gd name="T81" fmla="*/ 402 h 413"/>
                  <a:gd name="T82" fmla="*/ 200 w 283"/>
                  <a:gd name="T83" fmla="*/ 389 h 413"/>
                  <a:gd name="T84" fmla="*/ 189 w 283"/>
                  <a:gd name="T85" fmla="*/ 307 h 413"/>
                  <a:gd name="T86" fmla="*/ 180 w 283"/>
                  <a:gd name="T87" fmla="*/ 296 h 413"/>
                  <a:gd name="T88" fmla="*/ 176 w 283"/>
                  <a:gd name="T89" fmla="*/ 288 h 413"/>
                  <a:gd name="T90" fmla="*/ 169 w 283"/>
                  <a:gd name="T91" fmla="*/ 261 h 413"/>
                  <a:gd name="T92" fmla="*/ 191 w 283"/>
                  <a:gd name="T93" fmla="*/ 255 h 413"/>
                  <a:gd name="T94" fmla="*/ 202 w 283"/>
                  <a:gd name="T95" fmla="*/ 266 h 413"/>
                  <a:gd name="T96" fmla="*/ 224 w 283"/>
                  <a:gd name="T97" fmla="*/ 261 h 413"/>
                  <a:gd name="T98" fmla="*/ 211 w 283"/>
                  <a:gd name="T99" fmla="*/ 250 h 413"/>
                  <a:gd name="T100" fmla="*/ 226 w 283"/>
                  <a:gd name="T101" fmla="*/ 233 h 413"/>
                  <a:gd name="T102" fmla="*/ 237 w 283"/>
                  <a:gd name="T103" fmla="*/ 233 h 413"/>
                  <a:gd name="T104" fmla="*/ 259 w 283"/>
                  <a:gd name="T105" fmla="*/ 226 h 413"/>
                  <a:gd name="T106" fmla="*/ 259 w 283"/>
                  <a:gd name="T107" fmla="*/ 211 h 413"/>
                  <a:gd name="T108" fmla="*/ 261 w 283"/>
                  <a:gd name="T109" fmla="*/ 200 h 413"/>
                  <a:gd name="T110" fmla="*/ 279 w 283"/>
                  <a:gd name="T111" fmla="*/ 204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3" h="413">
                    <a:moveTo>
                      <a:pt x="283" y="198"/>
                    </a:moveTo>
                    <a:lnTo>
                      <a:pt x="283" y="195"/>
                    </a:lnTo>
                    <a:lnTo>
                      <a:pt x="277" y="182"/>
                    </a:lnTo>
                    <a:lnTo>
                      <a:pt x="272" y="178"/>
                    </a:lnTo>
                    <a:lnTo>
                      <a:pt x="274" y="171"/>
                    </a:lnTo>
                    <a:lnTo>
                      <a:pt x="274" y="169"/>
                    </a:lnTo>
                    <a:lnTo>
                      <a:pt x="272" y="162"/>
                    </a:lnTo>
                    <a:lnTo>
                      <a:pt x="274" y="162"/>
                    </a:lnTo>
                    <a:lnTo>
                      <a:pt x="274" y="162"/>
                    </a:lnTo>
                    <a:lnTo>
                      <a:pt x="277" y="162"/>
                    </a:lnTo>
                    <a:lnTo>
                      <a:pt x="279" y="162"/>
                    </a:lnTo>
                    <a:lnTo>
                      <a:pt x="279" y="162"/>
                    </a:lnTo>
                    <a:lnTo>
                      <a:pt x="279" y="162"/>
                    </a:lnTo>
                    <a:lnTo>
                      <a:pt x="279" y="160"/>
                    </a:lnTo>
                    <a:lnTo>
                      <a:pt x="279" y="160"/>
                    </a:lnTo>
                    <a:lnTo>
                      <a:pt x="279" y="158"/>
                    </a:lnTo>
                    <a:lnTo>
                      <a:pt x="279" y="158"/>
                    </a:lnTo>
                    <a:lnTo>
                      <a:pt x="279" y="158"/>
                    </a:lnTo>
                    <a:lnTo>
                      <a:pt x="281" y="156"/>
                    </a:lnTo>
                    <a:lnTo>
                      <a:pt x="281" y="154"/>
                    </a:lnTo>
                    <a:lnTo>
                      <a:pt x="281" y="154"/>
                    </a:lnTo>
                    <a:lnTo>
                      <a:pt x="281" y="152"/>
                    </a:lnTo>
                    <a:lnTo>
                      <a:pt x="281" y="149"/>
                    </a:lnTo>
                    <a:lnTo>
                      <a:pt x="279" y="147"/>
                    </a:lnTo>
                    <a:lnTo>
                      <a:pt x="274" y="138"/>
                    </a:lnTo>
                    <a:lnTo>
                      <a:pt x="274" y="136"/>
                    </a:lnTo>
                    <a:lnTo>
                      <a:pt x="274" y="134"/>
                    </a:lnTo>
                    <a:lnTo>
                      <a:pt x="274" y="132"/>
                    </a:lnTo>
                    <a:lnTo>
                      <a:pt x="274" y="130"/>
                    </a:lnTo>
                    <a:lnTo>
                      <a:pt x="274" y="125"/>
                    </a:lnTo>
                    <a:lnTo>
                      <a:pt x="274" y="123"/>
                    </a:lnTo>
                    <a:lnTo>
                      <a:pt x="274" y="121"/>
                    </a:lnTo>
                    <a:lnTo>
                      <a:pt x="272" y="116"/>
                    </a:lnTo>
                    <a:lnTo>
                      <a:pt x="263" y="105"/>
                    </a:lnTo>
                    <a:lnTo>
                      <a:pt x="259" y="101"/>
                    </a:lnTo>
                    <a:lnTo>
                      <a:pt x="259" y="99"/>
                    </a:lnTo>
                    <a:lnTo>
                      <a:pt x="257" y="92"/>
                    </a:lnTo>
                    <a:lnTo>
                      <a:pt x="255" y="92"/>
                    </a:lnTo>
                    <a:lnTo>
                      <a:pt x="255" y="92"/>
                    </a:lnTo>
                    <a:lnTo>
                      <a:pt x="252" y="90"/>
                    </a:lnTo>
                    <a:lnTo>
                      <a:pt x="250" y="90"/>
                    </a:lnTo>
                    <a:lnTo>
                      <a:pt x="248" y="90"/>
                    </a:lnTo>
                    <a:lnTo>
                      <a:pt x="248" y="90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4" y="92"/>
                    </a:lnTo>
                    <a:lnTo>
                      <a:pt x="244" y="92"/>
                    </a:lnTo>
                    <a:lnTo>
                      <a:pt x="241" y="90"/>
                    </a:lnTo>
                    <a:lnTo>
                      <a:pt x="239" y="90"/>
                    </a:lnTo>
                    <a:lnTo>
                      <a:pt x="233" y="79"/>
                    </a:lnTo>
                    <a:lnTo>
                      <a:pt x="237" y="68"/>
                    </a:lnTo>
                    <a:lnTo>
                      <a:pt x="241" y="53"/>
                    </a:lnTo>
                    <a:lnTo>
                      <a:pt x="244" y="51"/>
                    </a:lnTo>
                    <a:lnTo>
                      <a:pt x="246" y="48"/>
                    </a:lnTo>
                    <a:lnTo>
                      <a:pt x="252" y="42"/>
                    </a:lnTo>
                    <a:lnTo>
                      <a:pt x="263" y="33"/>
                    </a:lnTo>
                    <a:lnTo>
                      <a:pt x="255" y="24"/>
                    </a:lnTo>
                    <a:lnTo>
                      <a:pt x="241" y="13"/>
                    </a:lnTo>
                    <a:lnTo>
                      <a:pt x="241" y="11"/>
                    </a:lnTo>
                    <a:lnTo>
                      <a:pt x="239" y="11"/>
                    </a:lnTo>
                    <a:lnTo>
                      <a:pt x="235" y="11"/>
                    </a:lnTo>
                    <a:lnTo>
                      <a:pt x="226" y="4"/>
                    </a:lnTo>
                    <a:lnTo>
                      <a:pt x="222" y="2"/>
                    </a:lnTo>
                    <a:lnTo>
                      <a:pt x="217" y="2"/>
                    </a:lnTo>
                    <a:lnTo>
                      <a:pt x="211" y="0"/>
                    </a:lnTo>
                    <a:lnTo>
                      <a:pt x="208" y="0"/>
                    </a:lnTo>
                    <a:lnTo>
                      <a:pt x="206" y="0"/>
                    </a:lnTo>
                    <a:lnTo>
                      <a:pt x="206" y="2"/>
                    </a:lnTo>
                    <a:lnTo>
                      <a:pt x="204" y="2"/>
                    </a:lnTo>
                    <a:lnTo>
                      <a:pt x="204" y="2"/>
                    </a:lnTo>
                    <a:lnTo>
                      <a:pt x="202" y="4"/>
                    </a:lnTo>
                    <a:lnTo>
                      <a:pt x="202" y="7"/>
                    </a:lnTo>
                    <a:lnTo>
                      <a:pt x="200" y="9"/>
                    </a:lnTo>
                    <a:lnTo>
                      <a:pt x="200" y="9"/>
                    </a:lnTo>
                    <a:lnTo>
                      <a:pt x="191" y="11"/>
                    </a:lnTo>
                    <a:lnTo>
                      <a:pt x="187" y="11"/>
                    </a:lnTo>
                    <a:lnTo>
                      <a:pt x="182" y="11"/>
                    </a:lnTo>
                    <a:lnTo>
                      <a:pt x="180" y="11"/>
                    </a:lnTo>
                    <a:lnTo>
                      <a:pt x="178" y="11"/>
                    </a:lnTo>
                    <a:lnTo>
                      <a:pt x="176" y="9"/>
                    </a:lnTo>
                    <a:lnTo>
                      <a:pt x="173" y="9"/>
                    </a:lnTo>
                    <a:lnTo>
                      <a:pt x="167" y="11"/>
                    </a:lnTo>
                    <a:lnTo>
                      <a:pt x="160" y="13"/>
                    </a:lnTo>
                    <a:lnTo>
                      <a:pt x="158" y="13"/>
                    </a:lnTo>
                    <a:lnTo>
                      <a:pt x="156" y="13"/>
                    </a:lnTo>
                    <a:lnTo>
                      <a:pt x="151" y="11"/>
                    </a:lnTo>
                    <a:lnTo>
                      <a:pt x="149" y="9"/>
                    </a:lnTo>
                    <a:lnTo>
                      <a:pt x="147" y="9"/>
                    </a:lnTo>
                    <a:lnTo>
                      <a:pt x="147" y="9"/>
                    </a:lnTo>
                    <a:lnTo>
                      <a:pt x="145" y="7"/>
                    </a:lnTo>
                    <a:lnTo>
                      <a:pt x="143" y="2"/>
                    </a:lnTo>
                    <a:lnTo>
                      <a:pt x="140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36" y="2"/>
                    </a:lnTo>
                    <a:lnTo>
                      <a:pt x="136" y="4"/>
                    </a:lnTo>
                    <a:lnTo>
                      <a:pt x="134" y="7"/>
                    </a:lnTo>
                    <a:lnTo>
                      <a:pt x="134" y="7"/>
                    </a:lnTo>
                    <a:lnTo>
                      <a:pt x="129" y="11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7" y="15"/>
                    </a:lnTo>
                    <a:lnTo>
                      <a:pt x="127" y="18"/>
                    </a:lnTo>
                    <a:lnTo>
                      <a:pt x="129" y="20"/>
                    </a:lnTo>
                    <a:lnTo>
                      <a:pt x="132" y="22"/>
                    </a:lnTo>
                    <a:lnTo>
                      <a:pt x="136" y="26"/>
                    </a:lnTo>
                    <a:lnTo>
                      <a:pt x="136" y="26"/>
                    </a:lnTo>
                    <a:lnTo>
                      <a:pt x="138" y="29"/>
                    </a:lnTo>
                    <a:lnTo>
                      <a:pt x="138" y="31"/>
                    </a:lnTo>
                    <a:lnTo>
                      <a:pt x="138" y="35"/>
                    </a:lnTo>
                    <a:lnTo>
                      <a:pt x="138" y="37"/>
                    </a:lnTo>
                    <a:lnTo>
                      <a:pt x="138" y="40"/>
                    </a:lnTo>
                    <a:lnTo>
                      <a:pt x="132" y="53"/>
                    </a:lnTo>
                    <a:lnTo>
                      <a:pt x="132" y="55"/>
                    </a:lnTo>
                    <a:lnTo>
                      <a:pt x="129" y="55"/>
                    </a:lnTo>
                    <a:lnTo>
                      <a:pt x="127" y="57"/>
                    </a:lnTo>
                    <a:lnTo>
                      <a:pt x="123" y="59"/>
                    </a:lnTo>
                    <a:lnTo>
                      <a:pt x="121" y="59"/>
                    </a:lnTo>
                    <a:lnTo>
                      <a:pt x="121" y="59"/>
                    </a:lnTo>
                    <a:lnTo>
                      <a:pt x="118" y="59"/>
                    </a:lnTo>
                    <a:lnTo>
                      <a:pt x="121" y="62"/>
                    </a:lnTo>
                    <a:lnTo>
                      <a:pt x="121" y="62"/>
                    </a:lnTo>
                    <a:lnTo>
                      <a:pt x="123" y="66"/>
                    </a:lnTo>
                    <a:lnTo>
                      <a:pt x="123" y="70"/>
                    </a:lnTo>
                    <a:lnTo>
                      <a:pt x="123" y="70"/>
                    </a:lnTo>
                    <a:lnTo>
                      <a:pt x="125" y="75"/>
                    </a:lnTo>
                    <a:lnTo>
                      <a:pt x="125" y="75"/>
                    </a:lnTo>
                    <a:lnTo>
                      <a:pt x="125" y="75"/>
                    </a:lnTo>
                    <a:lnTo>
                      <a:pt x="127" y="75"/>
                    </a:lnTo>
                    <a:lnTo>
                      <a:pt x="116" y="77"/>
                    </a:lnTo>
                    <a:lnTo>
                      <a:pt x="112" y="81"/>
                    </a:lnTo>
                    <a:lnTo>
                      <a:pt x="105" y="88"/>
                    </a:lnTo>
                    <a:lnTo>
                      <a:pt x="103" y="90"/>
                    </a:lnTo>
                    <a:lnTo>
                      <a:pt x="101" y="92"/>
                    </a:lnTo>
                    <a:lnTo>
                      <a:pt x="99" y="92"/>
                    </a:lnTo>
                    <a:lnTo>
                      <a:pt x="94" y="92"/>
                    </a:lnTo>
                    <a:lnTo>
                      <a:pt x="92" y="94"/>
                    </a:lnTo>
                    <a:lnTo>
                      <a:pt x="79" y="110"/>
                    </a:lnTo>
                    <a:lnTo>
                      <a:pt x="77" y="112"/>
                    </a:lnTo>
                    <a:lnTo>
                      <a:pt x="75" y="114"/>
                    </a:lnTo>
                    <a:lnTo>
                      <a:pt x="75" y="119"/>
                    </a:lnTo>
                    <a:lnTo>
                      <a:pt x="72" y="121"/>
                    </a:lnTo>
                    <a:lnTo>
                      <a:pt x="72" y="123"/>
                    </a:lnTo>
                    <a:lnTo>
                      <a:pt x="70" y="123"/>
                    </a:lnTo>
                    <a:lnTo>
                      <a:pt x="68" y="125"/>
                    </a:lnTo>
                    <a:lnTo>
                      <a:pt x="66" y="125"/>
                    </a:lnTo>
                    <a:lnTo>
                      <a:pt x="66" y="127"/>
                    </a:lnTo>
                    <a:lnTo>
                      <a:pt x="64" y="130"/>
                    </a:lnTo>
                    <a:lnTo>
                      <a:pt x="64" y="132"/>
                    </a:lnTo>
                    <a:lnTo>
                      <a:pt x="64" y="134"/>
                    </a:lnTo>
                    <a:lnTo>
                      <a:pt x="64" y="141"/>
                    </a:lnTo>
                    <a:lnTo>
                      <a:pt x="59" y="149"/>
                    </a:lnTo>
                    <a:lnTo>
                      <a:pt x="55" y="156"/>
                    </a:lnTo>
                    <a:lnTo>
                      <a:pt x="46" y="162"/>
                    </a:lnTo>
                    <a:lnTo>
                      <a:pt x="39" y="167"/>
                    </a:lnTo>
                    <a:lnTo>
                      <a:pt x="37" y="169"/>
                    </a:lnTo>
                    <a:lnTo>
                      <a:pt x="37" y="173"/>
                    </a:lnTo>
                    <a:lnTo>
                      <a:pt x="35" y="184"/>
                    </a:lnTo>
                    <a:lnTo>
                      <a:pt x="33" y="191"/>
                    </a:lnTo>
                    <a:lnTo>
                      <a:pt x="33" y="193"/>
                    </a:lnTo>
                    <a:lnTo>
                      <a:pt x="33" y="193"/>
                    </a:lnTo>
                    <a:lnTo>
                      <a:pt x="35" y="195"/>
                    </a:lnTo>
                    <a:lnTo>
                      <a:pt x="33" y="195"/>
                    </a:lnTo>
                    <a:lnTo>
                      <a:pt x="33" y="198"/>
                    </a:lnTo>
                    <a:lnTo>
                      <a:pt x="31" y="202"/>
                    </a:lnTo>
                    <a:lnTo>
                      <a:pt x="28" y="204"/>
                    </a:lnTo>
                    <a:lnTo>
                      <a:pt x="26" y="206"/>
                    </a:lnTo>
                    <a:lnTo>
                      <a:pt x="20" y="209"/>
                    </a:lnTo>
                    <a:lnTo>
                      <a:pt x="20" y="211"/>
                    </a:lnTo>
                    <a:lnTo>
                      <a:pt x="17" y="213"/>
                    </a:lnTo>
                    <a:lnTo>
                      <a:pt x="17" y="215"/>
                    </a:lnTo>
                    <a:lnTo>
                      <a:pt x="20" y="226"/>
                    </a:lnTo>
                    <a:lnTo>
                      <a:pt x="20" y="228"/>
                    </a:lnTo>
                    <a:lnTo>
                      <a:pt x="20" y="231"/>
                    </a:lnTo>
                    <a:lnTo>
                      <a:pt x="20" y="235"/>
                    </a:lnTo>
                    <a:lnTo>
                      <a:pt x="17" y="237"/>
                    </a:lnTo>
                    <a:lnTo>
                      <a:pt x="15" y="239"/>
                    </a:lnTo>
                    <a:lnTo>
                      <a:pt x="13" y="242"/>
                    </a:lnTo>
                    <a:lnTo>
                      <a:pt x="11" y="242"/>
                    </a:lnTo>
                    <a:lnTo>
                      <a:pt x="11" y="244"/>
                    </a:lnTo>
                    <a:lnTo>
                      <a:pt x="9" y="246"/>
                    </a:lnTo>
                    <a:lnTo>
                      <a:pt x="9" y="250"/>
                    </a:lnTo>
                    <a:lnTo>
                      <a:pt x="9" y="252"/>
                    </a:lnTo>
                    <a:lnTo>
                      <a:pt x="6" y="255"/>
                    </a:lnTo>
                    <a:lnTo>
                      <a:pt x="4" y="259"/>
                    </a:lnTo>
                    <a:lnTo>
                      <a:pt x="2" y="263"/>
                    </a:lnTo>
                    <a:lnTo>
                      <a:pt x="2" y="263"/>
                    </a:lnTo>
                    <a:lnTo>
                      <a:pt x="0" y="266"/>
                    </a:lnTo>
                    <a:lnTo>
                      <a:pt x="2" y="268"/>
                    </a:lnTo>
                    <a:lnTo>
                      <a:pt x="2" y="270"/>
                    </a:lnTo>
                    <a:lnTo>
                      <a:pt x="4" y="272"/>
                    </a:lnTo>
                    <a:lnTo>
                      <a:pt x="9" y="272"/>
                    </a:lnTo>
                    <a:lnTo>
                      <a:pt x="22" y="272"/>
                    </a:lnTo>
                    <a:lnTo>
                      <a:pt x="24" y="272"/>
                    </a:lnTo>
                    <a:lnTo>
                      <a:pt x="28" y="272"/>
                    </a:lnTo>
                    <a:lnTo>
                      <a:pt x="35" y="274"/>
                    </a:lnTo>
                    <a:lnTo>
                      <a:pt x="44" y="279"/>
                    </a:lnTo>
                    <a:lnTo>
                      <a:pt x="48" y="279"/>
                    </a:lnTo>
                    <a:lnTo>
                      <a:pt x="55" y="279"/>
                    </a:lnTo>
                    <a:lnTo>
                      <a:pt x="57" y="281"/>
                    </a:lnTo>
                    <a:lnTo>
                      <a:pt x="59" y="281"/>
                    </a:lnTo>
                    <a:lnTo>
                      <a:pt x="59" y="283"/>
                    </a:lnTo>
                    <a:lnTo>
                      <a:pt x="55" y="296"/>
                    </a:lnTo>
                    <a:lnTo>
                      <a:pt x="53" y="301"/>
                    </a:lnTo>
                    <a:lnTo>
                      <a:pt x="50" y="303"/>
                    </a:lnTo>
                    <a:lnTo>
                      <a:pt x="48" y="305"/>
                    </a:lnTo>
                    <a:lnTo>
                      <a:pt x="53" y="314"/>
                    </a:lnTo>
                    <a:lnTo>
                      <a:pt x="53" y="318"/>
                    </a:lnTo>
                    <a:lnTo>
                      <a:pt x="55" y="321"/>
                    </a:lnTo>
                    <a:lnTo>
                      <a:pt x="55" y="323"/>
                    </a:lnTo>
                    <a:lnTo>
                      <a:pt x="48" y="334"/>
                    </a:lnTo>
                    <a:lnTo>
                      <a:pt x="46" y="338"/>
                    </a:lnTo>
                    <a:lnTo>
                      <a:pt x="46" y="340"/>
                    </a:lnTo>
                    <a:lnTo>
                      <a:pt x="46" y="342"/>
                    </a:lnTo>
                    <a:lnTo>
                      <a:pt x="46" y="342"/>
                    </a:lnTo>
                    <a:lnTo>
                      <a:pt x="48" y="349"/>
                    </a:lnTo>
                    <a:lnTo>
                      <a:pt x="50" y="351"/>
                    </a:lnTo>
                    <a:lnTo>
                      <a:pt x="48" y="351"/>
                    </a:lnTo>
                    <a:lnTo>
                      <a:pt x="48" y="356"/>
                    </a:lnTo>
                    <a:lnTo>
                      <a:pt x="46" y="358"/>
                    </a:lnTo>
                    <a:lnTo>
                      <a:pt x="48" y="358"/>
                    </a:lnTo>
                    <a:lnTo>
                      <a:pt x="48" y="362"/>
                    </a:lnTo>
                    <a:lnTo>
                      <a:pt x="50" y="364"/>
                    </a:lnTo>
                    <a:lnTo>
                      <a:pt x="53" y="367"/>
                    </a:lnTo>
                    <a:lnTo>
                      <a:pt x="64" y="371"/>
                    </a:lnTo>
                    <a:lnTo>
                      <a:pt x="66" y="371"/>
                    </a:lnTo>
                    <a:lnTo>
                      <a:pt x="70" y="375"/>
                    </a:lnTo>
                    <a:lnTo>
                      <a:pt x="72" y="375"/>
                    </a:lnTo>
                    <a:lnTo>
                      <a:pt x="75" y="378"/>
                    </a:lnTo>
                    <a:lnTo>
                      <a:pt x="79" y="378"/>
                    </a:lnTo>
                    <a:lnTo>
                      <a:pt x="86" y="378"/>
                    </a:lnTo>
                    <a:lnTo>
                      <a:pt x="88" y="380"/>
                    </a:lnTo>
                    <a:lnTo>
                      <a:pt x="90" y="380"/>
                    </a:lnTo>
                    <a:lnTo>
                      <a:pt x="92" y="384"/>
                    </a:lnTo>
                    <a:lnTo>
                      <a:pt x="103" y="391"/>
                    </a:lnTo>
                    <a:lnTo>
                      <a:pt x="112" y="400"/>
                    </a:lnTo>
                    <a:lnTo>
                      <a:pt x="116" y="402"/>
                    </a:lnTo>
                    <a:lnTo>
                      <a:pt x="123" y="402"/>
                    </a:lnTo>
                    <a:lnTo>
                      <a:pt x="125" y="402"/>
                    </a:lnTo>
                    <a:lnTo>
                      <a:pt x="127" y="404"/>
                    </a:lnTo>
                    <a:lnTo>
                      <a:pt x="129" y="404"/>
                    </a:lnTo>
                    <a:lnTo>
                      <a:pt x="134" y="408"/>
                    </a:lnTo>
                    <a:lnTo>
                      <a:pt x="138" y="413"/>
                    </a:lnTo>
                    <a:lnTo>
                      <a:pt x="140" y="408"/>
                    </a:lnTo>
                    <a:lnTo>
                      <a:pt x="145" y="406"/>
                    </a:lnTo>
                    <a:lnTo>
                      <a:pt x="151" y="402"/>
                    </a:lnTo>
                    <a:lnTo>
                      <a:pt x="182" y="397"/>
                    </a:lnTo>
                    <a:lnTo>
                      <a:pt x="193" y="397"/>
                    </a:lnTo>
                    <a:lnTo>
                      <a:pt x="195" y="397"/>
                    </a:lnTo>
                    <a:lnTo>
                      <a:pt x="197" y="395"/>
                    </a:lnTo>
                    <a:lnTo>
                      <a:pt x="197" y="393"/>
                    </a:lnTo>
                    <a:lnTo>
                      <a:pt x="200" y="389"/>
                    </a:lnTo>
                    <a:lnTo>
                      <a:pt x="202" y="367"/>
                    </a:lnTo>
                    <a:lnTo>
                      <a:pt x="200" y="358"/>
                    </a:lnTo>
                    <a:lnTo>
                      <a:pt x="195" y="345"/>
                    </a:lnTo>
                    <a:lnTo>
                      <a:pt x="189" y="329"/>
                    </a:lnTo>
                    <a:lnTo>
                      <a:pt x="189" y="323"/>
                    </a:lnTo>
                    <a:lnTo>
                      <a:pt x="189" y="307"/>
                    </a:lnTo>
                    <a:lnTo>
                      <a:pt x="187" y="305"/>
                    </a:lnTo>
                    <a:lnTo>
                      <a:pt x="187" y="303"/>
                    </a:lnTo>
                    <a:lnTo>
                      <a:pt x="184" y="301"/>
                    </a:lnTo>
                    <a:lnTo>
                      <a:pt x="184" y="301"/>
                    </a:lnTo>
                    <a:lnTo>
                      <a:pt x="182" y="299"/>
                    </a:lnTo>
                    <a:lnTo>
                      <a:pt x="180" y="296"/>
                    </a:lnTo>
                    <a:lnTo>
                      <a:pt x="178" y="296"/>
                    </a:lnTo>
                    <a:lnTo>
                      <a:pt x="178" y="294"/>
                    </a:lnTo>
                    <a:lnTo>
                      <a:pt x="178" y="292"/>
                    </a:lnTo>
                    <a:lnTo>
                      <a:pt x="176" y="290"/>
                    </a:lnTo>
                    <a:lnTo>
                      <a:pt x="176" y="290"/>
                    </a:lnTo>
                    <a:lnTo>
                      <a:pt x="176" y="288"/>
                    </a:lnTo>
                    <a:lnTo>
                      <a:pt x="171" y="285"/>
                    </a:lnTo>
                    <a:lnTo>
                      <a:pt x="167" y="283"/>
                    </a:lnTo>
                    <a:lnTo>
                      <a:pt x="165" y="283"/>
                    </a:lnTo>
                    <a:lnTo>
                      <a:pt x="165" y="281"/>
                    </a:lnTo>
                    <a:lnTo>
                      <a:pt x="162" y="279"/>
                    </a:lnTo>
                    <a:lnTo>
                      <a:pt x="169" y="261"/>
                    </a:lnTo>
                    <a:lnTo>
                      <a:pt x="169" y="261"/>
                    </a:lnTo>
                    <a:lnTo>
                      <a:pt x="171" y="259"/>
                    </a:lnTo>
                    <a:lnTo>
                      <a:pt x="180" y="257"/>
                    </a:lnTo>
                    <a:lnTo>
                      <a:pt x="187" y="255"/>
                    </a:lnTo>
                    <a:lnTo>
                      <a:pt x="189" y="255"/>
                    </a:lnTo>
                    <a:lnTo>
                      <a:pt x="191" y="255"/>
                    </a:lnTo>
                    <a:lnTo>
                      <a:pt x="193" y="255"/>
                    </a:lnTo>
                    <a:lnTo>
                      <a:pt x="193" y="257"/>
                    </a:lnTo>
                    <a:lnTo>
                      <a:pt x="197" y="263"/>
                    </a:lnTo>
                    <a:lnTo>
                      <a:pt x="197" y="263"/>
                    </a:lnTo>
                    <a:lnTo>
                      <a:pt x="200" y="266"/>
                    </a:lnTo>
                    <a:lnTo>
                      <a:pt x="202" y="266"/>
                    </a:lnTo>
                    <a:lnTo>
                      <a:pt x="208" y="266"/>
                    </a:lnTo>
                    <a:lnTo>
                      <a:pt x="211" y="268"/>
                    </a:lnTo>
                    <a:lnTo>
                      <a:pt x="213" y="268"/>
                    </a:lnTo>
                    <a:lnTo>
                      <a:pt x="217" y="268"/>
                    </a:lnTo>
                    <a:lnTo>
                      <a:pt x="224" y="261"/>
                    </a:lnTo>
                    <a:lnTo>
                      <a:pt x="224" y="261"/>
                    </a:lnTo>
                    <a:lnTo>
                      <a:pt x="224" y="259"/>
                    </a:lnTo>
                    <a:lnTo>
                      <a:pt x="222" y="259"/>
                    </a:lnTo>
                    <a:lnTo>
                      <a:pt x="217" y="259"/>
                    </a:lnTo>
                    <a:lnTo>
                      <a:pt x="215" y="257"/>
                    </a:lnTo>
                    <a:lnTo>
                      <a:pt x="215" y="257"/>
                    </a:lnTo>
                    <a:lnTo>
                      <a:pt x="211" y="250"/>
                    </a:lnTo>
                    <a:lnTo>
                      <a:pt x="208" y="250"/>
                    </a:lnTo>
                    <a:lnTo>
                      <a:pt x="208" y="248"/>
                    </a:lnTo>
                    <a:lnTo>
                      <a:pt x="211" y="246"/>
                    </a:lnTo>
                    <a:lnTo>
                      <a:pt x="222" y="242"/>
                    </a:lnTo>
                    <a:lnTo>
                      <a:pt x="224" y="237"/>
                    </a:lnTo>
                    <a:lnTo>
                      <a:pt x="226" y="233"/>
                    </a:lnTo>
                    <a:lnTo>
                      <a:pt x="228" y="231"/>
                    </a:lnTo>
                    <a:lnTo>
                      <a:pt x="228" y="231"/>
                    </a:lnTo>
                    <a:lnTo>
                      <a:pt x="230" y="231"/>
                    </a:lnTo>
                    <a:lnTo>
                      <a:pt x="233" y="233"/>
                    </a:lnTo>
                    <a:lnTo>
                      <a:pt x="235" y="233"/>
                    </a:lnTo>
                    <a:lnTo>
                      <a:pt x="237" y="233"/>
                    </a:lnTo>
                    <a:lnTo>
                      <a:pt x="241" y="233"/>
                    </a:lnTo>
                    <a:lnTo>
                      <a:pt x="244" y="231"/>
                    </a:lnTo>
                    <a:lnTo>
                      <a:pt x="248" y="231"/>
                    </a:lnTo>
                    <a:lnTo>
                      <a:pt x="255" y="231"/>
                    </a:lnTo>
                    <a:lnTo>
                      <a:pt x="257" y="228"/>
                    </a:lnTo>
                    <a:lnTo>
                      <a:pt x="259" y="226"/>
                    </a:lnTo>
                    <a:lnTo>
                      <a:pt x="261" y="224"/>
                    </a:lnTo>
                    <a:lnTo>
                      <a:pt x="261" y="222"/>
                    </a:lnTo>
                    <a:lnTo>
                      <a:pt x="261" y="220"/>
                    </a:lnTo>
                    <a:lnTo>
                      <a:pt x="261" y="220"/>
                    </a:lnTo>
                    <a:lnTo>
                      <a:pt x="259" y="215"/>
                    </a:lnTo>
                    <a:lnTo>
                      <a:pt x="259" y="211"/>
                    </a:lnTo>
                    <a:lnTo>
                      <a:pt x="259" y="209"/>
                    </a:lnTo>
                    <a:lnTo>
                      <a:pt x="259" y="206"/>
                    </a:lnTo>
                    <a:lnTo>
                      <a:pt x="259" y="204"/>
                    </a:lnTo>
                    <a:lnTo>
                      <a:pt x="259" y="202"/>
                    </a:lnTo>
                    <a:lnTo>
                      <a:pt x="259" y="200"/>
                    </a:lnTo>
                    <a:lnTo>
                      <a:pt x="261" y="200"/>
                    </a:lnTo>
                    <a:lnTo>
                      <a:pt x="263" y="198"/>
                    </a:lnTo>
                    <a:lnTo>
                      <a:pt x="266" y="198"/>
                    </a:lnTo>
                    <a:lnTo>
                      <a:pt x="268" y="198"/>
                    </a:lnTo>
                    <a:lnTo>
                      <a:pt x="270" y="198"/>
                    </a:lnTo>
                    <a:lnTo>
                      <a:pt x="274" y="200"/>
                    </a:lnTo>
                    <a:lnTo>
                      <a:pt x="279" y="204"/>
                    </a:lnTo>
                    <a:lnTo>
                      <a:pt x="281" y="204"/>
                    </a:lnTo>
                    <a:lnTo>
                      <a:pt x="283" y="204"/>
                    </a:lnTo>
                    <a:lnTo>
                      <a:pt x="283" y="202"/>
                    </a:lnTo>
                    <a:lnTo>
                      <a:pt x="283" y="198"/>
                    </a:lnTo>
                    <a:lnTo>
                      <a:pt x="283" y="198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51" name="Freeform 10"/>
              <p:cNvSpPr>
                <a:spLocks/>
              </p:cNvSpPr>
              <p:nvPr/>
            </p:nvSpPr>
            <p:spPr bwMode="auto">
              <a:xfrm>
                <a:off x="4732338" y="4090988"/>
                <a:ext cx="715963" cy="912812"/>
              </a:xfrm>
              <a:custGeom>
                <a:avLst/>
                <a:gdLst>
                  <a:gd name="T0" fmla="*/ 435 w 451"/>
                  <a:gd name="T1" fmla="*/ 421 h 575"/>
                  <a:gd name="T2" fmla="*/ 420 w 451"/>
                  <a:gd name="T3" fmla="*/ 349 h 575"/>
                  <a:gd name="T4" fmla="*/ 369 w 451"/>
                  <a:gd name="T5" fmla="*/ 322 h 575"/>
                  <a:gd name="T6" fmla="*/ 336 w 451"/>
                  <a:gd name="T7" fmla="*/ 305 h 575"/>
                  <a:gd name="T8" fmla="*/ 312 w 451"/>
                  <a:gd name="T9" fmla="*/ 276 h 575"/>
                  <a:gd name="T10" fmla="*/ 303 w 451"/>
                  <a:gd name="T11" fmla="*/ 243 h 575"/>
                  <a:gd name="T12" fmla="*/ 284 w 451"/>
                  <a:gd name="T13" fmla="*/ 235 h 575"/>
                  <a:gd name="T14" fmla="*/ 260 w 451"/>
                  <a:gd name="T15" fmla="*/ 153 h 575"/>
                  <a:gd name="T16" fmla="*/ 244 w 451"/>
                  <a:gd name="T17" fmla="*/ 129 h 575"/>
                  <a:gd name="T18" fmla="*/ 229 w 451"/>
                  <a:gd name="T19" fmla="*/ 68 h 575"/>
                  <a:gd name="T20" fmla="*/ 200 w 451"/>
                  <a:gd name="T21" fmla="*/ 24 h 575"/>
                  <a:gd name="T22" fmla="*/ 183 w 451"/>
                  <a:gd name="T23" fmla="*/ 11 h 575"/>
                  <a:gd name="T24" fmla="*/ 137 w 451"/>
                  <a:gd name="T25" fmla="*/ 22 h 575"/>
                  <a:gd name="T26" fmla="*/ 88 w 451"/>
                  <a:gd name="T27" fmla="*/ 79 h 575"/>
                  <a:gd name="T28" fmla="*/ 55 w 451"/>
                  <a:gd name="T29" fmla="*/ 81 h 575"/>
                  <a:gd name="T30" fmla="*/ 55 w 451"/>
                  <a:gd name="T31" fmla="*/ 61 h 575"/>
                  <a:gd name="T32" fmla="*/ 40 w 451"/>
                  <a:gd name="T33" fmla="*/ 46 h 575"/>
                  <a:gd name="T34" fmla="*/ 25 w 451"/>
                  <a:gd name="T35" fmla="*/ 39 h 575"/>
                  <a:gd name="T36" fmla="*/ 38 w 451"/>
                  <a:gd name="T37" fmla="*/ 19 h 575"/>
                  <a:gd name="T38" fmla="*/ 18 w 451"/>
                  <a:gd name="T39" fmla="*/ 26 h 575"/>
                  <a:gd name="T40" fmla="*/ 14 w 451"/>
                  <a:gd name="T41" fmla="*/ 50 h 575"/>
                  <a:gd name="T42" fmla="*/ 11 w 451"/>
                  <a:gd name="T43" fmla="*/ 76 h 575"/>
                  <a:gd name="T44" fmla="*/ 25 w 451"/>
                  <a:gd name="T45" fmla="*/ 96 h 575"/>
                  <a:gd name="T46" fmla="*/ 42 w 451"/>
                  <a:gd name="T47" fmla="*/ 125 h 575"/>
                  <a:gd name="T48" fmla="*/ 47 w 451"/>
                  <a:gd name="T49" fmla="*/ 147 h 575"/>
                  <a:gd name="T50" fmla="*/ 53 w 451"/>
                  <a:gd name="T51" fmla="*/ 173 h 575"/>
                  <a:gd name="T52" fmla="*/ 44 w 451"/>
                  <a:gd name="T53" fmla="*/ 184 h 575"/>
                  <a:gd name="T54" fmla="*/ 99 w 451"/>
                  <a:gd name="T55" fmla="*/ 221 h 575"/>
                  <a:gd name="T56" fmla="*/ 112 w 451"/>
                  <a:gd name="T57" fmla="*/ 241 h 575"/>
                  <a:gd name="T58" fmla="*/ 126 w 451"/>
                  <a:gd name="T59" fmla="*/ 256 h 575"/>
                  <a:gd name="T60" fmla="*/ 139 w 451"/>
                  <a:gd name="T61" fmla="*/ 256 h 575"/>
                  <a:gd name="T62" fmla="*/ 148 w 451"/>
                  <a:gd name="T63" fmla="*/ 239 h 575"/>
                  <a:gd name="T64" fmla="*/ 159 w 451"/>
                  <a:gd name="T65" fmla="*/ 248 h 575"/>
                  <a:gd name="T66" fmla="*/ 163 w 451"/>
                  <a:gd name="T67" fmla="*/ 261 h 575"/>
                  <a:gd name="T68" fmla="*/ 172 w 451"/>
                  <a:gd name="T69" fmla="*/ 274 h 575"/>
                  <a:gd name="T70" fmla="*/ 191 w 451"/>
                  <a:gd name="T71" fmla="*/ 272 h 575"/>
                  <a:gd name="T72" fmla="*/ 178 w 451"/>
                  <a:gd name="T73" fmla="*/ 283 h 575"/>
                  <a:gd name="T74" fmla="*/ 174 w 451"/>
                  <a:gd name="T75" fmla="*/ 298 h 575"/>
                  <a:gd name="T76" fmla="*/ 178 w 451"/>
                  <a:gd name="T77" fmla="*/ 303 h 575"/>
                  <a:gd name="T78" fmla="*/ 178 w 451"/>
                  <a:gd name="T79" fmla="*/ 316 h 575"/>
                  <a:gd name="T80" fmla="*/ 194 w 451"/>
                  <a:gd name="T81" fmla="*/ 311 h 575"/>
                  <a:gd name="T82" fmla="*/ 213 w 451"/>
                  <a:gd name="T83" fmla="*/ 300 h 575"/>
                  <a:gd name="T84" fmla="*/ 216 w 451"/>
                  <a:gd name="T85" fmla="*/ 320 h 575"/>
                  <a:gd name="T86" fmla="*/ 213 w 451"/>
                  <a:gd name="T87" fmla="*/ 331 h 575"/>
                  <a:gd name="T88" fmla="*/ 218 w 451"/>
                  <a:gd name="T89" fmla="*/ 340 h 575"/>
                  <a:gd name="T90" fmla="*/ 220 w 451"/>
                  <a:gd name="T91" fmla="*/ 355 h 575"/>
                  <a:gd name="T92" fmla="*/ 231 w 451"/>
                  <a:gd name="T93" fmla="*/ 371 h 575"/>
                  <a:gd name="T94" fmla="*/ 224 w 451"/>
                  <a:gd name="T95" fmla="*/ 386 h 575"/>
                  <a:gd name="T96" fmla="*/ 224 w 451"/>
                  <a:gd name="T97" fmla="*/ 397 h 575"/>
                  <a:gd name="T98" fmla="*/ 209 w 451"/>
                  <a:gd name="T99" fmla="*/ 417 h 575"/>
                  <a:gd name="T100" fmla="*/ 222 w 451"/>
                  <a:gd name="T101" fmla="*/ 441 h 575"/>
                  <a:gd name="T102" fmla="*/ 253 w 451"/>
                  <a:gd name="T103" fmla="*/ 485 h 575"/>
                  <a:gd name="T104" fmla="*/ 282 w 451"/>
                  <a:gd name="T105" fmla="*/ 548 h 575"/>
                  <a:gd name="T106" fmla="*/ 352 w 451"/>
                  <a:gd name="T107" fmla="*/ 529 h 575"/>
                  <a:gd name="T108" fmla="*/ 363 w 451"/>
                  <a:gd name="T109" fmla="*/ 515 h 575"/>
                  <a:gd name="T110" fmla="*/ 420 w 451"/>
                  <a:gd name="T111" fmla="*/ 511 h 575"/>
                  <a:gd name="T112" fmla="*/ 451 w 451"/>
                  <a:gd name="T113" fmla="*/ 461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51" h="575">
                    <a:moveTo>
                      <a:pt x="440" y="447"/>
                    </a:moveTo>
                    <a:lnTo>
                      <a:pt x="433" y="443"/>
                    </a:lnTo>
                    <a:lnTo>
                      <a:pt x="431" y="443"/>
                    </a:lnTo>
                    <a:lnTo>
                      <a:pt x="431" y="441"/>
                    </a:lnTo>
                    <a:lnTo>
                      <a:pt x="431" y="436"/>
                    </a:lnTo>
                    <a:lnTo>
                      <a:pt x="431" y="430"/>
                    </a:lnTo>
                    <a:lnTo>
                      <a:pt x="435" y="423"/>
                    </a:lnTo>
                    <a:lnTo>
                      <a:pt x="435" y="421"/>
                    </a:lnTo>
                    <a:lnTo>
                      <a:pt x="437" y="403"/>
                    </a:lnTo>
                    <a:lnTo>
                      <a:pt x="435" y="397"/>
                    </a:lnTo>
                    <a:lnTo>
                      <a:pt x="433" y="393"/>
                    </a:lnTo>
                    <a:lnTo>
                      <a:pt x="420" y="366"/>
                    </a:lnTo>
                    <a:lnTo>
                      <a:pt x="418" y="362"/>
                    </a:lnTo>
                    <a:lnTo>
                      <a:pt x="415" y="357"/>
                    </a:lnTo>
                    <a:lnTo>
                      <a:pt x="420" y="351"/>
                    </a:lnTo>
                    <a:lnTo>
                      <a:pt x="420" y="349"/>
                    </a:lnTo>
                    <a:lnTo>
                      <a:pt x="418" y="346"/>
                    </a:lnTo>
                    <a:lnTo>
                      <a:pt x="409" y="340"/>
                    </a:lnTo>
                    <a:lnTo>
                      <a:pt x="393" y="333"/>
                    </a:lnTo>
                    <a:lnTo>
                      <a:pt x="389" y="331"/>
                    </a:lnTo>
                    <a:lnTo>
                      <a:pt x="389" y="329"/>
                    </a:lnTo>
                    <a:lnTo>
                      <a:pt x="387" y="329"/>
                    </a:lnTo>
                    <a:lnTo>
                      <a:pt x="372" y="322"/>
                    </a:lnTo>
                    <a:lnTo>
                      <a:pt x="369" y="322"/>
                    </a:lnTo>
                    <a:lnTo>
                      <a:pt x="365" y="322"/>
                    </a:lnTo>
                    <a:lnTo>
                      <a:pt x="363" y="322"/>
                    </a:lnTo>
                    <a:lnTo>
                      <a:pt x="354" y="327"/>
                    </a:lnTo>
                    <a:lnTo>
                      <a:pt x="350" y="327"/>
                    </a:lnTo>
                    <a:lnTo>
                      <a:pt x="350" y="327"/>
                    </a:lnTo>
                    <a:lnTo>
                      <a:pt x="345" y="324"/>
                    </a:lnTo>
                    <a:lnTo>
                      <a:pt x="345" y="322"/>
                    </a:lnTo>
                    <a:lnTo>
                      <a:pt x="336" y="305"/>
                    </a:lnTo>
                    <a:lnTo>
                      <a:pt x="332" y="300"/>
                    </a:lnTo>
                    <a:lnTo>
                      <a:pt x="328" y="298"/>
                    </a:lnTo>
                    <a:lnTo>
                      <a:pt x="325" y="298"/>
                    </a:lnTo>
                    <a:lnTo>
                      <a:pt x="325" y="296"/>
                    </a:lnTo>
                    <a:lnTo>
                      <a:pt x="323" y="289"/>
                    </a:lnTo>
                    <a:lnTo>
                      <a:pt x="323" y="287"/>
                    </a:lnTo>
                    <a:lnTo>
                      <a:pt x="314" y="278"/>
                    </a:lnTo>
                    <a:lnTo>
                      <a:pt x="312" y="276"/>
                    </a:lnTo>
                    <a:lnTo>
                      <a:pt x="312" y="274"/>
                    </a:lnTo>
                    <a:lnTo>
                      <a:pt x="312" y="267"/>
                    </a:lnTo>
                    <a:lnTo>
                      <a:pt x="310" y="259"/>
                    </a:lnTo>
                    <a:lnTo>
                      <a:pt x="310" y="250"/>
                    </a:lnTo>
                    <a:lnTo>
                      <a:pt x="310" y="248"/>
                    </a:lnTo>
                    <a:lnTo>
                      <a:pt x="308" y="245"/>
                    </a:lnTo>
                    <a:lnTo>
                      <a:pt x="308" y="243"/>
                    </a:lnTo>
                    <a:lnTo>
                      <a:pt x="303" y="243"/>
                    </a:lnTo>
                    <a:lnTo>
                      <a:pt x="301" y="243"/>
                    </a:lnTo>
                    <a:lnTo>
                      <a:pt x="297" y="245"/>
                    </a:lnTo>
                    <a:lnTo>
                      <a:pt x="297" y="245"/>
                    </a:lnTo>
                    <a:lnTo>
                      <a:pt x="295" y="243"/>
                    </a:lnTo>
                    <a:lnTo>
                      <a:pt x="292" y="241"/>
                    </a:lnTo>
                    <a:lnTo>
                      <a:pt x="288" y="239"/>
                    </a:lnTo>
                    <a:lnTo>
                      <a:pt x="286" y="237"/>
                    </a:lnTo>
                    <a:lnTo>
                      <a:pt x="284" y="235"/>
                    </a:lnTo>
                    <a:lnTo>
                      <a:pt x="282" y="230"/>
                    </a:lnTo>
                    <a:lnTo>
                      <a:pt x="275" y="210"/>
                    </a:lnTo>
                    <a:lnTo>
                      <a:pt x="275" y="206"/>
                    </a:lnTo>
                    <a:lnTo>
                      <a:pt x="273" y="204"/>
                    </a:lnTo>
                    <a:lnTo>
                      <a:pt x="262" y="193"/>
                    </a:lnTo>
                    <a:lnTo>
                      <a:pt x="262" y="186"/>
                    </a:lnTo>
                    <a:lnTo>
                      <a:pt x="260" y="166"/>
                    </a:lnTo>
                    <a:lnTo>
                      <a:pt x="260" y="153"/>
                    </a:lnTo>
                    <a:lnTo>
                      <a:pt x="260" y="151"/>
                    </a:lnTo>
                    <a:lnTo>
                      <a:pt x="260" y="147"/>
                    </a:lnTo>
                    <a:lnTo>
                      <a:pt x="260" y="142"/>
                    </a:lnTo>
                    <a:lnTo>
                      <a:pt x="255" y="140"/>
                    </a:lnTo>
                    <a:lnTo>
                      <a:pt x="246" y="136"/>
                    </a:lnTo>
                    <a:lnTo>
                      <a:pt x="246" y="134"/>
                    </a:lnTo>
                    <a:lnTo>
                      <a:pt x="246" y="131"/>
                    </a:lnTo>
                    <a:lnTo>
                      <a:pt x="244" y="129"/>
                    </a:lnTo>
                    <a:lnTo>
                      <a:pt x="246" y="118"/>
                    </a:lnTo>
                    <a:lnTo>
                      <a:pt x="244" y="103"/>
                    </a:lnTo>
                    <a:lnTo>
                      <a:pt x="242" y="98"/>
                    </a:lnTo>
                    <a:lnTo>
                      <a:pt x="235" y="92"/>
                    </a:lnTo>
                    <a:lnTo>
                      <a:pt x="233" y="85"/>
                    </a:lnTo>
                    <a:lnTo>
                      <a:pt x="231" y="74"/>
                    </a:lnTo>
                    <a:lnTo>
                      <a:pt x="229" y="70"/>
                    </a:lnTo>
                    <a:lnTo>
                      <a:pt x="229" y="68"/>
                    </a:lnTo>
                    <a:lnTo>
                      <a:pt x="222" y="59"/>
                    </a:lnTo>
                    <a:lnTo>
                      <a:pt x="222" y="55"/>
                    </a:lnTo>
                    <a:lnTo>
                      <a:pt x="218" y="41"/>
                    </a:lnTo>
                    <a:lnTo>
                      <a:pt x="216" y="37"/>
                    </a:lnTo>
                    <a:lnTo>
                      <a:pt x="211" y="28"/>
                    </a:lnTo>
                    <a:lnTo>
                      <a:pt x="209" y="28"/>
                    </a:lnTo>
                    <a:lnTo>
                      <a:pt x="207" y="28"/>
                    </a:lnTo>
                    <a:lnTo>
                      <a:pt x="200" y="24"/>
                    </a:lnTo>
                    <a:lnTo>
                      <a:pt x="198" y="19"/>
                    </a:lnTo>
                    <a:lnTo>
                      <a:pt x="198" y="15"/>
                    </a:lnTo>
                    <a:lnTo>
                      <a:pt x="196" y="13"/>
                    </a:lnTo>
                    <a:lnTo>
                      <a:pt x="196" y="13"/>
                    </a:lnTo>
                    <a:lnTo>
                      <a:pt x="191" y="11"/>
                    </a:lnTo>
                    <a:lnTo>
                      <a:pt x="189" y="11"/>
                    </a:lnTo>
                    <a:lnTo>
                      <a:pt x="185" y="11"/>
                    </a:lnTo>
                    <a:lnTo>
                      <a:pt x="183" y="11"/>
                    </a:lnTo>
                    <a:lnTo>
                      <a:pt x="183" y="11"/>
                    </a:lnTo>
                    <a:lnTo>
                      <a:pt x="181" y="8"/>
                    </a:lnTo>
                    <a:lnTo>
                      <a:pt x="178" y="6"/>
                    </a:lnTo>
                    <a:lnTo>
                      <a:pt x="178" y="0"/>
                    </a:lnTo>
                    <a:lnTo>
                      <a:pt x="145" y="13"/>
                    </a:lnTo>
                    <a:lnTo>
                      <a:pt x="137" y="17"/>
                    </a:lnTo>
                    <a:lnTo>
                      <a:pt x="137" y="19"/>
                    </a:lnTo>
                    <a:lnTo>
                      <a:pt x="137" y="22"/>
                    </a:lnTo>
                    <a:lnTo>
                      <a:pt x="134" y="30"/>
                    </a:lnTo>
                    <a:lnTo>
                      <a:pt x="134" y="33"/>
                    </a:lnTo>
                    <a:lnTo>
                      <a:pt x="132" y="37"/>
                    </a:lnTo>
                    <a:lnTo>
                      <a:pt x="128" y="44"/>
                    </a:lnTo>
                    <a:lnTo>
                      <a:pt x="119" y="52"/>
                    </a:lnTo>
                    <a:lnTo>
                      <a:pt x="115" y="57"/>
                    </a:lnTo>
                    <a:lnTo>
                      <a:pt x="95" y="68"/>
                    </a:lnTo>
                    <a:lnTo>
                      <a:pt x="88" y="79"/>
                    </a:lnTo>
                    <a:lnTo>
                      <a:pt x="84" y="83"/>
                    </a:lnTo>
                    <a:lnTo>
                      <a:pt x="73" y="85"/>
                    </a:lnTo>
                    <a:lnTo>
                      <a:pt x="71" y="87"/>
                    </a:lnTo>
                    <a:lnTo>
                      <a:pt x="60" y="87"/>
                    </a:lnTo>
                    <a:lnTo>
                      <a:pt x="55" y="85"/>
                    </a:lnTo>
                    <a:lnTo>
                      <a:pt x="55" y="85"/>
                    </a:lnTo>
                    <a:lnTo>
                      <a:pt x="55" y="83"/>
                    </a:lnTo>
                    <a:lnTo>
                      <a:pt x="55" y="81"/>
                    </a:lnTo>
                    <a:lnTo>
                      <a:pt x="55" y="79"/>
                    </a:lnTo>
                    <a:lnTo>
                      <a:pt x="55" y="76"/>
                    </a:lnTo>
                    <a:lnTo>
                      <a:pt x="53" y="72"/>
                    </a:lnTo>
                    <a:lnTo>
                      <a:pt x="53" y="72"/>
                    </a:lnTo>
                    <a:lnTo>
                      <a:pt x="53" y="70"/>
                    </a:lnTo>
                    <a:lnTo>
                      <a:pt x="53" y="68"/>
                    </a:lnTo>
                    <a:lnTo>
                      <a:pt x="53" y="66"/>
                    </a:lnTo>
                    <a:lnTo>
                      <a:pt x="55" y="61"/>
                    </a:lnTo>
                    <a:lnTo>
                      <a:pt x="55" y="59"/>
                    </a:lnTo>
                    <a:lnTo>
                      <a:pt x="55" y="57"/>
                    </a:lnTo>
                    <a:lnTo>
                      <a:pt x="53" y="55"/>
                    </a:lnTo>
                    <a:lnTo>
                      <a:pt x="51" y="55"/>
                    </a:lnTo>
                    <a:lnTo>
                      <a:pt x="47" y="52"/>
                    </a:lnTo>
                    <a:lnTo>
                      <a:pt x="44" y="50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8" y="46"/>
                    </a:lnTo>
                    <a:lnTo>
                      <a:pt x="33" y="46"/>
                    </a:lnTo>
                    <a:lnTo>
                      <a:pt x="29" y="46"/>
                    </a:lnTo>
                    <a:lnTo>
                      <a:pt x="27" y="46"/>
                    </a:lnTo>
                    <a:lnTo>
                      <a:pt x="25" y="44"/>
                    </a:lnTo>
                    <a:lnTo>
                      <a:pt x="25" y="41"/>
                    </a:lnTo>
                    <a:lnTo>
                      <a:pt x="25" y="41"/>
                    </a:lnTo>
                    <a:lnTo>
                      <a:pt x="25" y="39"/>
                    </a:lnTo>
                    <a:lnTo>
                      <a:pt x="29" y="37"/>
                    </a:lnTo>
                    <a:lnTo>
                      <a:pt x="33" y="35"/>
                    </a:lnTo>
                    <a:lnTo>
                      <a:pt x="36" y="33"/>
                    </a:lnTo>
                    <a:lnTo>
                      <a:pt x="38" y="30"/>
                    </a:lnTo>
                    <a:lnTo>
                      <a:pt x="38" y="28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38" y="19"/>
                    </a:lnTo>
                    <a:lnTo>
                      <a:pt x="38" y="17"/>
                    </a:lnTo>
                    <a:lnTo>
                      <a:pt x="36" y="15"/>
                    </a:lnTo>
                    <a:lnTo>
                      <a:pt x="25" y="13"/>
                    </a:lnTo>
                    <a:lnTo>
                      <a:pt x="22" y="13"/>
                    </a:lnTo>
                    <a:lnTo>
                      <a:pt x="20" y="15"/>
                    </a:lnTo>
                    <a:lnTo>
                      <a:pt x="18" y="17"/>
                    </a:lnTo>
                    <a:lnTo>
                      <a:pt x="18" y="24"/>
                    </a:lnTo>
                    <a:lnTo>
                      <a:pt x="18" y="26"/>
                    </a:lnTo>
                    <a:lnTo>
                      <a:pt x="16" y="33"/>
                    </a:lnTo>
                    <a:lnTo>
                      <a:pt x="16" y="35"/>
                    </a:lnTo>
                    <a:lnTo>
                      <a:pt x="16" y="37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4"/>
                    </a:lnTo>
                    <a:lnTo>
                      <a:pt x="16" y="46"/>
                    </a:lnTo>
                    <a:lnTo>
                      <a:pt x="14" y="50"/>
                    </a:lnTo>
                    <a:lnTo>
                      <a:pt x="11" y="52"/>
                    </a:lnTo>
                    <a:lnTo>
                      <a:pt x="11" y="52"/>
                    </a:lnTo>
                    <a:lnTo>
                      <a:pt x="9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0" y="59"/>
                    </a:lnTo>
                    <a:lnTo>
                      <a:pt x="7" y="72"/>
                    </a:lnTo>
                    <a:lnTo>
                      <a:pt x="11" y="76"/>
                    </a:lnTo>
                    <a:lnTo>
                      <a:pt x="14" y="79"/>
                    </a:lnTo>
                    <a:lnTo>
                      <a:pt x="14" y="81"/>
                    </a:lnTo>
                    <a:lnTo>
                      <a:pt x="16" y="83"/>
                    </a:lnTo>
                    <a:lnTo>
                      <a:pt x="18" y="85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7" y="94"/>
                    </a:lnTo>
                    <a:lnTo>
                      <a:pt x="25" y="96"/>
                    </a:lnTo>
                    <a:lnTo>
                      <a:pt x="25" y="101"/>
                    </a:lnTo>
                    <a:lnTo>
                      <a:pt x="29" y="103"/>
                    </a:lnTo>
                    <a:lnTo>
                      <a:pt x="33" y="107"/>
                    </a:lnTo>
                    <a:lnTo>
                      <a:pt x="33" y="109"/>
                    </a:lnTo>
                    <a:lnTo>
                      <a:pt x="36" y="114"/>
                    </a:lnTo>
                    <a:lnTo>
                      <a:pt x="38" y="118"/>
                    </a:lnTo>
                    <a:lnTo>
                      <a:pt x="40" y="120"/>
                    </a:lnTo>
                    <a:lnTo>
                      <a:pt x="42" y="125"/>
                    </a:lnTo>
                    <a:lnTo>
                      <a:pt x="42" y="127"/>
                    </a:lnTo>
                    <a:lnTo>
                      <a:pt x="42" y="129"/>
                    </a:lnTo>
                    <a:lnTo>
                      <a:pt x="44" y="134"/>
                    </a:lnTo>
                    <a:lnTo>
                      <a:pt x="42" y="136"/>
                    </a:lnTo>
                    <a:lnTo>
                      <a:pt x="42" y="138"/>
                    </a:lnTo>
                    <a:lnTo>
                      <a:pt x="47" y="142"/>
                    </a:lnTo>
                    <a:lnTo>
                      <a:pt x="47" y="145"/>
                    </a:lnTo>
                    <a:lnTo>
                      <a:pt x="47" y="147"/>
                    </a:lnTo>
                    <a:lnTo>
                      <a:pt x="49" y="151"/>
                    </a:lnTo>
                    <a:lnTo>
                      <a:pt x="47" y="151"/>
                    </a:lnTo>
                    <a:lnTo>
                      <a:pt x="51" y="155"/>
                    </a:lnTo>
                    <a:lnTo>
                      <a:pt x="51" y="158"/>
                    </a:lnTo>
                    <a:lnTo>
                      <a:pt x="53" y="162"/>
                    </a:lnTo>
                    <a:lnTo>
                      <a:pt x="55" y="166"/>
                    </a:lnTo>
                    <a:lnTo>
                      <a:pt x="55" y="171"/>
                    </a:lnTo>
                    <a:lnTo>
                      <a:pt x="53" y="173"/>
                    </a:lnTo>
                    <a:lnTo>
                      <a:pt x="51" y="175"/>
                    </a:lnTo>
                    <a:lnTo>
                      <a:pt x="51" y="175"/>
                    </a:lnTo>
                    <a:lnTo>
                      <a:pt x="49" y="175"/>
                    </a:lnTo>
                    <a:lnTo>
                      <a:pt x="47" y="175"/>
                    </a:lnTo>
                    <a:lnTo>
                      <a:pt x="44" y="177"/>
                    </a:lnTo>
                    <a:lnTo>
                      <a:pt x="44" y="177"/>
                    </a:lnTo>
                    <a:lnTo>
                      <a:pt x="44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4" y="191"/>
                    </a:lnTo>
                    <a:lnTo>
                      <a:pt x="47" y="193"/>
                    </a:lnTo>
                    <a:lnTo>
                      <a:pt x="53" y="195"/>
                    </a:lnTo>
                    <a:lnTo>
                      <a:pt x="82" y="210"/>
                    </a:lnTo>
                    <a:lnTo>
                      <a:pt x="86" y="217"/>
                    </a:lnTo>
                    <a:lnTo>
                      <a:pt x="95" y="219"/>
                    </a:lnTo>
                    <a:lnTo>
                      <a:pt x="99" y="221"/>
                    </a:lnTo>
                    <a:lnTo>
                      <a:pt x="101" y="226"/>
                    </a:lnTo>
                    <a:lnTo>
                      <a:pt x="101" y="226"/>
                    </a:lnTo>
                    <a:lnTo>
                      <a:pt x="104" y="228"/>
                    </a:lnTo>
                    <a:lnTo>
                      <a:pt x="106" y="228"/>
                    </a:lnTo>
                    <a:lnTo>
                      <a:pt x="108" y="230"/>
                    </a:lnTo>
                    <a:lnTo>
                      <a:pt x="110" y="235"/>
                    </a:lnTo>
                    <a:lnTo>
                      <a:pt x="112" y="239"/>
                    </a:lnTo>
                    <a:lnTo>
                      <a:pt x="112" y="241"/>
                    </a:lnTo>
                    <a:lnTo>
                      <a:pt x="115" y="241"/>
                    </a:lnTo>
                    <a:lnTo>
                      <a:pt x="112" y="243"/>
                    </a:lnTo>
                    <a:lnTo>
                      <a:pt x="112" y="245"/>
                    </a:lnTo>
                    <a:lnTo>
                      <a:pt x="117" y="250"/>
                    </a:lnTo>
                    <a:lnTo>
                      <a:pt x="119" y="250"/>
                    </a:lnTo>
                    <a:lnTo>
                      <a:pt x="121" y="252"/>
                    </a:lnTo>
                    <a:lnTo>
                      <a:pt x="123" y="254"/>
                    </a:lnTo>
                    <a:lnTo>
                      <a:pt x="126" y="256"/>
                    </a:lnTo>
                    <a:lnTo>
                      <a:pt x="128" y="261"/>
                    </a:lnTo>
                    <a:lnTo>
                      <a:pt x="128" y="263"/>
                    </a:lnTo>
                    <a:lnTo>
                      <a:pt x="128" y="263"/>
                    </a:lnTo>
                    <a:lnTo>
                      <a:pt x="128" y="263"/>
                    </a:lnTo>
                    <a:lnTo>
                      <a:pt x="134" y="259"/>
                    </a:lnTo>
                    <a:lnTo>
                      <a:pt x="139" y="259"/>
                    </a:lnTo>
                    <a:lnTo>
                      <a:pt x="139" y="259"/>
                    </a:lnTo>
                    <a:lnTo>
                      <a:pt x="139" y="256"/>
                    </a:lnTo>
                    <a:lnTo>
                      <a:pt x="139" y="256"/>
                    </a:lnTo>
                    <a:lnTo>
                      <a:pt x="139" y="254"/>
                    </a:lnTo>
                    <a:lnTo>
                      <a:pt x="139" y="252"/>
                    </a:lnTo>
                    <a:lnTo>
                      <a:pt x="141" y="252"/>
                    </a:lnTo>
                    <a:lnTo>
                      <a:pt x="143" y="250"/>
                    </a:lnTo>
                    <a:lnTo>
                      <a:pt x="145" y="248"/>
                    </a:lnTo>
                    <a:lnTo>
                      <a:pt x="148" y="241"/>
                    </a:lnTo>
                    <a:lnTo>
                      <a:pt x="148" y="239"/>
                    </a:lnTo>
                    <a:lnTo>
                      <a:pt x="148" y="239"/>
                    </a:lnTo>
                    <a:lnTo>
                      <a:pt x="150" y="239"/>
                    </a:lnTo>
                    <a:lnTo>
                      <a:pt x="152" y="241"/>
                    </a:lnTo>
                    <a:lnTo>
                      <a:pt x="152" y="241"/>
                    </a:lnTo>
                    <a:lnTo>
                      <a:pt x="154" y="243"/>
                    </a:lnTo>
                    <a:lnTo>
                      <a:pt x="156" y="245"/>
                    </a:lnTo>
                    <a:lnTo>
                      <a:pt x="159" y="245"/>
                    </a:lnTo>
                    <a:lnTo>
                      <a:pt x="159" y="248"/>
                    </a:lnTo>
                    <a:lnTo>
                      <a:pt x="156" y="250"/>
                    </a:lnTo>
                    <a:lnTo>
                      <a:pt x="156" y="252"/>
                    </a:lnTo>
                    <a:lnTo>
                      <a:pt x="154" y="254"/>
                    </a:lnTo>
                    <a:lnTo>
                      <a:pt x="156" y="259"/>
                    </a:lnTo>
                    <a:lnTo>
                      <a:pt x="156" y="259"/>
                    </a:lnTo>
                    <a:lnTo>
                      <a:pt x="156" y="261"/>
                    </a:lnTo>
                    <a:lnTo>
                      <a:pt x="161" y="261"/>
                    </a:lnTo>
                    <a:lnTo>
                      <a:pt x="163" y="261"/>
                    </a:lnTo>
                    <a:lnTo>
                      <a:pt x="163" y="261"/>
                    </a:lnTo>
                    <a:lnTo>
                      <a:pt x="165" y="261"/>
                    </a:lnTo>
                    <a:lnTo>
                      <a:pt x="165" y="263"/>
                    </a:lnTo>
                    <a:lnTo>
                      <a:pt x="165" y="270"/>
                    </a:lnTo>
                    <a:lnTo>
                      <a:pt x="167" y="270"/>
                    </a:lnTo>
                    <a:lnTo>
                      <a:pt x="170" y="272"/>
                    </a:lnTo>
                    <a:lnTo>
                      <a:pt x="170" y="272"/>
                    </a:lnTo>
                    <a:lnTo>
                      <a:pt x="172" y="274"/>
                    </a:lnTo>
                    <a:lnTo>
                      <a:pt x="172" y="274"/>
                    </a:lnTo>
                    <a:lnTo>
                      <a:pt x="174" y="272"/>
                    </a:lnTo>
                    <a:lnTo>
                      <a:pt x="176" y="270"/>
                    </a:lnTo>
                    <a:lnTo>
                      <a:pt x="178" y="270"/>
                    </a:lnTo>
                    <a:lnTo>
                      <a:pt x="181" y="270"/>
                    </a:lnTo>
                    <a:lnTo>
                      <a:pt x="185" y="272"/>
                    </a:lnTo>
                    <a:lnTo>
                      <a:pt x="189" y="272"/>
                    </a:lnTo>
                    <a:lnTo>
                      <a:pt x="191" y="272"/>
                    </a:lnTo>
                    <a:lnTo>
                      <a:pt x="191" y="274"/>
                    </a:lnTo>
                    <a:lnTo>
                      <a:pt x="191" y="274"/>
                    </a:lnTo>
                    <a:lnTo>
                      <a:pt x="187" y="281"/>
                    </a:lnTo>
                    <a:lnTo>
                      <a:pt x="185" y="283"/>
                    </a:lnTo>
                    <a:lnTo>
                      <a:pt x="183" y="283"/>
                    </a:lnTo>
                    <a:lnTo>
                      <a:pt x="181" y="283"/>
                    </a:lnTo>
                    <a:lnTo>
                      <a:pt x="181" y="283"/>
                    </a:lnTo>
                    <a:lnTo>
                      <a:pt x="178" y="283"/>
                    </a:lnTo>
                    <a:lnTo>
                      <a:pt x="178" y="285"/>
                    </a:lnTo>
                    <a:lnTo>
                      <a:pt x="178" y="287"/>
                    </a:lnTo>
                    <a:lnTo>
                      <a:pt x="176" y="289"/>
                    </a:lnTo>
                    <a:lnTo>
                      <a:pt x="174" y="292"/>
                    </a:lnTo>
                    <a:lnTo>
                      <a:pt x="174" y="292"/>
                    </a:lnTo>
                    <a:lnTo>
                      <a:pt x="174" y="294"/>
                    </a:lnTo>
                    <a:lnTo>
                      <a:pt x="174" y="296"/>
                    </a:lnTo>
                    <a:lnTo>
                      <a:pt x="174" y="298"/>
                    </a:lnTo>
                    <a:lnTo>
                      <a:pt x="176" y="298"/>
                    </a:lnTo>
                    <a:lnTo>
                      <a:pt x="176" y="298"/>
                    </a:lnTo>
                    <a:lnTo>
                      <a:pt x="178" y="298"/>
                    </a:lnTo>
                    <a:lnTo>
                      <a:pt x="178" y="300"/>
                    </a:lnTo>
                    <a:lnTo>
                      <a:pt x="181" y="300"/>
                    </a:lnTo>
                    <a:lnTo>
                      <a:pt x="178" y="303"/>
                    </a:lnTo>
                    <a:lnTo>
                      <a:pt x="178" y="303"/>
                    </a:lnTo>
                    <a:lnTo>
                      <a:pt x="178" y="303"/>
                    </a:lnTo>
                    <a:lnTo>
                      <a:pt x="176" y="307"/>
                    </a:lnTo>
                    <a:lnTo>
                      <a:pt x="178" y="307"/>
                    </a:lnTo>
                    <a:lnTo>
                      <a:pt x="178" y="309"/>
                    </a:lnTo>
                    <a:lnTo>
                      <a:pt x="178" y="309"/>
                    </a:lnTo>
                    <a:lnTo>
                      <a:pt x="178" y="311"/>
                    </a:lnTo>
                    <a:lnTo>
                      <a:pt x="176" y="314"/>
                    </a:lnTo>
                    <a:lnTo>
                      <a:pt x="176" y="316"/>
                    </a:lnTo>
                    <a:lnTo>
                      <a:pt x="178" y="316"/>
                    </a:lnTo>
                    <a:lnTo>
                      <a:pt x="178" y="316"/>
                    </a:lnTo>
                    <a:lnTo>
                      <a:pt x="178" y="316"/>
                    </a:lnTo>
                    <a:lnTo>
                      <a:pt x="181" y="316"/>
                    </a:lnTo>
                    <a:lnTo>
                      <a:pt x="183" y="316"/>
                    </a:lnTo>
                    <a:lnTo>
                      <a:pt x="187" y="314"/>
                    </a:lnTo>
                    <a:lnTo>
                      <a:pt x="189" y="314"/>
                    </a:lnTo>
                    <a:lnTo>
                      <a:pt x="191" y="311"/>
                    </a:lnTo>
                    <a:lnTo>
                      <a:pt x="194" y="311"/>
                    </a:lnTo>
                    <a:lnTo>
                      <a:pt x="194" y="309"/>
                    </a:lnTo>
                    <a:lnTo>
                      <a:pt x="196" y="309"/>
                    </a:lnTo>
                    <a:lnTo>
                      <a:pt x="198" y="307"/>
                    </a:lnTo>
                    <a:lnTo>
                      <a:pt x="205" y="300"/>
                    </a:lnTo>
                    <a:lnTo>
                      <a:pt x="207" y="298"/>
                    </a:lnTo>
                    <a:lnTo>
                      <a:pt x="209" y="298"/>
                    </a:lnTo>
                    <a:lnTo>
                      <a:pt x="211" y="298"/>
                    </a:lnTo>
                    <a:lnTo>
                      <a:pt x="213" y="300"/>
                    </a:lnTo>
                    <a:lnTo>
                      <a:pt x="218" y="305"/>
                    </a:lnTo>
                    <a:lnTo>
                      <a:pt x="218" y="305"/>
                    </a:lnTo>
                    <a:lnTo>
                      <a:pt x="218" y="307"/>
                    </a:lnTo>
                    <a:lnTo>
                      <a:pt x="220" y="311"/>
                    </a:lnTo>
                    <a:lnTo>
                      <a:pt x="222" y="314"/>
                    </a:lnTo>
                    <a:lnTo>
                      <a:pt x="222" y="314"/>
                    </a:lnTo>
                    <a:lnTo>
                      <a:pt x="220" y="318"/>
                    </a:lnTo>
                    <a:lnTo>
                      <a:pt x="216" y="320"/>
                    </a:lnTo>
                    <a:lnTo>
                      <a:pt x="216" y="320"/>
                    </a:lnTo>
                    <a:lnTo>
                      <a:pt x="213" y="320"/>
                    </a:lnTo>
                    <a:lnTo>
                      <a:pt x="211" y="322"/>
                    </a:lnTo>
                    <a:lnTo>
                      <a:pt x="211" y="322"/>
                    </a:lnTo>
                    <a:lnTo>
                      <a:pt x="211" y="329"/>
                    </a:lnTo>
                    <a:lnTo>
                      <a:pt x="211" y="329"/>
                    </a:lnTo>
                    <a:lnTo>
                      <a:pt x="213" y="331"/>
                    </a:lnTo>
                    <a:lnTo>
                      <a:pt x="213" y="331"/>
                    </a:lnTo>
                    <a:lnTo>
                      <a:pt x="216" y="331"/>
                    </a:lnTo>
                    <a:lnTo>
                      <a:pt x="220" y="333"/>
                    </a:lnTo>
                    <a:lnTo>
                      <a:pt x="222" y="335"/>
                    </a:lnTo>
                    <a:lnTo>
                      <a:pt x="224" y="340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20" y="340"/>
                    </a:lnTo>
                    <a:lnTo>
                      <a:pt x="218" y="340"/>
                    </a:lnTo>
                    <a:lnTo>
                      <a:pt x="218" y="340"/>
                    </a:lnTo>
                    <a:lnTo>
                      <a:pt x="216" y="342"/>
                    </a:lnTo>
                    <a:lnTo>
                      <a:pt x="216" y="344"/>
                    </a:lnTo>
                    <a:lnTo>
                      <a:pt x="216" y="346"/>
                    </a:lnTo>
                    <a:lnTo>
                      <a:pt x="218" y="349"/>
                    </a:lnTo>
                    <a:lnTo>
                      <a:pt x="220" y="349"/>
                    </a:lnTo>
                    <a:lnTo>
                      <a:pt x="220" y="351"/>
                    </a:lnTo>
                    <a:lnTo>
                      <a:pt x="220" y="355"/>
                    </a:lnTo>
                    <a:lnTo>
                      <a:pt x="222" y="357"/>
                    </a:lnTo>
                    <a:lnTo>
                      <a:pt x="222" y="357"/>
                    </a:lnTo>
                    <a:lnTo>
                      <a:pt x="224" y="357"/>
                    </a:lnTo>
                    <a:lnTo>
                      <a:pt x="227" y="364"/>
                    </a:lnTo>
                    <a:lnTo>
                      <a:pt x="229" y="366"/>
                    </a:lnTo>
                    <a:lnTo>
                      <a:pt x="231" y="368"/>
                    </a:lnTo>
                    <a:lnTo>
                      <a:pt x="231" y="368"/>
                    </a:lnTo>
                    <a:lnTo>
                      <a:pt x="231" y="371"/>
                    </a:lnTo>
                    <a:lnTo>
                      <a:pt x="231" y="371"/>
                    </a:lnTo>
                    <a:lnTo>
                      <a:pt x="231" y="373"/>
                    </a:lnTo>
                    <a:lnTo>
                      <a:pt x="229" y="377"/>
                    </a:lnTo>
                    <a:lnTo>
                      <a:pt x="227" y="379"/>
                    </a:lnTo>
                    <a:lnTo>
                      <a:pt x="227" y="382"/>
                    </a:lnTo>
                    <a:lnTo>
                      <a:pt x="227" y="384"/>
                    </a:lnTo>
                    <a:lnTo>
                      <a:pt x="224" y="384"/>
                    </a:lnTo>
                    <a:lnTo>
                      <a:pt x="224" y="386"/>
                    </a:lnTo>
                    <a:lnTo>
                      <a:pt x="224" y="388"/>
                    </a:lnTo>
                    <a:lnTo>
                      <a:pt x="222" y="388"/>
                    </a:lnTo>
                    <a:lnTo>
                      <a:pt x="222" y="393"/>
                    </a:lnTo>
                    <a:lnTo>
                      <a:pt x="222" y="393"/>
                    </a:lnTo>
                    <a:lnTo>
                      <a:pt x="224" y="395"/>
                    </a:lnTo>
                    <a:lnTo>
                      <a:pt x="224" y="395"/>
                    </a:lnTo>
                    <a:lnTo>
                      <a:pt x="224" y="395"/>
                    </a:lnTo>
                    <a:lnTo>
                      <a:pt x="224" y="397"/>
                    </a:lnTo>
                    <a:lnTo>
                      <a:pt x="224" y="397"/>
                    </a:lnTo>
                    <a:lnTo>
                      <a:pt x="222" y="399"/>
                    </a:lnTo>
                    <a:lnTo>
                      <a:pt x="211" y="403"/>
                    </a:lnTo>
                    <a:lnTo>
                      <a:pt x="209" y="408"/>
                    </a:lnTo>
                    <a:lnTo>
                      <a:pt x="209" y="410"/>
                    </a:lnTo>
                    <a:lnTo>
                      <a:pt x="211" y="412"/>
                    </a:lnTo>
                    <a:lnTo>
                      <a:pt x="209" y="414"/>
                    </a:lnTo>
                    <a:lnTo>
                      <a:pt x="209" y="417"/>
                    </a:lnTo>
                    <a:lnTo>
                      <a:pt x="207" y="419"/>
                    </a:lnTo>
                    <a:lnTo>
                      <a:pt x="205" y="419"/>
                    </a:lnTo>
                    <a:lnTo>
                      <a:pt x="205" y="421"/>
                    </a:lnTo>
                    <a:lnTo>
                      <a:pt x="202" y="421"/>
                    </a:lnTo>
                    <a:lnTo>
                      <a:pt x="207" y="423"/>
                    </a:lnTo>
                    <a:lnTo>
                      <a:pt x="213" y="430"/>
                    </a:lnTo>
                    <a:lnTo>
                      <a:pt x="220" y="436"/>
                    </a:lnTo>
                    <a:lnTo>
                      <a:pt x="222" y="441"/>
                    </a:lnTo>
                    <a:lnTo>
                      <a:pt x="224" y="441"/>
                    </a:lnTo>
                    <a:lnTo>
                      <a:pt x="224" y="443"/>
                    </a:lnTo>
                    <a:lnTo>
                      <a:pt x="224" y="450"/>
                    </a:lnTo>
                    <a:lnTo>
                      <a:pt x="227" y="452"/>
                    </a:lnTo>
                    <a:lnTo>
                      <a:pt x="233" y="467"/>
                    </a:lnTo>
                    <a:lnTo>
                      <a:pt x="238" y="472"/>
                    </a:lnTo>
                    <a:lnTo>
                      <a:pt x="251" y="482"/>
                    </a:lnTo>
                    <a:lnTo>
                      <a:pt x="253" y="485"/>
                    </a:lnTo>
                    <a:lnTo>
                      <a:pt x="255" y="489"/>
                    </a:lnTo>
                    <a:lnTo>
                      <a:pt x="255" y="498"/>
                    </a:lnTo>
                    <a:lnTo>
                      <a:pt x="255" y="504"/>
                    </a:lnTo>
                    <a:lnTo>
                      <a:pt x="257" y="513"/>
                    </a:lnTo>
                    <a:lnTo>
                      <a:pt x="260" y="518"/>
                    </a:lnTo>
                    <a:lnTo>
                      <a:pt x="262" y="522"/>
                    </a:lnTo>
                    <a:lnTo>
                      <a:pt x="268" y="529"/>
                    </a:lnTo>
                    <a:lnTo>
                      <a:pt x="282" y="548"/>
                    </a:lnTo>
                    <a:lnTo>
                      <a:pt x="295" y="564"/>
                    </a:lnTo>
                    <a:lnTo>
                      <a:pt x="299" y="570"/>
                    </a:lnTo>
                    <a:lnTo>
                      <a:pt x="306" y="575"/>
                    </a:lnTo>
                    <a:lnTo>
                      <a:pt x="314" y="570"/>
                    </a:lnTo>
                    <a:lnTo>
                      <a:pt x="317" y="566"/>
                    </a:lnTo>
                    <a:lnTo>
                      <a:pt x="323" y="553"/>
                    </a:lnTo>
                    <a:lnTo>
                      <a:pt x="325" y="551"/>
                    </a:lnTo>
                    <a:lnTo>
                      <a:pt x="352" y="529"/>
                    </a:lnTo>
                    <a:lnTo>
                      <a:pt x="354" y="526"/>
                    </a:lnTo>
                    <a:lnTo>
                      <a:pt x="354" y="524"/>
                    </a:lnTo>
                    <a:lnTo>
                      <a:pt x="356" y="518"/>
                    </a:lnTo>
                    <a:lnTo>
                      <a:pt x="358" y="515"/>
                    </a:lnTo>
                    <a:lnTo>
                      <a:pt x="361" y="515"/>
                    </a:lnTo>
                    <a:lnTo>
                      <a:pt x="361" y="513"/>
                    </a:lnTo>
                    <a:lnTo>
                      <a:pt x="363" y="515"/>
                    </a:lnTo>
                    <a:lnTo>
                      <a:pt x="363" y="515"/>
                    </a:lnTo>
                    <a:lnTo>
                      <a:pt x="363" y="515"/>
                    </a:lnTo>
                    <a:lnTo>
                      <a:pt x="372" y="520"/>
                    </a:lnTo>
                    <a:lnTo>
                      <a:pt x="376" y="520"/>
                    </a:lnTo>
                    <a:lnTo>
                      <a:pt x="389" y="520"/>
                    </a:lnTo>
                    <a:lnTo>
                      <a:pt x="407" y="518"/>
                    </a:lnTo>
                    <a:lnTo>
                      <a:pt x="409" y="518"/>
                    </a:lnTo>
                    <a:lnTo>
                      <a:pt x="413" y="513"/>
                    </a:lnTo>
                    <a:lnTo>
                      <a:pt x="420" y="511"/>
                    </a:lnTo>
                    <a:lnTo>
                      <a:pt x="422" y="504"/>
                    </a:lnTo>
                    <a:lnTo>
                      <a:pt x="424" y="493"/>
                    </a:lnTo>
                    <a:lnTo>
                      <a:pt x="424" y="489"/>
                    </a:lnTo>
                    <a:lnTo>
                      <a:pt x="426" y="487"/>
                    </a:lnTo>
                    <a:lnTo>
                      <a:pt x="433" y="482"/>
                    </a:lnTo>
                    <a:lnTo>
                      <a:pt x="442" y="476"/>
                    </a:lnTo>
                    <a:lnTo>
                      <a:pt x="446" y="469"/>
                    </a:lnTo>
                    <a:lnTo>
                      <a:pt x="451" y="461"/>
                    </a:lnTo>
                    <a:lnTo>
                      <a:pt x="451" y="454"/>
                    </a:lnTo>
                    <a:lnTo>
                      <a:pt x="440" y="447"/>
                    </a:lnTo>
                    <a:lnTo>
                      <a:pt x="440" y="447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</p:grpSp>
        <p:grpSp>
          <p:nvGrpSpPr>
            <p:cNvPr id="21" name="Agrupar 2"/>
            <p:cNvGrpSpPr/>
            <p:nvPr/>
          </p:nvGrpSpPr>
          <p:grpSpPr>
            <a:xfrm>
              <a:off x="3775811" y="4653512"/>
              <a:ext cx="177801" cy="288925"/>
              <a:chOff x="4921250" y="4470400"/>
              <a:chExt cx="177801" cy="288925"/>
            </a:xfrm>
            <a:solidFill>
              <a:schemeClr val="tx1"/>
            </a:solidFill>
          </p:grpSpPr>
          <p:sp>
            <p:nvSpPr>
              <p:cNvPr id="45" name="Freeform 9"/>
              <p:cNvSpPr>
                <a:spLocks/>
              </p:cNvSpPr>
              <p:nvPr/>
            </p:nvSpPr>
            <p:spPr bwMode="auto">
              <a:xfrm>
                <a:off x="4935538" y="4470400"/>
                <a:ext cx="163513" cy="288925"/>
              </a:xfrm>
              <a:custGeom>
                <a:avLst/>
                <a:gdLst>
                  <a:gd name="T0" fmla="*/ 99 w 103"/>
                  <a:gd name="T1" fmla="*/ 125 h 182"/>
                  <a:gd name="T2" fmla="*/ 92 w 103"/>
                  <a:gd name="T3" fmla="*/ 116 h 182"/>
                  <a:gd name="T4" fmla="*/ 88 w 103"/>
                  <a:gd name="T5" fmla="*/ 107 h 182"/>
                  <a:gd name="T6" fmla="*/ 90 w 103"/>
                  <a:gd name="T7" fmla="*/ 101 h 182"/>
                  <a:gd name="T8" fmla="*/ 96 w 103"/>
                  <a:gd name="T9" fmla="*/ 101 h 182"/>
                  <a:gd name="T10" fmla="*/ 85 w 103"/>
                  <a:gd name="T11" fmla="*/ 92 h 182"/>
                  <a:gd name="T12" fmla="*/ 83 w 103"/>
                  <a:gd name="T13" fmla="*/ 83 h 182"/>
                  <a:gd name="T14" fmla="*/ 88 w 103"/>
                  <a:gd name="T15" fmla="*/ 81 h 182"/>
                  <a:gd name="T16" fmla="*/ 92 w 103"/>
                  <a:gd name="T17" fmla="*/ 72 h 182"/>
                  <a:gd name="T18" fmla="*/ 85 w 103"/>
                  <a:gd name="T19" fmla="*/ 61 h 182"/>
                  <a:gd name="T20" fmla="*/ 77 w 103"/>
                  <a:gd name="T21" fmla="*/ 61 h 182"/>
                  <a:gd name="T22" fmla="*/ 66 w 103"/>
                  <a:gd name="T23" fmla="*/ 72 h 182"/>
                  <a:gd name="T24" fmla="*/ 55 w 103"/>
                  <a:gd name="T25" fmla="*/ 77 h 182"/>
                  <a:gd name="T26" fmla="*/ 50 w 103"/>
                  <a:gd name="T27" fmla="*/ 77 h 182"/>
                  <a:gd name="T28" fmla="*/ 50 w 103"/>
                  <a:gd name="T29" fmla="*/ 70 h 182"/>
                  <a:gd name="T30" fmla="*/ 50 w 103"/>
                  <a:gd name="T31" fmla="*/ 64 h 182"/>
                  <a:gd name="T32" fmla="*/ 50 w 103"/>
                  <a:gd name="T33" fmla="*/ 61 h 182"/>
                  <a:gd name="T34" fmla="*/ 46 w 103"/>
                  <a:gd name="T35" fmla="*/ 59 h 182"/>
                  <a:gd name="T36" fmla="*/ 46 w 103"/>
                  <a:gd name="T37" fmla="*/ 53 h 182"/>
                  <a:gd name="T38" fmla="*/ 50 w 103"/>
                  <a:gd name="T39" fmla="*/ 44 h 182"/>
                  <a:gd name="T40" fmla="*/ 57 w 103"/>
                  <a:gd name="T41" fmla="*/ 44 h 182"/>
                  <a:gd name="T42" fmla="*/ 63 w 103"/>
                  <a:gd name="T43" fmla="*/ 33 h 182"/>
                  <a:gd name="T44" fmla="*/ 50 w 103"/>
                  <a:gd name="T45" fmla="*/ 31 h 182"/>
                  <a:gd name="T46" fmla="*/ 44 w 103"/>
                  <a:gd name="T47" fmla="*/ 35 h 182"/>
                  <a:gd name="T48" fmla="*/ 37 w 103"/>
                  <a:gd name="T49" fmla="*/ 31 h 182"/>
                  <a:gd name="T50" fmla="*/ 35 w 103"/>
                  <a:gd name="T51" fmla="*/ 22 h 182"/>
                  <a:gd name="T52" fmla="*/ 28 w 103"/>
                  <a:gd name="T53" fmla="*/ 20 h 182"/>
                  <a:gd name="T54" fmla="*/ 31 w 103"/>
                  <a:gd name="T55" fmla="*/ 9 h 182"/>
                  <a:gd name="T56" fmla="*/ 24 w 103"/>
                  <a:gd name="T57" fmla="*/ 2 h 182"/>
                  <a:gd name="T58" fmla="*/ 20 w 103"/>
                  <a:gd name="T59" fmla="*/ 0 h 182"/>
                  <a:gd name="T60" fmla="*/ 13 w 103"/>
                  <a:gd name="T61" fmla="*/ 13 h 182"/>
                  <a:gd name="T62" fmla="*/ 11 w 103"/>
                  <a:gd name="T63" fmla="*/ 17 h 182"/>
                  <a:gd name="T64" fmla="*/ 0 w 103"/>
                  <a:gd name="T65" fmla="*/ 24 h 182"/>
                  <a:gd name="T66" fmla="*/ 6 w 103"/>
                  <a:gd name="T67" fmla="*/ 35 h 182"/>
                  <a:gd name="T68" fmla="*/ 0 w 103"/>
                  <a:gd name="T69" fmla="*/ 44 h 182"/>
                  <a:gd name="T70" fmla="*/ 6 w 103"/>
                  <a:gd name="T71" fmla="*/ 61 h 182"/>
                  <a:gd name="T72" fmla="*/ 11 w 103"/>
                  <a:gd name="T73" fmla="*/ 85 h 182"/>
                  <a:gd name="T74" fmla="*/ 17 w 103"/>
                  <a:gd name="T75" fmla="*/ 99 h 182"/>
                  <a:gd name="T76" fmla="*/ 26 w 103"/>
                  <a:gd name="T77" fmla="*/ 107 h 182"/>
                  <a:gd name="T78" fmla="*/ 28 w 103"/>
                  <a:gd name="T79" fmla="*/ 118 h 182"/>
                  <a:gd name="T80" fmla="*/ 35 w 103"/>
                  <a:gd name="T81" fmla="*/ 127 h 182"/>
                  <a:gd name="T82" fmla="*/ 70 w 103"/>
                  <a:gd name="T83" fmla="*/ 151 h 182"/>
                  <a:gd name="T84" fmla="*/ 72 w 103"/>
                  <a:gd name="T85" fmla="*/ 178 h 182"/>
                  <a:gd name="T86" fmla="*/ 79 w 103"/>
                  <a:gd name="T87" fmla="*/ 180 h 182"/>
                  <a:gd name="T88" fmla="*/ 81 w 103"/>
                  <a:gd name="T89" fmla="*/ 171 h 182"/>
                  <a:gd name="T90" fmla="*/ 96 w 103"/>
                  <a:gd name="T91" fmla="*/ 158 h 182"/>
                  <a:gd name="T92" fmla="*/ 96 w 103"/>
                  <a:gd name="T93" fmla="*/ 156 h 182"/>
                  <a:gd name="T94" fmla="*/ 96 w 103"/>
                  <a:gd name="T95" fmla="*/ 149 h 182"/>
                  <a:gd name="T96" fmla="*/ 99 w 103"/>
                  <a:gd name="T97" fmla="*/ 143 h 182"/>
                  <a:gd name="T98" fmla="*/ 103 w 103"/>
                  <a:gd name="T99" fmla="*/ 132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3" h="182">
                    <a:moveTo>
                      <a:pt x="103" y="129"/>
                    </a:moveTo>
                    <a:lnTo>
                      <a:pt x="103" y="129"/>
                    </a:lnTo>
                    <a:lnTo>
                      <a:pt x="101" y="127"/>
                    </a:lnTo>
                    <a:lnTo>
                      <a:pt x="99" y="125"/>
                    </a:lnTo>
                    <a:lnTo>
                      <a:pt x="96" y="118"/>
                    </a:lnTo>
                    <a:lnTo>
                      <a:pt x="94" y="118"/>
                    </a:lnTo>
                    <a:lnTo>
                      <a:pt x="94" y="118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10"/>
                    </a:lnTo>
                    <a:lnTo>
                      <a:pt x="90" y="110"/>
                    </a:lnTo>
                    <a:lnTo>
                      <a:pt x="88" y="107"/>
                    </a:lnTo>
                    <a:lnTo>
                      <a:pt x="88" y="105"/>
                    </a:lnTo>
                    <a:lnTo>
                      <a:pt x="88" y="103"/>
                    </a:lnTo>
                    <a:lnTo>
                      <a:pt x="90" y="101"/>
                    </a:lnTo>
                    <a:lnTo>
                      <a:pt x="90" y="101"/>
                    </a:lnTo>
                    <a:lnTo>
                      <a:pt x="92" y="101"/>
                    </a:lnTo>
                    <a:lnTo>
                      <a:pt x="96" y="103"/>
                    </a:lnTo>
                    <a:lnTo>
                      <a:pt x="96" y="103"/>
                    </a:lnTo>
                    <a:lnTo>
                      <a:pt x="96" y="101"/>
                    </a:lnTo>
                    <a:lnTo>
                      <a:pt x="94" y="96"/>
                    </a:lnTo>
                    <a:lnTo>
                      <a:pt x="92" y="94"/>
                    </a:lnTo>
                    <a:lnTo>
                      <a:pt x="88" y="92"/>
                    </a:lnTo>
                    <a:lnTo>
                      <a:pt x="85" y="92"/>
                    </a:lnTo>
                    <a:lnTo>
                      <a:pt x="85" y="92"/>
                    </a:lnTo>
                    <a:lnTo>
                      <a:pt x="83" y="90"/>
                    </a:lnTo>
                    <a:lnTo>
                      <a:pt x="83" y="90"/>
                    </a:lnTo>
                    <a:lnTo>
                      <a:pt x="83" y="83"/>
                    </a:lnTo>
                    <a:lnTo>
                      <a:pt x="83" y="83"/>
                    </a:lnTo>
                    <a:lnTo>
                      <a:pt x="85" y="81"/>
                    </a:lnTo>
                    <a:lnTo>
                      <a:pt x="88" y="81"/>
                    </a:lnTo>
                    <a:lnTo>
                      <a:pt x="88" y="81"/>
                    </a:lnTo>
                    <a:lnTo>
                      <a:pt x="92" y="79"/>
                    </a:lnTo>
                    <a:lnTo>
                      <a:pt x="94" y="75"/>
                    </a:lnTo>
                    <a:lnTo>
                      <a:pt x="94" y="75"/>
                    </a:lnTo>
                    <a:lnTo>
                      <a:pt x="92" y="72"/>
                    </a:lnTo>
                    <a:lnTo>
                      <a:pt x="90" y="68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85" y="61"/>
                    </a:lnTo>
                    <a:lnTo>
                      <a:pt x="83" y="59"/>
                    </a:lnTo>
                    <a:lnTo>
                      <a:pt x="81" y="59"/>
                    </a:lnTo>
                    <a:lnTo>
                      <a:pt x="79" y="59"/>
                    </a:lnTo>
                    <a:lnTo>
                      <a:pt x="77" y="61"/>
                    </a:lnTo>
                    <a:lnTo>
                      <a:pt x="70" y="68"/>
                    </a:lnTo>
                    <a:lnTo>
                      <a:pt x="68" y="70"/>
                    </a:lnTo>
                    <a:lnTo>
                      <a:pt x="66" y="70"/>
                    </a:lnTo>
                    <a:lnTo>
                      <a:pt x="66" y="72"/>
                    </a:lnTo>
                    <a:lnTo>
                      <a:pt x="63" y="72"/>
                    </a:lnTo>
                    <a:lnTo>
                      <a:pt x="61" y="75"/>
                    </a:lnTo>
                    <a:lnTo>
                      <a:pt x="59" y="75"/>
                    </a:lnTo>
                    <a:lnTo>
                      <a:pt x="55" y="77"/>
                    </a:lnTo>
                    <a:lnTo>
                      <a:pt x="53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50" y="77"/>
                    </a:lnTo>
                    <a:lnTo>
                      <a:pt x="48" y="77"/>
                    </a:lnTo>
                    <a:lnTo>
                      <a:pt x="48" y="75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50" y="70"/>
                    </a:lnTo>
                    <a:lnTo>
                      <a:pt x="50" y="68"/>
                    </a:lnTo>
                    <a:lnTo>
                      <a:pt x="48" y="68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0" y="64"/>
                    </a:lnTo>
                    <a:lnTo>
                      <a:pt x="53" y="61"/>
                    </a:lnTo>
                    <a:lnTo>
                      <a:pt x="50" y="61"/>
                    </a:lnTo>
                    <a:lnTo>
                      <a:pt x="50" y="59"/>
                    </a:lnTo>
                    <a:lnTo>
                      <a:pt x="48" y="59"/>
                    </a:lnTo>
                    <a:lnTo>
                      <a:pt x="48" y="59"/>
                    </a:lnTo>
                    <a:lnTo>
                      <a:pt x="46" y="59"/>
                    </a:lnTo>
                    <a:lnTo>
                      <a:pt x="46" y="57"/>
                    </a:lnTo>
                    <a:lnTo>
                      <a:pt x="46" y="55"/>
                    </a:lnTo>
                    <a:lnTo>
                      <a:pt x="46" y="53"/>
                    </a:lnTo>
                    <a:lnTo>
                      <a:pt x="46" y="53"/>
                    </a:lnTo>
                    <a:lnTo>
                      <a:pt x="48" y="50"/>
                    </a:lnTo>
                    <a:lnTo>
                      <a:pt x="50" y="48"/>
                    </a:lnTo>
                    <a:lnTo>
                      <a:pt x="50" y="46"/>
                    </a:lnTo>
                    <a:lnTo>
                      <a:pt x="50" y="44"/>
                    </a:lnTo>
                    <a:lnTo>
                      <a:pt x="53" y="44"/>
                    </a:lnTo>
                    <a:lnTo>
                      <a:pt x="53" y="44"/>
                    </a:lnTo>
                    <a:lnTo>
                      <a:pt x="55" y="44"/>
                    </a:lnTo>
                    <a:lnTo>
                      <a:pt x="57" y="44"/>
                    </a:lnTo>
                    <a:lnTo>
                      <a:pt x="59" y="42"/>
                    </a:lnTo>
                    <a:lnTo>
                      <a:pt x="63" y="35"/>
                    </a:lnTo>
                    <a:lnTo>
                      <a:pt x="63" y="35"/>
                    </a:lnTo>
                    <a:lnTo>
                      <a:pt x="63" y="33"/>
                    </a:lnTo>
                    <a:lnTo>
                      <a:pt x="61" y="33"/>
                    </a:lnTo>
                    <a:lnTo>
                      <a:pt x="57" y="33"/>
                    </a:lnTo>
                    <a:lnTo>
                      <a:pt x="53" y="31"/>
                    </a:lnTo>
                    <a:lnTo>
                      <a:pt x="50" y="31"/>
                    </a:lnTo>
                    <a:lnTo>
                      <a:pt x="48" y="31"/>
                    </a:lnTo>
                    <a:lnTo>
                      <a:pt x="46" y="33"/>
                    </a:lnTo>
                    <a:lnTo>
                      <a:pt x="44" y="35"/>
                    </a:lnTo>
                    <a:lnTo>
                      <a:pt x="44" y="35"/>
                    </a:lnTo>
                    <a:lnTo>
                      <a:pt x="42" y="33"/>
                    </a:lnTo>
                    <a:lnTo>
                      <a:pt x="42" y="33"/>
                    </a:lnTo>
                    <a:lnTo>
                      <a:pt x="39" y="31"/>
                    </a:lnTo>
                    <a:lnTo>
                      <a:pt x="37" y="31"/>
                    </a:lnTo>
                    <a:lnTo>
                      <a:pt x="37" y="24"/>
                    </a:lnTo>
                    <a:lnTo>
                      <a:pt x="37" y="22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33" y="22"/>
                    </a:lnTo>
                    <a:lnTo>
                      <a:pt x="28" y="22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6" y="15"/>
                    </a:lnTo>
                    <a:lnTo>
                      <a:pt x="28" y="13"/>
                    </a:lnTo>
                    <a:lnTo>
                      <a:pt x="28" y="11"/>
                    </a:lnTo>
                    <a:lnTo>
                      <a:pt x="31" y="9"/>
                    </a:lnTo>
                    <a:lnTo>
                      <a:pt x="31" y="6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2"/>
                    </a:lnTo>
                    <a:lnTo>
                      <a:pt x="17" y="9"/>
                    </a:lnTo>
                    <a:lnTo>
                      <a:pt x="15" y="11"/>
                    </a:lnTo>
                    <a:lnTo>
                      <a:pt x="13" y="13"/>
                    </a:lnTo>
                    <a:lnTo>
                      <a:pt x="11" y="13"/>
                    </a:lnTo>
                    <a:lnTo>
                      <a:pt x="11" y="15"/>
                    </a:lnTo>
                    <a:lnTo>
                      <a:pt x="11" y="17"/>
                    </a:lnTo>
                    <a:lnTo>
                      <a:pt x="11" y="17"/>
                    </a:lnTo>
                    <a:lnTo>
                      <a:pt x="11" y="20"/>
                    </a:lnTo>
                    <a:lnTo>
                      <a:pt x="11" y="20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6" y="35"/>
                    </a:lnTo>
                    <a:lnTo>
                      <a:pt x="6" y="39"/>
                    </a:lnTo>
                    <a:lnTo>
                      <a:pt x="4" y="42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4" y="48"/>
                    </a:lnTo>
                    <a:lnTo>
                      <a:pt x="2" y="53"/>
                    </a:lnTo>
                    <a:lnTo>
                      <a:pt x="4" y="55"/>
                    </a:lnTo>
                    <a:lnTo>
                      <a:pt x="6" y="61"/>
                    </a:lnTo>
                    <a:lnTo>
                      <a:pt x="6" y="61"/>
                    </a:lnTo>
                    <a:lnTo>
                      <a:pt x="9" y="68"/>
                    </a:lnTo>
                    <a:lnTo>
                      <a:pt x="11" y="72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7" y="88"/>
                    </a:lnTo>
                    <a:lnTo>
                      <a:pt x="17" y="92"/>
                    </a:lnTo>
                    <a:lnTo>
                      <a:pt x="17" y="99"/>
                    </a:lnTo>
                    <a:lnTo>
                      <a:pt x="15" y="101"/>
                    </a:lnTo>
                    <a:lnTo>
                      <a:pt x="15" y="101"/>
                    </a:lnTo>
                    <a:lnTo>
                      <a:pt x="20" y="103"/>
                    </a:lnTo>
                    <a:lnTo>
                      <a:pt x="26" y="107"/>
                    </a:lnTo>
                    <a:lnTo>
                      <a:pt x="31" y="114"/>
                    </a:lnTo>
                    <a:lnTo>
                      <a:pt x="31" y="116"/>
                    </a:lnTo>
                    <a:lnTo>
                      <a:pt x="28" y="118"/>
                    </a:lnTo>
                    <a:lnTo>
                      <a:pt x="28" y="118"/>
                    </a:lnTo>
                    <a:lnTo>
                      <a:pt x="28" y="123"/>
                    </a:lnTo>
                    <a:lnTo>
                      <a:pt x="31" y="125"/>
                    </a:lnTo>
                    <a:lnTo>
                      <a:pt x="33" y="127"/>
                    </a:lnTo>
                    <a:lnTo>
                      <a:pt x="35" y="127"/>
                    </a:lnTo>
                    <a:lnTo>
                      <a:pt x="35" y="127"/>
                    </a:lnTo>
                    <a:lnTo>
                      <a:pt x="46" y="132"/>
                    </a:lnTo>
                    <a:lnTo>
                      <a:pt x="63" y="143"/>
                    </a:lnTo>
                    <a:lnTo>
                      <a:pt x="70" y="151"/>
                    </a:lnTo>
                    <a:lnTo>
                      <a:pt x="77" y="158"/>
                    </a:lnTo>
                    <a:lnTo>
                      <a:pt x="77" y="164"/>
                    </a:lnTo>
                    <a:lnTo>
                      <a:pt x="77" y="171"/>
                    </a:lnTo>
                    <a:lnTo>
                      <a:pt x="72" y="178"/>
                    </a:lnTo>
                    <a:lnTo>
                      <a:pt x="74" y="182"/>
                    </a:lnTo>
                    <a:lnTo>
                      <a:pt x="77" y="182"/>
                    </a:lnTo>
                    <a:lnTo>
                      <a:pt x="77" y="180"/>
                    </a:lnTo>
                    <a:lnTo>
                      <a:pt x="79" y="180"/>
                    </a:lnTo>
                    <a:lnTo>
                      <a:pt x="81" y="178"/>
                    </a:lnTo>
                    <a:lnTo>
                      <a:pt x="81" y="175"/>
                    </a:lnTo>
                    <a:lnTo>
                      <a:pt x="83" y="173"/>
                    </a:lnTo>
                    <a:lnTo>
                      <a:pt x="81" y="171"/>
                    </a:lnTo>
                    <a:lnTo>
                      <a:pt x="81" y="169"/>
                    </a:lnTo>
                    <a:lnTo>
                      <a:pt x="83" y="164"/>
                    </a:lnTo>
                    <a:lnTo>
                      <a:pt x="94" y="160"/>
                    </a:lnTo>
                    <a:lnTo>
                      <a:pt x="96" y="158"/>
                    </a:lnTo>
                    <a:lnTo>
                      <a:pt x="96" y="158"/>
                    </a:lnTo>
                    <a:lnTo>
                      <a:pt x="96" y="156"/>
                    </a:lnTo>
                    <a:lnTo>
                      <a:pt x="96" y="156"/>
                    </a:lnTo>
                    <a:lnTo>
                      <a:pt x="96" y="156"/>
                    </a:lnTo>
                    <a:lnTo>
                      <a:pt x="94" y="154"/>
                    </a:lnTo>
                    <a:lnTo>
                      <a:pt x="94" y="154"/>
                    </a:lnTo>
                    <a:lnTo>
                      <a:pt x="94" y="149"/>
                    </a:lnTo>
                    <a:lnTo>
                      <a:pt x="96" y="149"/>
                    </a:lnTo>
                    <a:lnTo>
                      <a:pt x="96" y="147"/>
                    </a:lnTo>
                    <a:lnTo>
                      <a:pt x="96" y="145"/>
                    </a:lnTo>
                    <a:lnTo>
                      <a:pt x="99" y="145"/>
                    </a:lnTo>
                    <a:lnTo>
                      <a:pt x="99" y="143"/>
                    </a:lnTo>
                    <a:lnTo>
                      <a:pt x="99" y="140"/>
                    </a:lnTo>
                    <a:lnTo>
                      <a:pt x="101" y="138"/>
                    </a:lnTo>
                    <a:lnTo>
                      <a:pt x="103" y="134"/>
                    </a:lnTo>
                    <a:lnTo>
                      <a:pt x="103" y="132"/>
                    </a:lnTo>
                    <a:lnTo>
                      <a:pt x="103" y="132"/>
                    </a:lnTo>
                    <a:lnTo>
                      <a:pt x="103" y="129"/>
                    </a:lnTo>
                    <a:lnTo>
                      <a:pt x="103" y="129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46" name="Freeform 11"/>
              <p:cNvSpPr>
                <a:spLocks noEditPoints="1"/>
              </p:cNvSpPr>
              <p:nvPr/>
            </p:nvSpPr>
            <p:spPr bwMode="auto">
              <a:xfrm>
                <a:off x="4921250" y="4605338"/>
                <a:ext cx="41275" cy="34925"/>
              </a:xfrm>
              <a:custGeom>
                <a:avLst/>
                <a:gdLst>
                  <a:gd name="T0" fmla="*/ 11 w 26"/>
                  <a:gd name="T1" fmla="*/ 18 h 22"/>
                  <a:gd name="T2" fmla="*/ 2 w 26"/>
                  <a:gd name="T3" fmla="*/ 11 h 22"/>
                  <a:gd name="T4" fmla="*/ 0 w 26"/>
                  <a:gd name="T5" fmla="*/ 11 h 22"/>
                  <a:gd name="T6" fmla="*/ 0 w 26"/>
                  <a:gd name="T7" fmla="*/ 11 h 22"/>
                  <a:gd name="T8" fmla="*/ 0 w 26"/>
                  <a:gd name="T9" fmla="*/ 16 h 22"/>
                  <a:gd name="T10" fmla="*/ 2 w 26"/>
                  <a:gd name="T11" fmla="*/ 18 h 22"/>
                  <a:gd name="T12" fmla="*/ 7 w 26"/>
                  <a:gd name="T13" fmla="*/ 20 h 22"/>
                  <a:gd name="T14" fmla="*/ 9 w 26"/>
                  <a:gd name="T15" fmla="*/ 22 h 22"/>
                  <a:gd name="T16" fmla="*/ 11 w 26"/>
                  <a:gd name="T17" fmla="*/ 22 h 22"/>
                  <a:gd name="T18" fmla="*/ 13 w 26"/>
                  <a:gd name="T19" fmla="*/ 22 h 22"/>
                  <a:gd name="T20" fmla="*/ 11 w 26"/>
                  <a:gd name="T21" fmla="*/ 20 h 22"/>
                  <a:gd name="T22" fmla="*/ 11 w 26"/>
                  <a:gd name="T23" fmla="*/ 18 h 22"/>
                  <a:gd name="T24" fmla="*/ 11 w 26"/>
                  <a:gd name="T25" fmla="*/ 18 h 22"/>
                  <a:gd name="T26" fmla="*/ 26 w 26"/>
                  <a:gd name="T27" fmla="*/ 3 h 22"/>
                  <a:gd name="T28" fmla="*/ 20 w 26"/>
                  <a:gd name="T29" fmla="*/ 0 h 22"/>
                  <a:gd name="T30" fmla="*/ 20 w 26"/>
                  <a:gd name="T31" fmla="*/ 0 h 22"/>
                  <a:gd name="T32" fmla="*/ 20 w 26"/>
                  <a:gd name="T33" fmla="*/ 0 h 22"/>
                  <a:gd name="T34" fmla="*/ 20 w 26"/>
                  <a:gd name="T35" fmla="*/ 5 h 22"/>
                  <a:gd name="T36" fmla="*/ 18 w 26"/>
                  <a:gd name="T37" fmla="*/ 7 h 22"/>
                  <a:gd name="T38" fmla="*/ 15 w 26"/>
                  <a:gd name="T39" fmla="*/ 9 h 22"/>
                  <a:gd name="T40" fmla="*/ 13 w 26"/>
                  <a:gd name="T41" fmla="*/ 14 h 22"/>
                  <a:gd name="T42" fmla="*/ 22 w 26"/>
                  <a:gd name="T43" fmla="*/ 14 h 22"/>
                  <a:gd name="T44" fmla="*/ 24 w 26"/>
                  <a:gd name="T45" fmla="*/ 16 h 22"/>
                  <a:gd name="T46" fmla="*/ 26 w 26"/>
                  <a:gd name="T47" fmla="*/ 14 h 22"/>
                  <a:gd name="T48" fmla="*/ 26 w 26"/>
                  <a:gd name="T49" fmla="*/ 7 h 22"/>
                  <a:gd name="T50" fmla="*/ 26 w 26"/>
                  <a:gd name="T51" fmla="*/ 3 h 22"/>
                  <a:gd name="T52" fmla="*/ 26 w 26"/>
                  <a:gd name="T53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6" h="22">
                    <a:moveTo>
                      <a:pt x="11" y="18"/>
                    </a:moveTo>
                    <a:lnTo>
                      <a:pt x="2" y="11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7" y="20"/>
                    </a:lnTo>
                    <a:lnTo>
                      <a:pt x="9" y="22"/>
                    </a:lnTo>
                    <a:lnTo>
                      <a:pt x="11" y="22"/>
                    </a:lnTo>
                    <a:lnTo>
                      <a:pt x="13" y="22"/>
                    </a:lnTo>
                    <a:lnTo>
                      <a:pt x="11" y="20"/>
                    </a:lnTo>
                    <a:lnTo>
                      <a:pt x="11" y="18"/>
                    </a:lnTo>
                    <a:lnTo>
                      <a:pt x="11" y="18"/>
                    </a:lnTo>
                    <a:close/>
                    <a:moveTo>
                      <a:pt x="26" y="3"/>
                    </a:move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5"/>
                    </a:lnTo>
                    <a:lnTo>
                      <a:pt x="18" y="7"/>
                    </a:lnTo>
                    <a:lnTo>
                      <a:pt x="15" y="9"/>
                    </a:lnTo>
                    <a:lnTo>
                      <a:pt x="13" y="14"/>
                    </a:lnTo>
                    <a:lnTo>
                      <a:pt x="22" y="14"/>
                    </a:lnTo>
                    <a:lnTo>
                      <a:pt x="24" y="16"/>
                    </a:lnTo>
                    <a:lnTo>
                      <a:pt x="26" y="14"/>
                    </a:lnTo>
                    <a:lnTo>
                      <a:pt x="26" y="7"/>
                    </a:lnTo>
                    <a:lnTo>
                      <a:pt x="26" y="3"/>
                    </a:lnTo>
                    <a:lnTo>
                      <a:pt x="26" y="3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</p:grpSp>
        <p:grpSp>
          <p:nvGrpSpPr>
            <p:cNvPr id="22" name="60 Grupo"/>
            <p:cNvGrpSpPr/>
            <p:nvPr/>
          </p:nvGrpSpPr>
          <p:grpSpPr>
            <a:xfrm>
              <a:off x="4005999" y="4548737"/>
              <a:ext cx="2255838" cy="2178050"/>
              <a:chOff x="5151438" y="4365625"/>
              <a:chExt cx="2255838" cy="2178050"/>
            </a:xfrm>
            <a:solidFill>
              <a:schemeClr val="accent1"/>
            </a:solidFill>
          </p:grpSpPr>
          <p:sp>
            <p:nvSpPr>
              <p:cNvPr id="37" name="Freeform 12"/>
              <p:cNvSpPr>
                <a:spLocks/>
              </p:cNvSpPr>
              <p:nvPr/>
            </p:nvSpPr>
            <p:spPr bwMode="auto">
              <a:xfrm>
                <a:off x="6713538" y="6072188"/>
                <a:ext cx="490538" cy="471487"/>
              </a:xfrm>
              <a:custGeom>
                <a:avLst/>
                <a:gdLst>
                  <a:gd name="T0" fmla="*/ 307 w 309"/>
                  <a:gd name="T1" fmla="*/ 108 h 297"/>
                  <a:gd name="T2" fmla="*/ 294 w 309"/>
                  <a:gd name="T3" fmla="*/ 95 h 297"/>
                  <a:gd name="T4" fmla="*/ 281 w 309"/>
                  <a:gd name="T5" fmla="*/ 93 h 297"/>
                  <a:gd name="T6" fmla="*/ 270 w 309"/>
                  <a:gd name="T7" fmla="*/ 95 h 297"/>
                  <a:gd name="T8" fmla="*/ 267 w 309"/>
                  <a:gd name="T9" fmla="*/ 93 h 297"/>
                  <a:gd name="T10" fmla="*/ 261 w 309"/>
                  <a:gd name="T11" fmla="*/ 84 h 297"/>
                  <a:gd name="T12" fmla="*/ 256 w 309"/>
                  <a:gd name="T13" fmla="*/ 82 h 297"/>
                  <a:gd name="T14" fmla="*/ 254 w 309"/>
                  <a:gd name="T15" fmla="*/ 84 h 297"/>
                  <a:gd name="T16" fmla="*/ 250 w 309"/>
                  <a:gd name="T17" fmla="*/ 84 h 297"/>
                  <a:gd name="T18" fmla="*/ 239 w 309"/>
                  <a:gd name="T19" fmla="*/ 79 h 297"/>
                  <a:gd name="T20" fmla="*/ 237 w 309"/>
                  <a:gd name="T21" fmla="*/ 77 h 297"/>
                  <a:gd name="T22" fmla="*/ 226 w 309"/>
                  <a:gd name="T23" fmla="*/ 68 h 297"/>
                  <a:gd name="T24" fmla="*/ 219 w 309"/>
                  <a:gd name="T25" fmla="*/ 64 h 297"/>
                  <a:gd name="T26" fmla="*/ 217 w 309"/>
                  <a:gd name="T27" fmla="*/ 64 h 297"/>
                  <a:gd name="T28" fmla="*/ 202 w 309"/>
                  <a:gd name="T29" fmla="*/ 38 h 297"/>
                  <a:gd name="T30" fmla="*/ 182 w 309"/>
                  <a:gd name="T31" fmla="*/ 20 h 297"/>
                  <a:gd name="T32" fmla="*/ 171 w 309"/>
                  <a:gd name="T33" fmla="*/ 25 h 297"/>
                  <a:gd name="T34" fmla="*/ 164 w 309"/>
                  <a:gd name="T35" fmla="*/ 18 h 297"/>
                  <a:gd name="T36" fmla="*/ 158 w 309"/>
                  <a:gd name="T37" fmla="*/ 3 h 297"/>
                  <a:gd name="T38" fmla="*/ 144 w 309"/>
                  <a:gd name="T39" fmla="*/ 0 h 297"/>
                  <a:gd name="T40" fmla="*/ 134 w 309"/>
                  <a:gd name="T41" fmla="*/ 9 h 297"/>
                  <a:gd name="T42" fmla="*/ 131 w 309"/>
                  <a:gd name="T43" fmla="*/ 16 h 297"/>
                  <a:gd name="T44" fmla="*/ 127 w 309"/>
                  <a:gd name="T45" fmla="*/ 27 h 297"/>
                  <a:gd name="T46" fmla="*/ 129 w 309"/>
                  <a:gd name="T47" fmla="*/ 36 h 297"/>
                  <a:gd name="T48" fmla="*/ 131 w 309"/>
                  <a:gd name="T49" fmla="*/ 42 h 297"/>
                  <a:gd name="T50" fmla="*/ 129 w 309"/>
                  <a:gd name="T51" fmla="*/ 51 h 297"/>
                  <a:gd name="T52" fmla="*/ 98 w 309"/>
                  <a:gd name="T53" fmla="*/ 79 h 297"/>
                  <a:gd name="T54" fmla="*/ 87 w 309"/>
                  <a:gd name="T55" fmla="*/ 84 h 297"/>
                  <a:gd name="T56" fmla="*/ 83 w 309"/>
                  <a:gd name="T57" fmla="*/ 95 h 297"/>
                  <a:gd name="T58" fmla="*/ 72 w 309"/>
                  <a:gd name="T59" fmla="*/ 110 h 297"/>
                  <a:gd name="T60" fmla="*/ 68 w 309"/>
                  <a:gd name="T61" fmla="*/ 126 h 297"/>
                  <a:gd name="T62" fmla="*/ 63 w 309"/>
                  <a:gd name="T63" fmla="*/ 132 h 297"/>
                  <a:gd name="T64" fmla="*/ 52 w 309"/>
                  <a:gd name="T65" fmla="*/ 145 h 297"/>
                  <a:gd name="T66" fmla="*/ 46 w 309"/>
                  <a:gd name="T67" fmla="*/ 158 h 297"/>
                  <a:gd name="T68" fmla="*/ 24 w 309"/>
                  <a:gd name="T69" fmla="*/ 167 h 297"/>
                  <a:gd name="T70" fmla="*/ 8 w 309"/>
                  <a:gd name="T71" fmla="*/ 178 h 297"/>
                  <a:gd name="T72" fmla="*/ 2 w 309"/>
                  <a:gd name="T73" fmla="*/ 187 h 297"/>
                  <a:gd name="T74" fmla="*/ 0 w 309"/>
                  <a:gd name="T75" fmla="*/ 191 h 297"/>
                  <a:gd name="T76" fmla="*/ 17 w 309"/>
                  <a:gd name="T77" fmla="*/ 205 h 297"/>
                  <a:gd name="T78" fmla="*/ 35 w 309"/>
                  <a:gd name="T79" fmla="*/ 211 h 297"/>
                  <a:gd name="T80" fmla="*/ 48 w 309"/>
                  <a:gd name="T81" fmla="*/ 220 h 297"/>
                  <a:gd name="T82" fmla="*/ 54 w 309"/>
                  <a:gd name="T83" fmla="*/ 235 h 297"/>
                  <a:gd name="T84" fmla="*/ 76 w 309"/>
                  <a:gd name="T85" fmla="*/ 248 h 297"/>
                  <a:gd name="T86" fmla="*/ 79 w 309"/>
                  <a:gd name="T87" fmla="*/ 248 h 297"/>
                  <a:gd name="T88" fmla="*/ 83 w 309"/>
                  <a:gd name="T89" fmla="*/ 253 h 297"/>
                  <a:gd name="T90" fmla="*/ 107 w 309"/>
                  <a:gd name="T91" fmla="*/ 270 h 297"/>
                  <a:gd name="T92" fmla="*/ 131 w 309"/>
                  <a:gd name="T93" fmla="*/ 288 h 297"/>
                  <a:gd name="T94" fmla="*/ 149 w 309"/>
                  <a:gd name="T95" fmla="*/ 294 h 297"/>
                  <a:gd name="T96" fmla="*/ 188 w 309"/>
                  <a:gd name="T97" fmla="*/ 294 h 297"/>
                  <a:gd name="T98" fmla="*/ 210 w 309"/>
                  <a:gd name="T99" fmla="*/ 284 h 297"/>
                  <a:gd name="T100" fmla="*/ 224 w 309"/>
                  <a:gd name="T101" fmla="*/ 279 h 297"/>
                  <a:gd name="T102" fmla="*/ 243 w 309"/>
                  <a:gd name="T103" fmla="*/ 259 h 297"/>
                  <a:gd name="T104" fmla="*/ 259 w 309"/>
                  <a:gd name="T105" fmla="*/ 224 h 297"/>
                  <a:gd name="T106" fmla="*/ 254 w 309"/>
                  <a:gd name="T107" fmla="*/ 209 h 297"/>
                  <a:gd name="T108" fmla="*/ 250 w 309"/>
                  <a:gd name="T109" fmla="*/ 194 h 297"/>
                  <a:gd name="T110" fmla="*/ 245 w 309"/>
                  <a:gd name="T111" fmla="*/ 172 h 297"/>
                  <a:gd name="T112" fmla="*/ 270 w 309"/>
                  <a:gd name="T113" fmla="*/ 165 h 297"/>
                  <a:gd name="T114" fmla="*/ 309 w 309"/>
                  <a:gd name="T115" fmla="*/ 134 h 297"/>
                  <a:gd name="T116" fmla="*/ 309 w 309"/>
                  <a:gd name="T117" fmla="*/ 121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9" h="297">
                    <a:moveTo>
                      <a:pt x="309" y="121"/>
                    </a:moveTo>
                    <a:lnTo>
                      <a:pt x="309" y="115"/>
                    </a:lnTo>
                    <a:lnTo>
                      <a:pt x="307" y="108"/>
                    </a:lnTo>
                    <a:lnTo>
                      <a:pt x="305" y="104"/>
                    </a:lnTo>
                    <a:lnTo>
                      <a:pt x="300" y="101"/>
                    </a:lnTo>
                    <a:lnTo>
                      <a:pt x="294" y="95"/>
                    </a:lnTo>
                    <a:lnTo>
                      <a:pt x="292" y="93"/>
                    </a:lnTo>
                    <a:lnTo>
                      <a:pt x="281" y="93"/>
                    </a:lnTo>
                    <a:lnTo>
                      <a:pt x="281" y="93"/>
                    </a:lnTo>
                    <a:lnTo>
                      <a:pt x="278" y="93"/>
                    </a:lnTo>
                    <a:lnTo>
                      <a:pt x="272" y="95"/>
                    </a:lnTo>
                    <a:lnTo>
                      <a:pt x="270" y="95"/>
                    </a:lnTo>
                    <a:lnTo>
                      <a:pt x="270" y="95"/>
                    </a:lnTo>
                    <a:lnTo>
                      <a:pt x="267" y="95"/>
                    </a:lnTo>
                    <a:lnTo>
                      <a:pt x="267" y="93"/>
                    </a:lnTo>
                    <a:lnTo>
                      <a:pt x="263" y="88"/>
                    </a:lnTo>
                    <a:lnTo>
                      <a:pt x="263" y="88"/>
                    </a:lnTo>
                    <a:lnTo>
                      <a:pt x="261" y="84"/>
                    </a:lnTo>
                    <a:lnTo>
                      <a:pt x="261" y="84"/>
                    </a:lnTo>
                    <a:lnTo>
                      <a:pt x="259" y="82"/>
                    </a:lnTo>
                    <a:lnTo>
                      <a:pt x="256" y="82"/>
                    </a:lnTo>
                    <a:lnTo>
                      <a:pt x="256" y="82"/>
                    </a:lnTo>
                    <a:lnTo>
                      <a:pt x="256" y="84"/>
                    </a:lnTo>
                    <a:lnTo>
                      <a:pt x="254" y="84"/>
                    </a:lnTo>
                    <a:lnTo>
                      <a:pt x="252" y="84"/>
                    </a:lnTo>
                    <a:lnTo>
                      <a:pt x="250" y="84"/>
                    </a:lnTo>
                    <a:lnTo>
                      <a:pt x="250" y="84"/>
                    </a:lnTo>
                    <a:lnTo>
                      <a:pt x="248" y="84"/>
                    </a:lnTo>
                    <a:lnTo>
                      <a:pt x="241" y="79"/>
                    </a:lnTo>
                    <a:lnTo>
                      <a:pt x="239" y="79"/>
                    </a:lnTo>
                    <a:lnTo>
                      <a:pt x="239" y="77"/>
                    </a:lnTo>
                    <a:lnTo>
                      <a:pt x="237" y="77"/>
                    </a:lnTo>
                    <a:lnTo>
                      <a:pt x="237" y="77"/>
                    </a:lnTo>
                    <a:lnTo>
                      <a:pt x="235" y="77"/>
                    </a:lnTo>
                    <a:lnTo>
                      <a:pt x="230" y="75"/>
                    </a:lnTo>
                    <a:lnTo>
                      <a:pt x="226" y="68"/>
                    </a:lnTo>
                    <a:lnTo>
                      <a:pt x="221" y="64"/>
                    </a:lnTo>
                    <a:lnTo>
                      <a:pt x="219" y="64"/>
                    </a:lnTo>
                    <a:lnTo>
                      <a:pt x="219" y="64"/>
                    </a:lnTo>
                    <a:lnTo>
                      <a:pt x="219" y="64"/>
                    </a:lnTo>
                    <a:lnTo>
                      <a:pt x="219" y="64"/>
                    </a:lnTo>
                    <a:lnTo>
                      <a:pt x="217" y="64"/>
                    </a:lnTo>
                    <a:lnTo>
                      <a:pt x="215" y="64"/>
                    </a:lnTo>
                    <a:lnTo>
                      <a:pt x="210" y="57"/>
                    </a:lnTo>
                    <a:lnTo>
                      <a:pt x="202" y="38"/>
                    </a:lnTo>
                    <a:lnTo>
                      <a:pt x="188" y="20"/>
                    </a:lnTo>
                    <a:lnTo>
                      <a:pt x="186" y="11"/>
                    </a:lnTo>
                    <a:lnTo>
                      <a:pt x="182" y="20"/>
                    </a:lnTo>
                    <a:lnTo>
                      <a:pt x="177" y="25"/>
                    </a:lnTo>
                    <a:lnTo>
                      <a:pt x="173" y="25"/>
                    </a:lnTo>
                    <a:lnTo>
                      <a:pt x="171" y="25"/>
                    </a:lnTo>
                    <a:lnTo>
                      <a:pt x="169" y="22"/>
                    </a:lnTo>
                    <a:lnTo>
                      <a:pt x="166" y="20"/>
                    </a:lnTo>
                    <a:lnTo>
                      <a:pt x="164" y="18"/>
                    </a:lnTo>
                    <a:lnTo>
                      <a:pt x="160" y="7"/>
                    </a:lnTo>
                    <a:lnTo>
                      <a:pt x="158" y="5"/>
                    </a:lnTo>
                    <a:lnTo>
                      <a:pt x="158" y="3"/>
                    </a:lnTo>
                    <a:lnTo>
                      <a:pt x="153" y="0"/>
                    </a:lnTo>
                    <a:lnTo>
                      <a:pt x="149" y="0"/>
                    </a:lnTo>
                    <a:lnTo>
                      <a:pt x="144" y="0"/>
                    </a:lnTo>
                    <a:lnTo>
                      <a:pt x="142" y="0"/>
                    </a:lnTo>
                    <a:lnTo>
                      <a:pt x="138" y="5"/>
                    </a:lnTo>
                    <a:lnTo>
                      <a:pt x="134" y="9"/>
                    </a:lnTo>
                    <a:lnTo>
                      <a:pt x="134" y="11"/>
                    </a:lnTo>
                    <a:lnTo>
                      <a:pt x="131" y="14"/>
                    </a:lnTo>
                    <a:lnTo>
                      <a:pt x="131" y="16"/>
                    </a:lnTo>
                    <a:lnTo>
                      <a:pt x="131" y="18"/>
                    </a:lnTo>
                    <a:lnTo>
                      <a:pt x="129" y="25"/>
                    </a:lnTo>
                    <a:lnTo>
                      <a:pt x="127" y="27"/>
                    </a:lnTo>
                    <a:lnTo>
                      <a:pt x="127" y="31"/>
                    </a:lnTo>
                    <a:lnTo>
                      <a:pt x="127" y="36"/>
                    </a:lnTo>
                    <a:lnTo>
                      <a:pt x="129" y="36"/>
                    </a:lnTo>
                    <a:lnTo>
                      <a:pt x="129" y="36"/>
                    </a:lnTo>
                    <a:lnTo>
                      <a:pt x="129" y="40"/>
                    </a:lnTo>
                    <a:lnTo>
                      <a:pt x="131" y="42"/>
                    </a:lnTo>
                    <a:lnTo>
                      <a:pt x="131" y="44"/>
                    </a:lnTo>
                    <a:lnTo>
                      <a:pt x="129" y="49"/>
                    </a:lnTo>
                    <a:lnTo>
                      <a:pt x="129" y="51"/>
                    </a:lnTo>
                    <a:lnTo>
                      <a:pt x="123" y="57"/>
                    </a:lnTo>
                    <a:lnTo>
                      <a:pt x="107" y="75"/>
                    </a:lnTo>
                    <a:lnTo>
                      <a:pt x="98" y="79"/>
                    </a:lnTo>
                    <a:lnTo>
                      <a:pt x="94" y="82"/>
                    </a:lnTo>
                    <a:lnTo>
                      <a:pt x="92" y="82"/>
                    </a:lnTo>
                    <a:lnTo>
                      <a:pt x="87" y="84"/>
                    </a:lnTo>
                    <a:lnTo>
                      <a:pt x="87" y="86"/>
                    </a:lnTo>
                    <a:lnTo>
                      <a:pt x="85" y="90"/>
                    </a:lnTo>
                    <a:lnTo>
                      <a:pt x="83" y="95"/>
                    </a:lnTo>
                    <a:lnTo>
                      <a:pt x="79" y="99"/>
                    </a:lnTo>
                    <a:lnTo>
                      <a:pt x="72" y="108"/>
                    </a:lnTo>
                    <a:lnTo>
                      <a:pt x="72" y="110"/>
                    </a:lnTo>
                    <a:lnTo>
                      <a:pt x="70" y="119"/>
                    </a:lnTo>
                    <a:lnTo>
                      <a:pt x="68" y="123"/>
                    </a:lnTo>
                    <a:lnTo>
                      <a:pt x="68" y="126"/>
                    </a:lnTo>
                    <a:lnTo>
                      <a:pt x="65" y="130"/>
                    </a:lnTo>
                    <a:lnTo>
                      <a:pt x="63" y="132"/>
                    </a:lnTo>
                    <a:lnTo>
                      <a:pt x="63" y="132"/>
                    </a:lnTo>
                    <a:lnTo>
                      <a:pt x="54" y="141"/>
                    </a:lnTo>
                    <a:lnTo>
                      <a:pt x="52" y="143"/>
                    </a:lnTo>
                    <a:lnTo>
                      <a:pt x="52" y="145"/>
                    </a:lnTo>
                    <a:lnTo>
                      <a:pt x="48" y="154"/>
                    </a:lnTo>
                    <a:lnTo>
                      <a:pt x="46" y="156"/>
                    </a:lnTo>
                    <a:lnTo>
                      <a:pt x="46" y="158"/>
                    </a:lnTo>
                    <a:lnTo>
                      <a:pt x="41" y="158"/>
                    </a:lnTo>
                    <a:lnTo>
                      <a:pt x="39" y="161"/>
                    </a:lnTo>
                    <a:lnTo>
                      <a:pt x="24" y="167"/>
                    </a:lnTo>
                    <a:lnTo>
                      <a:pt x="17" y="172"/>
                    </a:lnTo>
                    <a:lnTo>
                      <a:pt x="8" y="176"/>
                    </a:lnTo>
                    <a:lnTo>
                      <a:pt x="8" y="178"/>
                    </a:lnTo>
                    <a:lnTo>
                      <a:pt x="6" y="180"/>
                    </a:lnTo>
                    <a:lnTo>
                      <a:pt x="6" y="180"/>
                    </a:lnTo>
                    <a:lnTo>
                      <a:pt x="2" y="187"/>
                    </a:lnTo>
                    <a:lnTo>
                      <a:pt x="0" y="191"/>
                    </a:lnTo>
                    <a:lnTo>
                      <a:pt x="0" y="191"/>
                    </a:lnTo>
                    <a:lnTo>
                      <a:pt x="0" y="191"/>
                    </a:lnTo>
                    <a:lnTo>
                      <a:pt x="4" y="194"/>
                    </a:lnTo>
                    <a:lnTo>
                      <a:pt x="6" y="196"/>
                    </a:lnTo>
                    <a:lnTo>
                      <a:pt x="17" y="205"/>
                    </a:lnTo>
                    <a:lnTo>
                      <a:pt x="19" y="207"/>
                    </a:lnTo>
                    <a:lnTo>
                      <a:pt x="30" y="209"/>
                    </a:lnTo>
                    <a:lnTo>
                      <a:pt x="35" y="211"/>
                    </a:lnTo>
                    <a:lnTo>
                      <a:pt x="43" y="218"/>
                    </a:lnTo>
                    <a:lnTo>
                      <a:pt x="46" y="220"/>
                    </a:lnTo>
                    <a:lnTo>
                      <a:pt x="48" y="220"/>
                    </a:lnTo>
                    <a:lnTo>
                      <a:pt x="50" y="224"/>
                    </a:lnTo>
                    <a:lnTo>
                      <a:pt x="52" y="233"/>
                    </a:lnTo>
                    <a:lnTo>
                      <a:pt x="54" y="235"/>
                    </a:lnTo>
                    <a:lnTo>
                      <a:pt x="61" y="235"/>
                    </a:lnTo>
                    <a:lnTo>
                      <a:pt x="65" y="237"/>
                    </a:lnTo>
                    <a:lnTo>
                      <a:pt x="76" y="248"/>
                    </a:lnTo>
                    <a:lnTo>
                      <a:pt x="76" y="248"/>
                    </a:lnTo>
                    <a:lnTo>
                      <a:pt x="79" y="248"/>
                    </a:lnTo>
                    <a:lnTo>
                      <a:pt x="79" y="248"/>
                    </a:lnTo>
                    <a:lnTo>
                      <a:pt x="81" y="251"/>
                    </a:lnTo>
                    <a:lnTo>
                      <a:pt x="81" y="253"/>
                    </a:lnTo>
                    <a:lnTo>
                      <a:pt x="83" y="253"/>
                    </a:lnTo>
                    <a:lnTo>
                      <a:pt x="92" y="262"/>
                    </a:lnTo>
                    <a:lnTo>
                      <a:pt x="101" y="268"/>
                    </a:lnTo>
                    <a:lnTo>
                      <a:pt x="107" y="270"/>
                    </a:lnTo>
                    <a:lnTo>
                      <a:pt x="114" y="275"/>
                    </a:lnTo>
                    <a:lnTo>
                      <a:pt x="120" y="279"/>
                    </a:lnTo>
                    <a:lnTo>
                      <a:pt x="131" y="288"/>
                    </a:lnTo>
                    <a:lnTo>
                      <a:pt x="140" y="292"/>
                    </a:lnTo>
                    <a:lnTo>
                      <a:pt x="144" y="297"/>
                    </a:lnTo>
                    <a:lnTo>
                      <a:pt x="149" y="294"/>
                    </a:lnTo>
                    <a:lnTo>
                      <a:pt x="160" y="294"/>
                    </a:lnTo>
                    <a:lnTo>
                      <a:pt x="180" y="297"/>
                    </a:lnTo>
                    <a:lnTo>
                      <a:pt x="188" y="294"/>
                    </a:lnTo>
                    <a:lnTo>
                      <a:pt x="193" y="292"/>
                    </a:lnTo>
                    <a:lnTo>
                      <a:pt x="206" y="286"/>
                    </a:lnTo>
                    <a:lnTo>
                      <a:pt x="210" y="284"/>
                    </a:lnTo>
                    <a:lnTo>
                      <a:pt x="217" y="284"/>
                    </a:lnTo>
                    <a:lnTo>
                      <a:pt x="221" y="284"/>
                    </a:lnTo>
                    <a:lnTo>
                      <a:pt x="224" y="279"/>
                    </a:lnTo>
                    <a:lnTo>
                      <a:pt x="232" y="270"/>
                    </a:lnTo>
                    <a:lnTo>
                      <a:pt x="241" y="264"/>
                    </a:lnTo>
                    <a:lnTo>
                      <a:pt x="243" y="259"/>
                    </a:lnTo>
                    <a:lnTo>
                      <a:pt x="248" y="253"/>
                    </a:lnTo>
                    <a:lnTo>
                      <a:pt x="259" y="226"/>
                    </a:lnTo>
                    <a:lnTo>
                      <a:pt x="259" y="224"/>
                    </a:lnTo>
                    <a:lnTo>
                      <a:pt x="259" y="220"/>
                    </a:lnTo>
                    <a:lnTo>
                      <a:pt x="256" y="215"/>
                    </a:lnTo>
                    <a:lnTo>
                      <a:pt x="254" y="209"/>
                    </a:lnTo>
                    <a:lnTo>
                      <a:pt x="252" y="207"/>
                    </a:lnTo>
                    <a:lnTo>
                      <a:pt x="252" y="200"/>
                    </a:lnTo>
                    <a:lnTo>
                      <a:pt x="250" y="194"/>
                    </a:lnTo>
                    <a:lnTo>
                      <a:pt x="248" y="187"/>
                    </a:lnTo>
                    <a:lnTo>
                      <a:pt x="245" y="178"/>
                    </a:lnTo>
                    <a:lnTo>
                      <a:pt x="245" y="172"/>
                    </a:lnTo>
                    <a:lnTo>
                      <a:pt x="252" y="165"/>
                    </a:lnTo>
                    <a:lnTo>
                      <a:pt x="261" y="165"/>
                    </a:lnTo>
                    <a:lnTo>
                      <a:pt x="270" y="165"/>
                    </a:lnTo>
                    <a:lnTo>
                      <a:pt x="278" y="163"/>
                    </a:lnTo>
                    <a:lnTo>
                      <a:pt x="285" y="158"/>
                    </a:lnTo>
                    <a:lnTo>
                      <a:pt x="309" y="134"/>
                    </a:lnTo>
                    <a:lnTo>
                      <a:pt x="309" y="134"/>
                    </a:lnTo>
                    <a:lnTo>
                      <a:pt x="309" y="134"/>
                    </a:lnTo>
                    <a:lnTo>
                      <a:pt x="309" y="121"/>
                    </a:lnTo>
                    <a:lnTo>
                      <a:pt x="309" y="121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38" name="Freeform 13"/>
              <p:cNvSpPr>
                <a:spLocks/>
              </p:cNvSpPr>
              <p:nvPr/>
            </p:nvSpPr>
            <p:spPr bwMode="auto">
              <a:xfrm>
                <a:off x="6726238" y="4913313"/>
                <a:ext cx="681038" cy="1309687"/>
              </a:xfrm>
              <a:custGeom>
                <a:avLst/>
                <a:gdLst>
                  <a:gd name="T0" fmla="*/ 389 w 429"/>
                  <a:gd name="T1" fmla="*/ 612 h 825"/>
                  <a:gd name="T2" fmla="*/ 365 w 429"/>
                  <a:gd name="T3" fmla="*/ 614 h 825"/>
                  <a:gd name="T4" fmla="*/ 321 w 429"/>
                  <a:gd name="T5" fmla="*/ 511 h 825"/>
                  <a:gd name="T6" fmla="*/ 332 w 429"/>
                  <a:gd name="T7" fmla="*/ 465 h 825"/>
                  <a:gd name="T8" fmla="*/ 343 w 429"/>
                  <a:gd name="T9" fmla="*/ 447 h 825"/>
                  <a:gd name="T10" fmla="*/ 369 w 429"/>
                  <a:gd name="T11" fmla="*/ 428 h 825"/>
                  <a:gd name="T12" fmla="*/ 332 w 429"/>
                  <a:gd name="T13" fmla="*/ 384 h 825"/>
                  <a:gd name="T14" fmla="*/ 328 w 429"/>
                  <a:gd name="T15" fmla="*/ 344 h 825"/>
                  <a:gd name="T16" fmla="*/ 349 w 429"/>
                  <a:gd name="T17" fmla="*/ 302 h 825"/>
                  <a:gd name="T18" fmla="*/ 365 w 429"/>
                  <a:gd name="T19" fmla="*/ 285 h 825"/>
                  <a:gd name="T20" fmla="*/ 398 w 429"/>
                  <a:gd name="T21" fmla="*/ 261 h 825"/>
                  <a:gd name="T22" fmla="*/ 400 w 429"/>
                  <a:gd name="T23" fmla="*/ 232 h 825"/>
                  <a:gd name="T24" fmla="*/ 413 w 429"/>
                  <a:gd name="T25" fmla="*/ 195 h 825"/>
                  <a:gd name="T26" fmla="*/ 396 w 429"/>
                  <a:gd name="T27" fmla="*/ 158 h 825"/>
                  <a:gd name="T28" fmla="*/ 382 w 429"/>
                  <a:gd name="T29" fmla="*/ 129 h 825"/>
                  <a:gd name="T30" fmla="*/ 391 w 429"/>
                  <a:gd name="T31" fmla="*/ 116 h 825"/>
                  <a:gd name="T32" fmla="*/ 402 w 429"/>
                  <a:gd name="T33" fmla="*/ 92 h 825"/>
                  <a:gd name="T34" fmla="*/ 402 w 429"/>
                  <a:gd name="T35" fmla="*/ 2 h 825"/>
                  <a:gd name="T36" fmla="*/ 139 w 429"/>
                  <a:gd name="T37" fmla="*/ 22 h 825"/>
                  <a:gd name="T38" fmla="*/ 132 w 429"/>
                  <a:gd name="T39" fmla="*/ 65 h 825"/>
                  <a:gd name="T40" fmla="*/ 84 w 429"/>
                  <a:gd name="T41" fmla="*/ 147 h 825"/>
                  <a:gd name="T42" fmla="*/ 53 w 429"/>
                  <a:gd name="T43" fmla="*/ 191 h 825"/>
                  <a:gd name="T44" fmla="*/ 55 w 429"/>
                  <a:gd name="T45" fmla="*/ 234 h 825"/>
                  <a:gd name="T46" fmla="*/ 31 w 429"/>
                  <a:gd name="T47" fmla="*/ 272 h 825"/>
                  <a:gd name="T48" fmla="*/ 27 w 429"/>
                  <a:gd name="T49" fmla="*/ 298 h 825"/>
                  <a:gd name="T50" fmla="*/ 14 w 429"/>
                  <a:gd name="T51" fmla="*/ 311 h 825"/>
                  <a:gd name="T52" fmla="*/ 3 w 429"/>
                  <a:gd name="T53" fmla="*/ 320 h 825"/>
                  <a:gd name="T54" fmla="*/ 20 w 429"/>
                  <a:gd name="T55" fmla="*/ 333 h 825"/>
                  <a:gd name="T56" fmla="*/ 27 w 429"/>
                  <a:gd name="T57" fmla="*/ 362 h 825"/>
                  <a:gd name="T58" fmla="*/ 25 w 429"/>
                  <a:gd name="T59" fmla="*/ 388 h 825"/>
                  <a:gd name="T60" fmla="*/ 25 w 429"/>
                  <a:gd name="T61" fmla="*/ 406 h 825"/>
                  <a:gd name="T62" fmla="*/ 27 w 429"/>
                  <a:gd name="T63" fmla="*/ 441 h 825"/>
                  <a:gd name="T64" fmla="*/ 20 w 429"/>
                  <a:gd name="T65" fmla="*/ 467 h 825"/>
                  <a:gd name="T66" fmla="*/ 22 w 429"/>
                  <a:gd name="T67" fmla="*/ 487 h 825"/>
                  <a:gd name="T68" fmla="*/ 42 w 429"/>
                  <a:gd name="T69" fmla="*/ 513 h 825"/>
                  <a:gd name="T70" fmla="*/ 38 w 429"/>
                  <a:gd name="T71" fmla="*/ 533 h 825"/>
                  <a:gd name="T72" fmla="*/ 55 w 429"/>
                  <a:gd name="T73" fmla="*/ 559 h 825"/>
                  <a:gd name="T74" fmla="*/ 73 w 429"/>
                  <a:gd name="T75" fmla="*/ 579 h 825"/>
                  <a:gd name="T76" fmla="*/ 99 w 429"/>
                  <a:gd name="T77" fmla="*/ 577 h 825"/>
                  <a:gd name="T78" fmla="*/ 134 w 429"/>
                  <a:gd name="T79" fmla="*/ 586 h 825"/>
                  <a:gd name="T80" fmla="*/ 147 w 429"/>
                  <a:gd name="T81" fmla="*/ 614 h 825"/>
                  <a:gd name="T82" fmla="*/ 145 w 429"/>
                  <a:gd name="T83" fmla="*/ 636 h 825"/>
                  <a:gd name="T84" fmla="*/ 167 w 429"/>
                  <a:gd name="T85" fmla="*/ 673 h 825"/>
                  <a:gd name="T86" fmla="*/ 202 w 429"/>
                  <a:gd name="T87" fmla="*/ 700 h 825"/>
                  <a:gd name="T88" fmla="*/ 183 w 429"/>
                  <a:gd name="T89" fmla="*/ 724 h 825"/>
                  <a:gd name="T90" fmla="*/ 176 w 429"/>
                  <a:gd name="T91" fmla="*/ 739 h 825"/>
                  <a:gd name="T92" fmla="*/ 211 w 429"/>
                  <a:gd name="T93" fmla="*/ 794 h 825"/>
                  <a:gd name="T94" fmla="*/ 227 w 429"/>
                  <a:gd name="T95" fmla="*/ 807 h 825"/>
                  <a:gd name="T96" fmla="*/ 242 w 429"/>
                  <a:gd name="T97" fmla="*/ 814 h 825"/>
                  <a:gd name="T98" fmla="*/ 251 w 429"/>
                  <a:gd name="T99" fmla="*/ 812 h 825"/>
                  <a:gd name="T100" fmla="*/ 262 w 429"/>
                  <a:gd name="T101" fmla="*/ 825 h 825"/>
                  <a:gd name="T102" fmla="*/ 275 w 429"/>
                  <a:gd name="T103" fmla="*/ 818 h 825"/>
                  <a:gd name="T104" fmla="*/ 301 w 429"/>
                  <a:gd name="T105" fmla="*/ 787 h 825"/>
                  <a:gd name="T106" fmla="*/ 319 w 429"/>
                  <a:gd name="T107" fmla="*/ 774 h 825"/>
                  <a:gd name="T108" fmla="*/ 354 w 429"/>
                  <a:gd name="T109" fmla="*/ 730 h 825"/>
                  <a:gd name="T110" fmla="*/ 387 w 429"/>
                  <a:gd name="T111" fmla="*/ 704 h 825"/>
                  <a:gd name="T112" fmla="*/ 389 w 429"/>
                  <a:gd name="T113" fmla="*/ 667 h 825"/>
                  <a:gd name="T114" fmla="*/ 426 w 429"/>
                  <a:gd name="T115" fmla="*/ 632 h 8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29" h="825">
                    <a:moveTo>
                      <a:pt x="426" y="632"/>
                    </a:moveTo>
                    <a:lnTo>
                      <a:pt x="422" y="627"/>
                    </a:lnTo>
                    <a:lnTo>
                      <a:pt x="411" y="623"/>
                    </a:lnTo>
                    <a:lnTo>
                      <a:pt x="404" y="616"/>
                    </a:lnTo>
                    <a:lnTo>
                      <a:pt x="400" y="612"/>
                    </a:lnTo>
                    <a:lnTo>
                      <a:pt x="396" y="614"/>
                    </a:lnTo>
                    <a:lnTo>
                      <a:pt x="389" y="612"/>
                    </a:lnTo>
                    <a:lnTo>
                      <a:pt x="387" y="612"/>
                    </a:lnTo>
                    <a:lnTo>
                      <a:pt x="385" y="614"/>
                    </a:lnTo>
                    <a:lnTo>
                      <a:pt x="380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69" y="616"/>
                    </a:lnTo>
                    <a:lnTo>
                      <a:pt x="365" y="614"/>
                    </a:lnTo>
                    <a:lnTo>
                      <a:pt x="363" y="610"/>
                    </a:lnTo>
                    <a:lnTo>
                      <a:pt x="356" y="601"/>
                    </a:lnTo>
                    <a:lnTo>
                      <a:pt x="352" y="592"/>
                    </a:lnTo>
                    <a:lnTo>
                      <a:pt x="343" y="572"/>
                    </a:lnTo>
                    <a:lnTo>
                      <a:pt x="336" y="550"/>
                    </a:lnTo>
                    <a:lnTo>
                      <a:pt x="328" y="531"/>
                    </a:lnTo>
                    <a:lnTo>
                      <a:pt x="321" y="511"/>
                    </a:lnTo>
                    <a:lnTo>
                      <a:pt x="317" y="507"/>
                    </a:lnTo>
                    <a:lnTo>
                      <a:pt x="317" y="500"/>
                    </a:lnTo>
                    <a:lnTo>
                      <a:pt x="319" y="493"/>
                    </a:lnTo>
                    <a:lnTo>
                      <a:pt x="330" y="476"/>
                    </a:lnTo>
                    <a:lnTo>
                      <a:pt x="332" y="471"/>
                    </a:lnTo>
                    <a:lnTo>
                      <a:pt x="332" y="469"/>
                    </a:lnTo>
                    <a:lnTo>
                      <a:pt x="332" y="465"/>
                    </a:lnTo>
                    <a:lnTo>
                      <a:pt x="334" y="460"/>
                    </a:lnTo>
                    <a:lnTo>
                      <a:pt x="336" y="460"/>
                    </a:lnTo>
                    <a:lnTo>
                      <a:pt x="343" y="458"/>
                    </a:lnTo>
                    <a:lnTo>
                      <a:pt x="343" y="458"/>
                    </a:lnTo>
                    <a:lnTo>
                      <a:pt x="343" y="456"/>
                    </a:lnTo>
                    <a:lnTo>
                      <a:pt x="341" y="450"/>
                    </a:lnTo>
                    <a:lnTo>
                      <a:pt x="343" y="447"/>
                    </a:lnTo>
                    <a:lnTo>
                      <a:pt x="345" y="443"/>
                    </a:lnTo>
                    <a:lnTo>
                      <a:pt x="349" y="441"/>
                    </a:lnTo>
                    <a:lnTo>
                      <a:pt x="356" y="439"/>
                    </a:lnTo>
                    <a:lnTo>
                      <a:pt x="358" y="430"/>
                    </a:lnTo>
                    <a:lnTo>
                      <a:pt x="360" y="430"/>
                    </a:lnTo>
                    <a:lnTo>
                      <a:pt x="365" y="430"/>
                    </a:lnTo>
                    <a:lnTo>
                      <a:pt x="369" y="428"/>
                    </a:lnTo>
                    <a:lnTo>
                      <a:pt x="369" y="425"/>
                    </a:lnTo>
                    <a:lnTo>
                      <a:pt x="365" y="421"/>
                    </a:lnTo>
                    <a:lnTo>
                      <a:pt x="360" y="414"/>
                    </a:lnTo>
                    <a:lnTo>
                      <a:pt x="356" y="410"/>
                    </a:lnTo>
                    <a:lnTo>
                      <a:pt x="345" y="401"/>
                    </a:lnTo>
                    <a:lnTo>
                      <a:pt x="343" y="399"/>
                    </a:lnTo>
                    <a:lnTo>
                      <a:pt x="332" y="384"/>
                    </a:lnTo>
                    <a:lnTo>
                      <a:pt x="330" y="379"/>
                    </a:lnTo>
                    <a:lnTo>
                      <a:pt x="325" y="375"/>
                    </a:lnTo>
                    <a:lnTo>
                      <a:pt x="323" y="373"/>
                    </a:lnTo>
                    <a:lnTo>
                      <a:pt x="325" y="368"/>
                    </a:lnTo>
                    <a:lnTo>
                      <a:pt x="328" y="362"/>
                    </a:lnTo>
                    <a:lnTo>
                      <a:pt x="328" y="360"/>
                    </a:lnTo>
                    <a:lnTo>
                      <a:pt x="328" y="344"/>
                    </a:lnTo>
                    <a:lnTo>
                      <a:pt x="328" y="342"/>
                    </a:lnTo>
                    <a:lnTo>
                      <a:pt x="330" y="340"/>
                    </a:lnTo>
                    <a:lnTo>
                      <a:pt x="334" y="335"/>
                    </a:lnTo>
                    <a:lnTo>
                      <a:pt x="343" y="333"/>
                    </a:lnTo>
                    <a:lnTo>
                      <a:pt x="347" y="331"/>
                    </a:lnTo>
                    <a:lnTo>
                      <a:pt x="349" y="327"/>
                    </a:lnTo>
                    <a:lnTo>
                      <a:pt x="349" y="302"/>
                    </a:lnTo>
                    <a:lnTo>
                      <a:pt x="354" y="298"/>
                    </a:lnTo>
                    <a:lnTo>
                      <a:pt x="356" y="298"/>
                    </a:lnTo>
                    <a:lnTo>
                      <a:pt x="360" y="298"/>
                    </a:lnTo>
                    <a:lnTo>
                      <a:pt x="365" y="298"/>
                    </a:lnTo>
                    <a:lnTo>
                      <a:pt x="365" y="296"/>
                    </a:lnTo>
                    <a:lnTo>
                      <a:pt x="365" y="287"/>
                    </a:lnTo>
                    <a:lnTo>
                      <a:pt x="365" y="285"/>
                    </a:lnTo>
                    <a:lnTo>
                      <a:pt x="367" y="283"/>
                    </a:lnTo>
                    <a:lnTo>
                      <a:pt x="369" y="283"/>
                    </a:lnTo>
                    <a:lnTo>
                      <a:pt x="371" y="281"/>
                    </a:lnTo>
                    <a:lnTo>
                      <a:pt x="378" y="274"/>
                    </a:lnTo>
                    <a:lnTo>
                      <a:pt x="382" y="270"/>
                    </a:lnTo>
                    <a:lnTo>
                      <a:pt x="396" y="263"/>
                    </a:lnTo>
                    <a:lnTo>
                      <a:pt x="398" y="261"/>
                    </a:lnTo>
                    <a:lnTo>
                      <a:pt x="398" y="256"/>
                    </a:lnTo>
                    <a:lnTo>
                      <a:pt x="396" y="252"/>
                    </a:lnTo>
                    <a:lnTo>
                      <a:pt x="393" y="250"/>
                    </a:lnTo>
                    <a:lnTo>
                      <a:pt x="393" y="241"/>
                    </a:lnTo>
                    <a:lnTo>
                      <a:pt x="393" y="239"/>
                    </a:lnTo>
                    <a:lnTo>
                      <a:pt x="396" y="234"/>
                    </a:lnTo>
                    <a:lnTo>
                      <a:pt x="400" y="232"/>
                    </a:lnTo>
                    <a:lnTo>
                      <a:pt x="407" y="230"/>
                    </a:lnTo>
                    <a:lnTo>
                      <a:pt x="418" y="228"/>
                    </a:lnTo>
                    <a:lnTo>
                      <a:pt x="422" y="223"/>
                    </a:lnTo>
                    <a:lnTo>
                      <a:pt x="422" y="217"/>
                    </a:lnTo>
                    <a:lnTo>
                      <a:pt x="415" y="204"/>
                    </a:lnTo>
                    <a:lnTo>
                      <a:pt x="415" y="197"/>
                    </a:lnTo>
                    <a:lnTo>
                      <a:pt x="413" y="195"/>
                    </a:lnTo>
                    <a:lnTo>
                      <a:pt x="413" y="193"/>
                    </a:lnTo>
                    <a:lnTo>
                      <a:pt x="402" y="186"/>
                    </a:lnTo>
                    <a:lnTo>
                      <a:pt x="400" y="182"/>
                    </a:lnTo>
                    <a:lnTo>
                      <a:pt x="398" y="175"/>
                    </a:lnTo>
                    <a:lnTo>
                      <a:pt x="398" y="169"/>
                    </a:lnTo>
                    <a:lnTo>
                      <a:pt x="398" y="162"/>
                    </a:lnTo>
                    <a:lnTo>
                      <a:pt x="396" y="158"/>
                    </a:lnTo>
                    <a:lnTo>
                      <a:pt x="391" y="151"/>
                    </a:lnTo>
                    <a:lnTo>
                      <a:pt x="391" y="149"/>
                    </a:lnTo>
                    <a:lnTo>
                      <a:pt x="393" y="144"/>
                    </a:lnTo>
                    <a:lnTo>
                      <a:pt x="393" y="142"/>
                    </a:lnTo>
                    <a:lnTo>
                      <a:pt x="393" y="140"/>
                    </a:lnTo>
                    <a:lnTo>
                      <a:pt x="391" y="138"/>
                    </a:lnTo>
                    <a:lnTo>
                      <a:pt x="382" y="129"/>
                    </a:lnTo>
                    <a:lnTo>
                      <a:pt x="378" y="125"/>
                    </a:lnTo>
                    <a:lnTo>
                      <a:pt x="380" y="120"/>
                    </a:lnTo>
                    <a:lnTo>
                      <a:pt x="382" y="118"/>
                    </a:lnTo>
                    <a:lnTo>
                      <a:pt x="389" y="120"/>
                    </a:lnTo>
                    <a:lnTo>
                      <a:pt x="391" y="120"/>
                    </a:lnTo>
                    <a:lnTo>
                      <a:pt x="391" y="118"/>
                    </a:lnTo>
                    <a:lnTo>
                      <a:pt x="391" y="116"/>
                    </a:lnTo>
                    <a:lnTo>
                      <a:pt x="391" y="114"/>
                    </a:lnTo>
                    <a:lnTo>
                      <a:pt x="391" y="109"/>
                    </a:lnTo>
                    <a:lnTo>
                      <a:pt x="393" y="107"/>
                    </a:lnTo>
                    <a:lnTo>
                      <a:pt x="398" y="105"/>
                    </a:lnTo>
                    <a:lnTo>
                      <a:pt x="400" y="101"/>
                    </a:lnTo>
                    <a:lnTo>
                      <a:pt x="400" y="96"/>
                    </a:lnTo>
                    <a:lnTo>
                      <a:pt x="402" y="92"/>
                    </a:lnTo>
                    <a:lnTo>
                      <a:pt x="402" y="87"/>
                    </a:lnTo>
                    <a:lnTo>
                      <a:pt x="404" y="50"/>
                    </a:lnTo>
                    <a:lnTo>
                      <a:pt x="400" y="35"/>
                    </a:lnTo>
                    <a:lnTo>
                      <a:pt x="400" y="28"/>
                    </a:lnTo>
                    <a:lnTo>
                      <a:pt x="402" y="6"/>
                    </a:lnTo>
                    <a:lnTo>
                      <a:pt x="402" y="2"/>
                    </a:lnTo>
                    <a:lnTo>
                      <a:pt x="402" y="2"/>
                    </a:lnTo>
                    <a:lnTo>
                      <a:pt x="284" y="61"/>
                    </a:lnTo>
                    <a:lnTo>
                      <a:pt x="281" y="63"/>
                    </a:lnTo>
                    <a:lnTo>
                      <a:pt x="277" y="61"/>
                    </a:lnTo>
                    <a:lnTo>
                      <a:pt x="152" y="0"/>
                    </a:lnTo>
                    <a:lnTo>
                      <a:pt x="147" y="0"/>
                    </a:lnTo>
                    <a:lnTo>
                      <a:pt x="145" y="2"/>
                    </a:lnTo>
                    <a:lnTo>
                      <a:pt x="139" y="22"/>
                    </a:lnTo>
                    <a:lnTo>
                      <a:pt x="139" y="30"/>
                    </a:lnTo>
                    <a:lnTo>
                      <a:pt x="141" y="41"/>
                    </a:lnTo>
                    <a:lnTo>
                      <a:pt x="143" y="44"/>
                    </a:lnTo>
                    <a:lnTo>
                      <a:pt x="141" y="46"/>
                    </a:lnTo>
                    <a:lnTo>
                      <a:pt x="141" y="50"/>
                    </a:lnTo>
                    <a:lnTo>
                      <a:pt x="136" y="61"/>
                    </a:lnTo>
                    <a:lnTo>
                      <a:pt x="132" y="65"/>
                    </a:lnTo>
                    <a:lnTo>
                      <a:pt x="121" y="76"/>
                    </a:lnTo>
                    <a:lnTo>
                      <a:pt x="117" y="81"/>
                    </a:lnTo>
                    <a:lnTo>
                      <a:pt x="112" y="85"/>
                    </a:lnTo>
                    <a:lnTo>
                      <a:pt x="110" y="90"/>
                    </a:lnTo>
                    <a:lnTo>
                      <a:pt x="104" y="98"/>
                    </a:lnTo>
                    <a:lnTo>
                      <a:pt x="86" y="142"/>
                    </a:lnTo>
                    <a:lnTo>
                      <a:pt x="84" y="147"/>
                    </a:lnTo>
                    <a:lnTo>
                      <a:pt x="82" y="149"/>
                    </a:lnTo>
                    <a:lnTo>
                      <a:pt x="77" y="151"/>
                    </a:lnTo>
                    <a:lnTo>
                      <a:pt x="62" y="153"/>
                    </a:lnTo>
                    <a:lnTo>
                      <a:pt x="60" y="153"/>
                    </a:lnTo>
                    <a:lnTo>
                      <a:pt x="57" y="164"/>
                    </a:lnTo>
                    <a:lnTo>
                      <a:pt x="55" y="173"/>
                    </a:lnTo>
                    <a:lnTo>
                      <a:pt x="53" y="191"/>
                    </a:lnTo>
                    <a:lnTo>
                      <a:pt x="53" y="193"/>
                    </a:lnTo>
                    <a:lnTo>
                      <a:pt x="55" y="195"/>
                    </a:lnTo>
                    <a:lnTo>
                      <a:pt x="57" y="197"/>
                    </a:lnTo>
                    <a:lnTo>
                      <a:pt x="60" y="202"/>
                    </a:lnTo>
                    <a:lnTo>
                      <a:pt x="60" y="206"/>
                    </a:lnTo>
                    <a:lnTo>
                      <a:pt x="55" y="230"/>
                    </a:lnTo>
                    <a:lnTo>
                      <a:pt x="55" y="234"/>
                    </a:lnTo>
                    <a:lnTo>
                      <a:pt x="51" y="243"/>
                    </a:lnTo>
                    <a:lnTo>
                      <a:pt x="44" y="265"/>
                    </a:lnTo>
                    <a:lnTo>
                      <a:pt x="44" y="267"/>
                    </a:lnTo>
                    <a:lnTo>
                      <a:pt x="44" y="270"/>
                    </a:lnTo>
                    <a:lnTo>
                      <a:pt x="42" y="270"/>
                    </a:lnTo>
                    <a:lnTo>
                      <a:pt x="31" y="270"/>
                    </a:lnTo>
                    <a:lnTo>
                      <a:pt x="31" y="272"/>
                    </a:lnTo>
                    <a:lnTo>
                      <a:pt x="29" y="272"/>
                    </a:lnTo>
                    <a:lnTo>
                      <a:pt x="25" y="281"/>
                    </a:lnTo>
                    <a:lnTo>
                      <a:pt x="25" y="287"/>
                    </a:lnTo>
                    <a:lnTo>
                      <a:pt x="25" y="289"/>
                    </a:lnTo>
                    <a:lnTo>
                      <a:pt x="27" y="294"/>
                    </a:lnTo>
                    <a:lnTo>
                      <a:pt x="27" y="296"/>
                    </a:lnTo>
                    <a:lnTo>
                      <a:pt x="27" y="298"/>
                    </a:lnTo>
                    <a:lnTo>
                      <a:pt x="25" y="298"/>
                    </a:lnTo>
                    <a:lnTo>
                      <a:pt x="25" y="300"/>
                    </a:lnTo>
                    <a:lnTo>
                      <a:pt x="22" y="302"/>
                    </a:lnTo>
                    <a:lnTo>
                      <a:pt x="18" y="305"/>
                    </a:lnTo>
                    <a:lnTo>
                      <a:pt x="16" y="307"/>
                    </a:lnTo>
                    <a:lnTo>
                      <a:pt x="16" y="309"/>
                    </a:lnTo>
                    <a:lnTo>
                      <a:pt x="14" y="311"/>
                    </a:lnTo>
                    <a:lnTo>
                      <a:pt x="11" y="311"/>
                    </a:lnTo>
                    <a:lnTo>
                      <a:pt x="5" y="311"/>
                    </a:lnTo>
                    <a:lnTo>
                      <a:pt x="3" y="311"/>
                    </a:lnTo>
                    <a:lnTo>
                      <a:pt x="0" y="316"/>
                    </a:lnTo>
                    <a:lnTo>
                      <a:pt x="0" y="316"/>
                    </a:lnTo>
                    <a:lnTo>
                      <a:pt x="3" y="318"/>
                    </a:lnTo>
                    <a:lnTo>
                      <a:pt x="3" y="320"/>
                    </a:lnTo>
                    <a:lnTo>
                      <a:pt x="7" y="327"/>
                    </a:lnTo>
                    <a:lnTo>
                      <a:pt x="11" y="331"/>
                    </a:lnTo>
                    <a:lnTo>
                      <a:pt x="11" y="331"/>
                    </a:lnTo>
                    <a:lnTo>
                      <a:pt x="14" y="333"/>
                    </a:lnTo>
                    <a:lnTo>
                      <a:pt x="16" y="333"/>
                    </a:lnTo>
                    <a:lnTo>
                      <a:pt x="18" y="333"/>
                    </a:lnTo>
                    <a:lnTo>
                      <a:pt x="20" y="333"/>
                    </a:lnTo>
                    <a:lnTo>
                      <a:pt x="25" y="335"/>
                    </a:lnTo>
                    <a:lnTo>
                      <a:pt x="27" y="338"/>
                    </a:lnTo>
                    <a:lnTo>
                      <a:pt x="27" y="340"/>
                    </a:lnTo>
                    <a:lnTo>
                      <a:pt x="25" y="349"/>
                    </a:lnTo>
                    <a:lnTo>
                      <a:pt x="25" y="351"/>
                    </a:lnTo>
                    <a:lnTo>
                      <a:pt x="25" y="355"/>
                    </a:lnTo>
                    <a:lnTo>
                      <a:pt x="27" y="362"/>
                    </a:lnTo>
                    <a:lnTo>
                      <a:pt x="27" y="364"/>
                    </a:lnTo>
                    <a:lnTo>
                      <a:pt x="27" y="366"/>
                    </a:lnTo>
                    <a:lnTo>
                      <a:pt x="22" y="375"/>
                    </a:lnTo>
                    <a:lnTo>
                      <a:pt x="22" y="377"/>
                    </a:lnTo>
                    <a:lnTo>
                      <a:pt x="22" y="384"/>
                    </a:lnTo>
                    <a:lnTo>
                      <a:pt x="25" y="388"/>
                    </a:lnTo>
                    <a:lnTo>
                      <a:pt x="25" y="388"/>
                    </a:lnTo>
                    <a:lnTo>
                      <a:pt x="25" y="388"/>
                    </a:lnTo>
                    <a:lnTo>
                      <a:pt x="25" y="392"/>
                    </a:lnTo>
                    <a:lnTo>
                      <a:pt x="22" y="395"/>
                    </a:lnTo>
                    <a:lnTo>
                      <a:pt x="22" y="399"/>
                    </a:lnTo>
                    <a:lnTo>
                      <a:pt x="22" y="401"/>
                    </a:lnTo>
                    <a:lnTo>
                      <a:pt x="22" y="403"/>
                    </a:lnTo>
                    <a:lnTo>
                      <a:pt x="25" y="406"/>
                    </a:lnTo>
                    <a:lnTo>
                      <a:pt x="27" y="408"/>
                    </a:lnTo>
                    <a:lnTo>
                      <a:pt x="29" y="412"/>
                    </a:lnTo>
                    <a:lnTo>
                      <a:pt x="29" y="419"/>
                    </a:lnTo>
                    <a:lnTo>
                      <a:pt x="29" y="434"/>
                    </a:lnTo>
                    <a:lnTo>
                      <a:pt x="29" y="439"/>
                    </a:lnTo>
                    <a:lnTo>
                      <a:pt x="27" y="441"/>
                    </a:lnTo>
                    <a:lnTo>
                      <a:pt x="27" y="441"/>
                    </a:lnTo>
                    <a:lnTo>
                      <a:pt x="22" y="441"/>
                    </a:lnTo>
                    <a:lnTo>
                      <a:pt x="22" y="443"/>
                    </a:lnTo>
                    <a:lnTo>
                      <a:pt x="20" y="443"/>
                    </a:lnTo>
                    <a:lnTo>
                      <a:pt x="20" y="450"/>
                    </a:lnTo>
                    <a:lnTo>
                      <a:pt x="18" y="463"/>
                    </a:lnTo>
                    <a:lnTo>
                      <a:pt x="18" y="465"/>
                    </a:lnTo>
                    <a:lnTo>
                      <a:pt x="20" y="467"/>
                    </a:lnTo>
                    <a:lnTo>
                      <a:pt x="22" y="469"/>
                    </a:lnTo>
                    <a:lnTo>
                      <a:pt x="22" y="471"/>
                    </a:lnTo>
                    <a:lnTo>
                      <a:pt x="22" y="474"/>
                    </a:lnTo>
                    <a:lnTo>
                      <a:pt x="22" y="476"/>
                    </a:lnTo>
                    <a:lnTo>
                      <a:pt x="22" y="478"/>
                    </a:lnTo>
                    <a:lnTo>
                      <a:pt x="22" y="485"/>
                    </a:lnTo>
                    <a:lnTo>
                      <a:pt x="22" y="487"/>
                    </a:lnTo>
                    <a:lnTo>
                      <a:pt x="22" y="489"/>
                    </a:lnTo>
                    <a:lnTo>
                      <a:pt x="29" y="496"/>
                    </a:lnTo>
                    <a:lnTo>
                      <a:pt x="31" y="500"/>
                    </a:lnTo>
                    <a:lnTo>
                      <a:pt x="40" y="504"/>
                    </a:lnTo>
                    <a:lnTo>
                      <a:pt x="40" y="507"/>
                    </a:lnTo>
                    <a:lnTo>
                      <a:pt x="42" y="511"/>
                    </a:lnTo>
                    <a:lnTo>
                      <a:pt x="42" y="513"/>
                    </a:lnTo>
                    <a:lnTo>
                      <a:pt x="42" y="515"/>
                    </a:lnTo>
                    <a:lnTo>
                      <a:pt x="42" y="518"/>
                    </a:lnTo>
                    <a:lnTo>
                      <a:pt x="38" y="526"/>
                    </a:lnTo>
                    <a:lnTo>
                      <a:pt x="35" y="526"/>
                    </a:lnTo>
                    <a:lnTo>
                      <a:pt x="35" y="529"/>
                    </a:lnTo>
                    <a:lnTo>
                      <a:pt x="35" y="531"/>
                    </a:lnTo>
                    <a:lnTo>
                      <a:pt x="38" y="533"/>
                    </a:lnTo>
                    <a:lnTo>
                      <a:pt x="38" y="535"/>
                    </a:lnTo>
                    <a:lnTo>
                      <a:pt x="40" y="537"/>
                    </a:lnTo>
                    <a:lnTo>
                      <a:pt x="42" y="539"/>
                    </a:lnTo>
                    <a:lnTo>
                      <a:pt x="44" y="546"/>
                    </a:lnTo>
                    <a:lnTo>
                      <a:pt x="46" y="548"/>
                    </a:lnTo>
                    <a:lnTo>
                      <a:pt x="53" y="555"/>
                    </a:lnTo>
                    <a:lnTo>
                      <a:pt x="55" y="559"/>
                    </a:lnTo>
                    <a:lnTo>
                      <a:pt x="55" y="564"/>
                    </a:lnTo>
                    <a:lnTo>
                      <a:pt x="53" y="570"/>
                    </a:lnTo>
                    <a:lnTo>
                      <a:pt x="57" y="570"/>
                    </a:lnTo>
                    <a:lnTo>
                      <a:pt x="60" y="570"/>
                    </a:lnTo>
                    <a:lnTo>
                      <a:pt x="62" y="572"/>
                    </a:lnTo>
                    <a:lnTo>
                      <a:pt x="62" y="572"/>
                    </a:lnTo>
                    <a:lnTo>
                      <a:pt x="73" y="579"/>
                    </a:lnTo>
                    <a:lnTo>
                      <a:pt x="77" y="581"/>
                    </a:lnTo>
                    <a:lnTo>
                      <a:pt x="84" y="583"/>
                    </a:lnTo>
                    <a:lnTo>
                      <a:pt x="86" y="583"/>
                    </a:lnTo>
                    <a:lnTo>
                      <a:pt x="93" y="581"/>
                    </a:lnTo>
                    <a:lnTo>
                      <a:pt x="95" y="579"/>
                    </a:lnTo>
                    <a:lnTo>
                      <a:pt x="97" y="579"/>
                    </a:lnTo>
                    <a:lnTo>
                      <a:pt x="99" y="577"/>
                    </a:lnTo>
                    <a:lnTo>
                      <a:pt x="106" y="575"/>
                    </a:lnTo>
                    <a:lnTo>
                      <a:pt x="117" y="581"/>
                    </a:lnTo>
                    <a:lnTo>
                      <a:pt x="123" y="583"/>
                    </a:lnTo>
                    <a:lnTo>
                      <a:pt x="128" y="581"/>
                    </a:lnTo>
                    <a:lnTo>
                      <a:pt x="130" y="581"/>
                    </a:lnTo>
                    <a:lnTo>
                      <a:pt x="132" y="583"/>
                    </a:lnTo>
                    <a:lnTo>
                      <a:pt x="134" y="586"/>
                    </a:lnTo>
                    <a:lnTo>
                      <a:pt x="136" y="588"/>
                    </a:lnTo>
                    <a:lnTo>
                      <a:pt x="136" y="590"/>
                    </a:lnTo>
                    <a:lnTo>
                      <a:pt x="136" y="597"/>
                    </a:lnTo>
                    <a:lnTo>
                      <a:pt x="136" y="603"/>
                    </a:lnTo>
                    <a:lnTo>
                      <a:pt x="136" y="608"/>
                    </a:lnTo>
                    <a:lnTo>
                      <a:pt x="139" y="610"/>
                    </a:lnTo>
                    <a:lnTo>
                      <a:pt x="147" y="614"/>
                    </a:lnTo>
                    <a:lnTo>
                      <a:pt x="147" y="616"/>
                    </a:lnTo>
                    <a:lnTo>
                      <a:pt x="150" y="618"/>
                    </a:lnTo>
                    <a:lnTo>
                      <a:pt x="150" y="621"/>
                    </a:lnTo>
                    <a:lnTo>
                      <a:pt x="147" y="627"/>
                    </a:lnTo>
                    <a:lnTo>
                      <a:pt x="145" y="632"/>
                    </a:lnTo>
                    <a:lnTo>
                      <a:pt x="145" y="636"/>
                    </a:lnTo>
                    <a:lnTo>
                      <a:pt x="145" y="636"/>
                    </a:lnTo>
                    <a:lnTo>
                      <a:pt x="147" y="645"/>
                    </a:lnTo>
                    <a:lnTo>
                      <a:pt x="152" y="656"/>
                    </a:lnTo>
                    <a:lnTo>
                      <a:pt x="154" y="662"/>
                    </a:lnTo>
                    <a:lnTo>
                      <a:pt x="156" y="665"/>
                    </a:lnTo>
                    <a:lnTo>
                      <a:pt x="165" y="669"/>
                    </a:lnTo>
                    <a:lnTo>
                      <a:pt x="167" y="671"/>
                    </a:lnTo>
                    <a:lnTo>
                      <a:pt x="167" y="673"/>
                    </a:lnTo>
                    <a:lnTo>
                      <a:pt x="169" y="678"/>
                    </a:lnTo>
                    <a:lnTo>
                      <a:pt x="174" y="682"/>
                    </a:lnTo>
                    <a:lnTo>
                      <a:pt x="183" y="693"/>
                    </a:lnTo>
                    <a:lnTo>
                      <a:pt x="187" y="695"/>
                    </a:lnTo>
                    <a:lnTo>
                      <a:pt x="189" y="697"/>
                    </a:lnTo>
                    <a:lnTo>
                      <a:pt x="191" y="697"/>
                    </a:lnTo>
                    <a:lnTo>
                      <a:pt x="202" y="700"/>
                    </a:lnTo>
                    <a:lnTo>
                      <a:pt x="207" y="706"/>
                    </a:lnTo>
                    <a:lnTo>
                      <a:pt x="205" y="708"/>
                    </a:lnTo>
                    <a:lnTo>
                      <a:pt x="198" y="715"/>
                    </a:lnTo>
                    <a:lnTo>
                      <a:pt x="194" y="719"/>
                    </a:lnTo>
                    <a:lnTo>
                      <a:pt x="191" y="722"/>
                    </a:lnTo>
                    <a:lnTo>
                      <a:pt x="189" y="722"/>
                    </a:lnTo>
                    <a:lnTo>
                      <a:pt x="183" y="724"/>
                    </a:lnTo>
                    <a:lnTo>
                      <a:pt x="183" y="724"/>
                    </a:lnTo>
                    <a:lnTo>
                      <a:pt x="178" y="726"/>
                    </a:lnTo>
                    <a:lnTo>
                      <a:pt x="178" y="726"/>
                    </a:lnTo>
                    <a:lnTo>
                      <a:pt x="178" y="728"/>
                    </a:lnTo>
                    <a:lnTo>
                      <a:pt x="176" y="735"/>
                    </a:lnTo>
                    <a:lnTo>
                      <a:pt x="176" y="735"/>
                    </a:lnTo>
                    <a:lnTo>
                      <a:pt x="176" y="739"/>
                    </a:lnTo>
                    <a:lnTo>
                      <a:pt x="178" y="741"/>
                    </a:lnTo>
                    <a:lnTo>
                      <a:pt x="180" y="750"/>
                    </a:lnTo>
                    <a:lnTo>
                      <a:pt x="194" y="768"/>
                    </a:lnTo>
                    <a:lnTo>
                      <a:pt x="202" y="787"/>
                    </a:lnTo>
                    <a:lnTo>
                      <a:pt x="207" y="794"/>
                    </a:lnTo>
                    <a:lnTo>
                      <a:pt x="209" y="794"/>
                    </a:lnTo>
                    <a:lnTo>
                      <a:pt x="211" y="794"/>
                    </a:lnTo>
                    <a:lnTo>
                      <a:pt x="211" y="794"/>
                    </a:lnTo>
                    <a:lnTo>
                      <a:pt x="211" y="794"/>
                    </a:lnTo>
                    <a:lnTo>
                      <a:pt x="211" y="794"/>
                    </a:lnTo>
                    <a:lnTo>
                      <a:pt x="213" y="794"/>
                    </a:lnTo>
                    <a:lnTo>
                      <a:pt x="218" y="798"/>
                    </a:lnTo>
                    <a:lnTo>
                      <a:pt x="222" y="805"/>
                    </a:lnTo>
                    <a:lnTo>
                      <a:pt x="227" y="807"/>
                    </a:lnTo>
                    <a:lnTo>
                      <a:pt x="229" y="807"/>
                    </a:lnTo>
                    <a:lnTo>
                      <a:pt x="229" y="807"/>
                    </a:lnTo>
                    <a:lnTo>
                      <a:pt x="231" y="807"/>
                    </a:lnTo>
                    <a:lnTo>
                      <a:pt x="231" y="809"/>
                    </a:lnTo>
                    <a:lnTo>
                      <a:pt x="233" y="809"/>
                    </a:lnTo>
                    <a:lnTo>
                      <a:pt x="240" y="814"/>
                    </a:lnTo>
                    <a:lnTo>
                      <a:pt x="242" y="814"/>
                    </a:lnTo>
                    <a:lnTo>
                      <a:pt x="242" y="814"/>
                    </a:lnTo>
                    <a:lnTo>
                      <a:pt x="244" y="814"/>
                    </a:lnTo>
                    <a:lnTo>
                      <a:pt x="246" y="814"/>
                    </a:lnTo>
                    <a:lnTo>
                      <a:pt x="248" y="814"/>
                    </a:lnTo>
                    <a:lnTo>
                      <a:pt x="248" y="812"/>
                    </a:lnTo>
                    <a:lnTo>
                      <a:pt x="248" y="812"/>
                    </a:lnTo>
                    <a:lnTo>
                      <a:pt x="251" y="812"/>
                    </a:lnTo>
                    <a:lnTo>
                      <a:pt x="253" y="814"/>
                    </a:lnTo>
                    <a:lnTo>
                      <a:pt x="253" y="814"/>
                    </a:lnTo>
                    <a:lnTo>
                      <a:pt x="255" y="818"/>
                    </a:lnTo>
                    <a:lnTo>
                      <a:pt x="255" y="818"/>
                    </a:lnTo>
                    <a:lnTo>
                      <a:pt x="259" y="823"/>
                    </a:lnTo>
                    <a:lnTo>
                      <a:pt x="259" y="825"/>
                    </a:lnTo>
                    <a:lnTo>
                      <a:pt x="262" y="825"/>
                    </a:lnTo>
                    <a:lnTo>
                      <a:pt x="262" y="825"/>
                    </a:lnTo>
                    <a:lnTo>
                      <a:pt x="264" y="825"/>
                    </a:lnTo>
                    <a:lnTo>
                      <a:pt x="270" y="823"/>
                    </a:lnTo>
                    <a:lnTo>
                      <a:pt x="273" y="823"/>
                    </a:lnTo>
                    <a:lnTo>
                      <a:pt x="273" y="823"/>
                    </a:lnTo>
                    <a:lnTo>
                      <a:pt x="273" y="823"/>
                    </a:lnTo>
                    <a:lnTo>
                      <a:pt x="275" y="818"/>
                    </a:lnTo>
                    <a:lnTo>
                      <a:pt x="279" y="807"/>
                    </a:lnTo>
                    <a:lnTo>
                      <a:pt x="281" y="803"/>
                    </a:lnTo>
                    <a:lnTo>
                      <a:pt x="281" y="803"/>
                    </a:lnTo>
                    <a:lnTo>
                      <a:pt x="286" y="801"/>
                    </a:lnTo>
                    <a:lnTo>
                      <a:pt x="286" y="801"/>
                    </a:lnTo>
                    <a:lnTo>
                      <a:pt x="297" y="792"/>
                    </a:lnTo>
                    <a:lnTo>
                      <a:pt x="301" y="787"/>
                    </a:lnTo>
                    <a:lnTo>
                      <a:pt x="308" y="785"/>
                    </a:lnTo>
                    <a:lnTo>
                      <a:pt x="312" y="785"/>
                    </a:lnTo>
                    <a:lnTo>
                      <a:pt x="317" y="783"/>
                    </a:lnTo>
                    <a:lnTo>
                      <a:pt x="321" y="779"/>
                    </a:lnTo>
                    <a:lnTo>
                      <a:pt x="321" y="774"/>
                    </a:lnTo>
                    <a:lnTo>
                      <a:pt x="321" y="774"/>
                    </a:lnTo>
                    <a:lnTo>
                      <a:pt x="319" y="774"/>
                    </a:lnTo>
                    <a:lnTo>
                      <a:pt x="319" y="772"/>
                    </a:lnTo>
                    <a:lnTo>
                      <a:pt x="319" y="770"/>
                    </a:lnTo>
                    <a:lnTo>
                      <a:pt x="321" y="770"/>
                    </a:lnTo>
                    <a:lnTo>
                      <a:pt x="330" y="763"/>
                    </a:lnTo>
                    <a:lnTo>
                      <a:pt x="332" y="761"/>
                    </a:lnTo>
                    <a:lnTo>
                      <a:pt x="336" y="750"/>
                    </a:lnTo>
                    <a:lnTo>
                      <a:pt x="354" y="730"/>
                    </a:lnTo>
                    <a:lnTo>
                      <a:pt x="358" y="726"/>
                    </a:lnTo>
                    <a:lnTo>
                      <a:pt x="360" y="717"/>
                    </a:lnTo>
                    <a:lnTo>
                      <a:pt x="363" y="713"/>
                    </a:lnTo>
                    <a:lnTo>
                      <a:pt x="365" y="711"/>
                    </a:lnTo>
                    <a:lnTo>
                      <a:pt x="371" y="711"/>
                    </a:lnTo>
                    <a:lnTo>
                      <a:pt x="376" y="711"/>
                    </a:lnTo>
                    <a:lnTo>
                      <a:pt x="387" y="704"/>
                    </a:lnTo>
                    <a:lnTo>
                      <a:pt x="389" y="702"/>
                    </a:lnTo>
                    <a:lnTo>
                      <a:pt x="393" y="697"/>
                    </a:lnTo>
                    <a:lnTo>
                      <a:pt x="396" y="695"/>
                    </a:lnTo>
                    <a:lnTo>
                      <a:pt x="389" y="689"/>
                    </a:lnTo>
                    <a:lnTo>
                      <a:pt x="389" y="684"/>
                    </a:lnTo>
                    <a:lnTo>
                      <a:pt x="389" y="678"/>
                    </a:lnTo>
                    <a:lnTo>
                      <a:pt x="389" y="667"/>
                    </a:lnTo>
                    <a:lnTo>
                      <a:pt x="389" y="665"/>
                    </a:lnTo>
                    <a:lnTo>
                      <a:pt x="391" y="660"/>
                    </a:lnTo>
                    <a:lnTo>
                      <a:pt x="396" y="654"/>
                    </a:lnTo>
                    <a:lnTo>
                      <a:pt x="402" y="651"/>
                    </a:lnTo>
                    <a:lnTo>
                      <a:pt x="424" y="643"/>
                    </a:lnTo>
                    <a:lnTo>
                      <a:pt x="429" y="636"/>
                    </a:lnTo>
                    <a:lnTo>
                      <a:pt x="426" y="632"/>
                    </a:lnTo>
                    <a:lnTo>
                      <a:pt x="426" y="632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39" name="Freeform 14"/>
              <p:cNvSpPr>
                <a:spLocks/>
              </p:cNvSpPr>
              <p:nvPr/>
            </p:nvSpPr>
            <p:spPr bwMode="auto">
              <a:xfrm>
                <a:off x="6621463" y="5818188"/>
                <a:ext cx="433388" cy="557212"/>
              </a:xfrm>
              <a:custGeom>
                <a:avLst/>
                <a:gdLst>
                  <a:gd name="T0" fmla="*/ 253 w 273"/>
                  <a:gd name="T1" fmla="*/ 125 h 351"/>
                  <a:gd name="T2" fmla="*/ 233 w 273"/>
                  <a:gd name="T3" fmla="*/ 103 h 351"/>
                  <a:gd name="T4" fmla="*/ 220 w 273"/>
                  <a:gd name="T5" fmla="*/ 92 h 351"/>
                  <a:gd name="T6" fmla="*/ 211 w 273"/>
                  <a:gd name="T7" fmla="*/ 66 h 351"/>
                  <a:gd name="T8" fmla="*/ 216 w 273"/>
                  <a:gd name="T9" fmla="*/ 48 h 351"/>
                  <a:gd name="T10" fmla="*/ 202 w 273"/>
                  <a:gd name="T11" fmla="*/ 38 h 351"/>
                  <a:gd name="T12" fmla="*/ 202 w 273"/>
                  <a:gd name="T13" fmla="*/ 18 h 351"/>
                  <a:gd name="T14" fmla="*/ 194 w 273"/>
                  <a:gd name="T15" fmla="*/ 11 h 351"/>
                  <a:gd name="T16" fmla="*/ 165 w 273"/>
                  <a:gd name="T17" fmla="*/ 7 h 351"/>
                  <a:gd name="T18" fmla="*/ 152 w 273"/>
                  <a:gd name="T19" fmla="*/ 13 h 351"/>
                  <a:gd name="T20" fmla="*/ 128 w 273"/>
                  <a:gd name="T21" fmla="*/ 2 h 351"/>
                  <a:gd name="T22" fmla="*/ 119 w 273"/>
                  <a:gd name="T23" fmla="*/ 0 h 351"/>
                  <a:gd name="T24" fmla="*/ 101 w 273"/>
                  <a:gd name="T25" fmla="*/ 68 h 351"/>
                  <a:gd name="T26" fmla="*/ 97 w 273"/>
                  <a:gd name="T27" fmla="*/ 75 h 351"/>
                  <a:gd name="T28" fmla="*/ 99 w 273"/>
                  <a:gd name="T29" fmla="*/ 90 h 351"/>
                  <a:gd name="T30" fmla="*/ 88 w 273"/>
                  <a:gd name="T31" fmla="*/ 97 h 351"/>
                  <a:gd name="T32" fmla="*/ 82 w 273"/>
                  <a:gd name="T33" fmla="*/ 90 h 351"/>
                  <a:gd name="T34" fmla="*/ 73 w 273"/>
                  <a:gd name="T35" fmla="*/ 92 h 351"/>
                  <a:gd name="T36" fmla="*/ 53 w 273"/>
                  <a:gd name="T37" fmla="*/ 99 h 351"/>
                  <a:gd name="T38" fmla="*/ 33 w 273"/>
                  <a:gd name="T39" fmla="*/ 123 h 351"/>
                  <a:gd name="T40" fmla="*/ 33 w 273"/>
                  <a:gd name="T41" fmla="*/ 143 h 351"/>
                  <a:gd name="T42" fmla="*/ 25 w 273"/>
                  <a:gd name="T43" fmla="*/ 149 h 351"/>
                  <a:gd name="T44" fmla="*/ 7 w 273"/>
                  <a:gd name="T45" fmla="*/ 165 h 351"/>
                  <a:gd name="T46" fmla="*/ 9 w 273"/>
                  <a:gd name="T47" fmla="*/ 178 h 351"/>
                  <a:gd name="T48" fmla="*/ 27 w 273"/>
                  <a:gd name="T49" fmla="*/ 202 h 351"/>
                  <a:gd name="T50" fmla="*/ 27 w 273"/>
                  <a:gd name="T51" fmla="*/ 209 h 351"/>
                  <a:gd name="T52" fmla="*/ 16 w 273"/>
                  <a:gd name="T53" fmla="*/ 237 h 351"/>
                  <a:gd name="T54" fmla="*/ 7 w 273"/>
                  <a:gd name="T55" fmla="*/ 253 h 351"/>
                  <a:gd name="T56" fmla="*/ 0 w 273"/>
                  <a:gd name="T57" fmla="*/ 261 h 351"/>
                  <a:gd name="T58" fmla="*/ 16 w 273"/>
                  <a:gd name="T59" fmla="*/ 272 h 351"/>
                  <a:gd name="T60" fmla="*/ 20 w 273"/>
                  <a:gd name="T61" fmla="*/ 292 h 351"/>
                  <a:gd name="T62" fmla="*/ 22 w 273"/>
                  <a:gd name="T63" fmla="*/ 323 h 351"/>
                  <a:gd name="T64" fmla="*/ 20 w 273"/>
                  <a:gd name="T65" fmla="*/ 332 h 351"/>
                  <a:gd name="T66" fmla="*/ 40 w 273"/>
                  <a:gd name="T67" fmla="*/ 338 h 351"/>
                  <a:gd name="T68" fmla="*/ 58 w 273"/>
                  <a:gd name="T69" fmla="*/ 351 h 351"/>
                  <a:gd name="T70" fmla="*/ 66 w 273"/>
                  <a:gd name="T71" fmla="*/ 338 h 351"/>
                  <a:gd name="T72" fmla="*/ 97 w 273"/>
                  <a:gd name="T73" fmla="*/ 321 h 351"/>
                  <a:gd name="T74" fmla="*/ 106 w 273"/>
                  <a:gd name="T75" fmla="*/ 314 h 351"/>
                  <a:gd name="T76" fmla="*/ 121 w 273"/>
                  <a:gd name="T77" fmla="*/ 292 h 351"/>
                  <a:gd name="T78" fmla="*/ 126 w 273"/>
                  <a:gd name="T79" fmla="*/ 283 h 351"/>
                  <a:gd name="T80" fmla="*/ 137 w 273"/>
                  <a:gd name="T81" fmla="*/ 259 h 351"/>
                  <a:gd name="T82" fmla="*/ 145 w 273"/>
                  <a:gd name="T83" fmla="*/ 244 h 351"/>
                  <a:gd name="T84" fmla="*/ 165 w 273"/>
                  <a:gd name="T85" fmla="*/ 235 h 351"/>
                  <a:gd name="T86" fmla="*/ 189 w 273"/>
                  <a:gd name="T87" fmla="*/ 204 h 351"/>
                  <a:gd name="T88" fmla="*/ 187 w 273"/>
                  <a:gd name="T89" fmla="*/ 196 h 351"/>
                  <a:gd name="T90" fmla="*/ 187 w 273"/>
                  <a:gd name="T91" fmla="*/ 185 h 351"/>
                  <a:gd name="T92" fmla="*/ 192 w 273"/>
                  <a:gd name="T93" fmla="*/ 171 h 351"/>
                  <a:gd name="T94" fmla="*/ 202 w 273"/>
                  <a:gd name="T95" fmla="*/ 160 h 351"/>
                  <a:gd name="T96" fmla="*/ 216 w 273"/>
                  <a:gd name="T97" fmla="*/ 165 h 351"/>
                  <a:gd name="T98" fmla="*/ 227 w 273"/>
                  <a:gd name="T99" fmla="*/ 182 h 351"/>
                  <a:gd name="T100" fmla="*/ 240 w 273"/>
                  <a:gd name="T101" fmla="*/ 180 h 351"/>
                  <a:gd name="T102" fmla="*/ 242 w 273"/>
                  <a:gd name="T103" fmla="*/ 165 h 351"/>
                  <a:gd name="T104" fmla="*/ 249 w 273"/>
                  <a:gd name="T105" fmla="*/ 154 h 351"/>
                  <a:gd name="T106" fmla="*/ 260 w 273"/>
                  <a:gd name="T107" fmla="*/ 149 h 351"/>
                  <a:gd name="T108" fmla="*/ 268 w 273"/>
                  <a:gd name="T109" fmla="*/ 130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73" h="351">
                    <a:moveTo>
                      <a:pt x="268" y="130"/>
                    </a:moveTo>
                    <a:lnTo>
                      <a:pt x="257" y="127"/>
                    </a:lnTo>
                    <a:lnTo>
                      <a:pt x="255" y="127"/>
                    </a:lnTo>
                    <a:lnTo>
                      <a:pt x="253" y="125"/>
                    </a:lnTo>
                    <a:lnTo>
                      <a:pt x="249" y="123"/>
                    </a:lnTo>
                    <a:lnTo>
                      <a:pt x="240" y="112"/>
                    </a:lnTo>
                    <a:lnTo>
                      <a:pt x="235" y="108"/>
                    </a:lnTo>
                    <a:lnTo>
                      <a:pt x="233" y="103"/>
                    </a:lnTo>
                    <a:lnTo>
                      <a:pt x="233" y="101"/>
                    </a:lnTo>
                    <a:lnTo>
                      <a:pt x="231" y="99"/>
                    </a:lnTo>
                    <a:lnTo>
                      <a:pt x="222" y="95"/>
                    </a:lnTo>
                    <a:lnTo>
                      <a:pt x="220" y="92"/>
                    </a:lnTo>
                    <a:lnTo>
                      <a:pt x="218" y="86"/>
                    </a:lnTo>
                    <a:lnTo>
                      <a:pt x="213" y="75"/>
                    </a:lnTo>
                    <a:lnTo>
                      <a:pt x="211" y="66"/>
                    </a:lnTo>
                    <a:lnTo>
                      <a:pt x="211" y="66"/>
                    </a:lnTo>
                    <a:lnTo>
                      <a:pt x="211" y="62"/>
                    </a:lnTo>
                    <a:lnTo>
                      <a:pt x="213" y="57"/>
                    </a:lnTo>
                    <a:lnTo>
                      <a:pt x="216" y="51"/>
                    </a:lnTo>
                    <a:lnTo>
                      <a:pt x="216" y="48"/>
                    </a:lnTo>
                    <a:lnTo>
                      <a:pt x="213" y="46"/>
                    </a:lnTo>
                    <a:lnTo>
                      <a:pt x="213" y="44"/>
                    </a:lnTo>
                    <a:lnTo>
                      <a:pt x="205" y="40"/>
                    </a:lnTo>
                    <a:lnTo>
                      <a:pt x="202" y="38"/>
                    </a:lnTo>
                    <a:lnTo>
                      <a:pt x="202" y="33"/>
                    </a:lnTo>
                    <a:lnTo>
                      <a:pt x="202" y="27"/>
                    </a:lnTo>
                    <a:lnTo>
                      <a:pt x="202" y="20"/>
                    </a:lnTo>
                    <a:lnTo>
                      <a:pt x="202" y="18"/>
                    </a:lnTo>
                    <a:lnTo>
                      <a:pt x="200" y="16"/>
                    </a:lnTo>
                    <a:lnTo>
                      <a:pt x="198" y="13"/>
                    </a:lnTo>
                    <a:lnTo>
                      <a:pt x="196" y="11"/>
                    </a:lnTo>
                    <a:lnTo>
                      <a:pt x="194" y="11"/>
                    </a:lnTo>
                    <a:lnTo>
                      <a:pt x="189" y="13"/>
                    </a:lnTo>
                    <a:lnTo>
                      <a:pt x="183" y="11"/>
                    </a:lnTo>
                    <a:lnTo>
                      <a:pt x="172" y="5"/>
                    </a:lnTo>
                    <a:lnTo>
                      <a:pt x="165" y="7"/>
                    </a:lnTo>
                    <a:lnTo>
                      <a:pt x="163" y="9"/>
                    </a:lnTo>
                    <a:lnTo>
                      <a:pt x="161" y="9"/>
                    </a:lnTo>
                    <a:lnTo>
                      <a:pt x="159" y="11"/>
                    </a:lnTo>
                    <a:lnTo>
                      <a:pt x="152" y="13"/>
                    </a:lnTo>
                    <a:lnTo>
                      <a:pt x="150" y="13"/>
                    </a:lnTo>
                    <a:lnTo>
                      <a:pt x="143" y="11"/>
                    </a:lnTo>
                    <a:lnTo>
                      <a:pt x="139" y="9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6" y="0"/>
                    </a:lnTo>
                    <a:lnTo>
                      <a:pt x="123" y="0"/>
                    </a:lnTo>
                    <a:lnTo>
                      <a:pt x="119" y="0"/>
                    </a:lnTo>
                    <a:lnTo>
                      <a:pt x="117" y="42"/>
                    </a:lnTo>
                    <a:lnTo>
                      <a:pt x="115" y="53"/>
                    </a:lnTo>
                    <a:lnTo>
                      <a:pt x="108" y="59"/>
                    </a:lnTo>
                    <a:lnTo>
                      <a:pt x="101" y="68"/>
                    </a:lnTo>
                    <a:lnTo>
                      <a:pt x="99" y="68"/>
                    </a:lnTo>
                    <a:lnTo>
                      <a:pt x="99" y="73"/>
                    </a:lnTo>
                    <a:lnTo>
                      <a:pt x="97" y="73"/>
                    </a:lnTo>
                    <a:lnTo>
                      <a:pt x="97" y="75"/>
                    </a:lnTo>
                    <a:lnTo>
                      <a:pt x="97" y="77"/>
                    </a:lnTo>
                    <a:lnTo>
                      <a:pt x="99" y="84"/>
                    </a:lnTo>
                    <a:lnTo>
                      <a:pt x="99" y="86"/>
                    </a:lnTo>
                    <a:lnTo>
                      <a:pt x="99" y="90"/>
                    </a:lnTo>
                    <a:lnTo>
                      <a:pt x="99" y="92"/>
                    </a:lnTo>
                    <a:lnTo>
                      <a:pt x="97" y="92"/>
                    </a:lnTo>
                    <a:lnTo>
                      <a:pt x="91" y="97"/>
                    </a:lnTo>
                    <a:lnTo>
                      <a:pt x="88" y="97"/>
                    </a:lnTo>
                    <a:lnTo>
                      <a:pt x="88" y="97"/>
                    </a:lnTo>
                    <a:lnTo>
                      <a:pt x="86" y="95"/>
                    </a:lnTo>
                    <a:lnTo>
                      <a:pt x="84" y="92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77" y="90"/>
                    </a:lnTo>
                    <a:lnTo>
                      <a:pt x="75" y="92"/>
                    </a:lnTo>
                    <a:lnTo>
                      <a:pt x="73" y="92"/>
                    </a:lnTo>
                    <a:lnTo>
                      <a:pt x="66" y="92"/>
                    </a:lnTo>
                    <a:lnTo>
                      <a:pt x="64" y="92"/>
                    </a:lnTo>
                    <a:lnTo>
                      <a:pt x="55" y="97"/>
                    </a:lnTo>
                    <a:lnTo>
                      <a:pt x="53" y="99"/>
                    </a:lnTo>
                    <a:lnTo>
                      <a:pt x="49" y="101"/>
                    </a:lnTo>
                    <a:lnTo>
                      <a:pt x="40" y="114"/>
                    </a:lnTo>
                    <a:lnTo>
                      <a:pt x="36" y="121"/>
                    </a:lnTo>
                    <a:lnTo>
                      <a:pt x="33" y="123"/>
                    </a:lnTo>
                    <a:lnTo>
                      <a:pt x="33" y="125"/>
                    </a:lnTo>
                    <a:lnTo>
                      <a:pt x="36" y="134"/>
                    </a:lnTo>
                    <a:lnTo>
                      <a:pt x="36" y="136"/>
                    </a:lnTo>
                    <a:lnTo>
                      <a:pt x="33" y="143"/>
                    </a:lnTo>
                    <a:lnTo>
                      <a:pt x="33" y="145"/>
                    </a:lnTo>
                    <a:lnTo>
                      <a:pt x="33" y="147"/>
                    </a:lnTo>
                    <a:lnTo>
                      <a:pt x="31" y="147"/>
                    </a:lnTo>
                    <a:lnTo>
                      <a:pt x="25" y="149"/>
                    </a:lnTo>
                    <a:lnTo>
                      <a:pt x="20" y="152"/>
                    </a:lnTo>
                    <a:lnTo>
                      <a:pt x="11" y="160"/>
                    </a:lnTo>
                    <a:lnTo>
                      <a:pt x="9" y="163"/>
                    </a:lnTo>
                    <a:lnTo>
                      <a:pt x="7" y="165"/>
                    </a:lnTo>
                    <a:lnTo>
                      <a:pt x="7" y="169"/>
                    </a:lnTo>
                    <a:lnTo>
                      <a:pt x="7" y="169"/>
                    </a:lnTo>
                    <a:lnTo>
                      <a:pt x="7" y="174"/>
                    </a:lnTo>
                    <a:lnTo>
                      <a:pt x="9" y="178"/>
                    </a:lnTo>
                    <a:lnTo>
                      <a:pt x="11" y="187"/>
                    </a:lnTo>
                    <a:lnTo>
                      <a:pt x="14" y="191"/>
                    </a:lnTo>
                    <a:lnTo>
                      <a:pt x="27" y="200"/>
                    </a:lnTo>
                    <a:lnTo>
                      <a:pt x="27" y="202"/>
                    </a:lnTo>
                    <a:lnTo>
                      <a:pt x="29" y="204"/>
                    </a:lnTo>
                    <a:lnTo>
                      <a:pt x="29" y="207"/>
                    </a:lnTo>
                    <a:lnTo>
                      <a:pt x="27" y="209"/>
                    </a:lnTo>
                    <a:lnTo>
                      <a:pt x="27" y="209"/>
                    </a:lnTo>
                    <a:lnTo>
                      <a:pt x="22" y="226"/>
                    </a:lnTo>
                    <a:lnTo>
                      <a:pt x="20" y="228"/>
                    </a:lnTo>
                    <a:lnTo>
                      <a:pt x="20" y="231"/>
                    </a:lnTo>
                    <a:lnTo>
                      <a:pt x="16" y="237"/>
                    </a:lnTo>
                    <a:lnTo>
                      <a:pt x="14" y="239"/>
                    </a:lnTo>
                    <a:lnTo>
                      <a:pt x="11" y="246"/>
                    </a:lnTo>
                    <a:lnTo>
                      <a:pt x="9" y="250"/>
                    </a:lnTo>
                    <a:lnTo>
                      <a:pt x="7" y="253"/>
                    </a:lnTo>
                    <a:lnTo>
                      <a:pt x="0" y="257"/>
                    </a:lnTo>
                    <a:lnTo>
                      <a:pt x="0" y="257"/>
                    </a:lnTo>
                    <a:lnTo>
                      <a:pt x="0" y="259"/>
                    </a:lnTo>
                    <a:lnTo>
                      <a:pt x="0" y="261"/>
                    </a:lnTo>
                    <a:lnTo>
                      <a:pt x="7" y="266"/>
                    </a:lnTo>
                    <a:lnTo>
                      <a:pt x="14" y="272"/>
                    </a:lnTo>
                    <a:lnTo>
                      <a:pt x="14" y="272"/>
                    </a:lnTo>
                    <a:lnTo>
                      <a:pt x="16" y="272"/>
                    </a:lnTo>
                    <a:lnTo>
                      <a:pt x="16" y="275"/>
                    </a:lnTo>
                    <a:lnTo>
                      <a:pt x="18" y="281"/>
                    </a:lnTo>
                    <a:lnTo>
                      <a:pt x="20" y="288"/>
                    </a:lnTo>
                    <a:lnTo>
                      <a:pt x="20" y="292"/>
                    </a:lnTo>
                    <a:lnTo>
                      <a:pt x="22" y="312"/>
                    </a:lnTo>
                    <a:lnTo>
                      <a:pt x="22" y="316"/>
                    </a:lnTo>
                    <a:lnTo>
                      <a:pt x="25" y="318"/>
                    </a:lnTo>
                    <a:lnTo>
                      <a:pt x="22" y="323"/>
                    </a:lnTo>
                    <a:lnTo>
                      <a:pt x="20" y="327"/>
                    </a:lnTo>
                    <a:lnTo>
                      <a:pt x="18" y="329"/>
                    </a:lnTo>
                    <a:lnTo>
                      <a:pt x="20" y="332"/>
                    </a:lnTo>
                    <a:lnTo>
                      <a:pt x="20" y="332"/>
                    </a:lnTo>
                    <a:lnTo>
                      <a:pt x="27" y="332"/>
                    </a:lnTo>
                    <a:lnTo>
                      <a:pt x="29" y="332"/>
                    </a:lnTo>
                    <a:lnTo>
                      <a:pt x="33" y="334"/>
                    </a:lnTo>
                    <a:lnTo>
                      <a:pt x="40" y="338"/>
                    </a:lnTo>
                    <a:lnTo>
                      <a:pt x="51" y="343"/>
                    </a:lnTo>
                    <a:lnTo>
                      <a:pt x="53" y="345"/>
                    </a:lnTo>
                    <a:lnTo>
                      <a:pt x="58" y="351"/>
                    </a:lnTo>
                    <a:lnTo>
                      <a:pt x="58" y="351"/>
                    </a:lnTo>
                    <a:lnTo>
                      <a:pt x="60" y="347"/>
                    </a:lnTo>
                    <a:lnTo>
                      <a:pt x="64" y="340"/>
                    </a:lnTo>
                    <a:lnTo>
                      <a:pt x="64" y="340"/>
                    </a:lnTo>
                    <a:lnTo>
                      <a:pt x="66" y="338"/>
                    </a:lnTo>
                    <a:lnTo>
                      <a:pt x="66" y="336"/>
                    </a:lnTo>
                    <a:lnTo>
                      <a:pt x="75" y="332"/>
                    </a:lnTo>
                    <a:lnTo>
                      <a:pt x="82" y="327"/>
                    </a:lnTo>
                    <a:lnTo>
                      <a:pt x="97" y="321"/>
                    </a:lnTo>
                    <a:lnTo>
                      <a:pt x="99" y="318"/>
                    </a:lnTo>
                    <a:lnTo>
                      <a:pt x="104" y="318"/>
                    </a:lnTo>
                    <a:lnTo>
                      <a:pt x="104" y="316"/>
                    </a:lnTo>
                    <a:lnTo>
                      <a:pt x="106" y="314"/>
                    </a:lnTo>
                    <a:lnTo>
                      <a:pt x="110" y="305"/>
                    </a:lnTo>
                    <a:lnTo>
                      <a:pt x="110" y="303"/>
                    </a:lnTo>
                    <a:lnTo>
                      <a:pt x="112" y="301"/>
                    </a:lnTo>
                    <a:lnTo>
                      <a:pt x="121" y="292"/>
                    </a:lnTo>
                    <a:lnTo>
                      <a:pt x="121" y="292"/>
                    </a:lnTo>
                    <a:lnTo>
                      <a:pt x="123" y="290"/>
                    </a:lnTo>
                    <a:lnTo>
                      <a:pt x="126" y="286"/>
                    </a:lnTo>
                    <a:lnTo>
                      <a:pt x="126" y="283"/>
                    </a:lnTo>
                    <a:lnTo>
                      <a:pt x="128" y="279"/>
                    </a:lnTo>
                    <a:lnTo>
                      <a:pt x="130" y="270"/>
                    </a:lnTo>
                    <a:lnTo>
                      <a:pt x="130" y="268"/>
                    </a:lnTo>
                    <a:lnTo>
                      <a:pt x="137" y="259"/>
                    </a:lnTo>
                    <a:lnTo>
                      <a:pt x="141" y="255"/>
                    </a:lnTo>
                    <a:lnTo>
                      <a:pt x="143" y="250"/>
                    </a:lnTo>
                    <a:lnTo>
                      <a:pt x="145" y="246"/>
                    </a:lnTo>
                    <a:lnTo>
                      <a:pt x="145" y="244"/>
                    </a:lnTo>
                    <a:lnTo>
                      <a:pt x="150" y="242"/>
                    </a:lnTo>
                    <a:lnTo>
                      <a:pt x="152" y="242"/>
                    </a:lnTo>
                    <a:lnTo>
                      <a:pt x="156" y="239"/>
                    </a:lnTo>
                    <a:lnTo>
                      <a:pt x="165" y="235"/>
                    </a:lnTo>
                    <a:lnTo>
                      <a:pt x="181" y="217"/>
                    </a:lnTo>
                    <a:lnTo>
                      <a:pt x="187" y="211"/>
                    </a:lnTo>
                    <a:lnTo>
                      <a:pt x="187" y="209"/>
                    </a:lnTo>
                    <a:lnTo>
                      <a:pt x="189" y="204"/>
                    </a:lnTo>
                    <a:lnTo>
                      <a:pt x="189" y="202"/>
                    </a:lnTo>
                    <a:lnTo>
                      <a:pt x="187" y="200"/>
                    </a:lnTo>
                    <a:lnTo>
                      <a:pt x="187" y="196"/>
                    </a:lnTo>
                    <a:lnTo>
                      <a:pt x="187" y="196"/>
                    </a:lnTo>
                    <a:lnTo>
                      <a:pt x="185" y="196"/>
                    </a:lnTo>
                    <a:lnTo>
                      <a:pt x="185" y="191"/>
                    </a:lnTo>
                    <a:lnTo>
                      <a:pt x="185" y="187"/>
                    </a:lnTo>
                    <a:lnTo>
                      <a:pt x="187" y="185"/>
                    </a:lnTo>
                    <a:lnTo>
                      <a:pt x="189" y="178"/>
                    </a:lnTo>
                    <a:lnTo>
                      <a:pt x="189" y="176"/>
                    </a:lnTo>
                    <a:lnTo>
                      <a:pt x="189" y="174"/>
                    </a:lnTo>
                    <a:lnTo>
                      <a:pt x="192" y="171"/>
                    </a:lnTo>
                    <a:lnTo>
                      <a:pt x="192" y="169"/>
                    </a:lnTo>
                    <a:lnTo>
                      <a:pt x="196" y="165"/>
                    </a:lnTo>
                    <a:lnTo>
                      <a:pt x="200" y="160"/>
                    </a:lnTo>
                    <a:lnTo>
                      <a:pt x="202" y="160"/>
                    </a:lnTo>
                    <a:lnTo>
                      <a:pt x="207" y="160"/>
                    </a:lnTo>
                    <a:lnTo>
                      <a:pt x="211" y="160"/>
                    </a:lnTo>
                    <a:lnTo>
                      <a:pt x="216" y="163"/>
                    </a:lnTo>
                    <a:lnTo>
                      <a:pt x="216" y="165"/>
                    </a:lnTo>
                    <a:lnTo>
                      <a:pt x="218" y="167"/>
                    </a:lnTo>
                    <a:lnTo>
                      <a:pt x="222" y="178"/>
                    </a:lnTo>
                    <a:lnTo>
                      <a:pt x="224" y="180"/>
                    </a:lnTo>
                    <a:lnTo>
                      <a:pt x="227" y="182"/>
                    </a:lnTo>
                    <a:lnTo>
                      <a:pt x="229" y="185"/>
                    </a:lnTo>
                    <a:lnTo>
                      <a:pt x="231" y="185"/>
                    </a:lnTo>
                    <a:lnTo>
                      <a:pt x="235" y="185"/>
                    </a:lnTo>
                    <a:lnTo>
                      <a:pt x="240" y="180"/>
                    </a:lnTo>
                    <a:lnTo>
                      <a:pt x="244" y="171"/>
                    </a:lnTo>
                    <a:lnTo>
                      <a:pt x="242" y="169"/>
                    </a:lnTo>
                    <a:lnTo>
                      <a:pt x="242" y="165"/>
                    </a:lnTo>
                    <a:lnTo>
                      <a:pt x="242" y="165"/>
                    </a:lnTo>
                    <a:lnTo>
                      <a:pt x="244" y="158"/>
                    </a:lnTo>
                    <a:lnTo>
                      <a:pt x="244" y="156"/>
                    </a:lnTo>
                    <a:lnTo>
                      <a:pt x="244" y="156"/>
                    </a:lnTo>
                    <a:lnTo>
                      <a:pt x="249" y="154"/>
                    </a:lnTo>
                    <a:lnTo>
                      <a:pt x="249" y="154"/>
                    </a:lnTo>
                    <a:lnTo>
                      <a:pt x="255" y="152"/>
                    </a:lnTo>
                    <a:lnTo>
                      <a:pt x="257" y="152"/>
                    </a:lnTo>
                    <a:lnTo>
                      <a:pt x="260" y="149"/>
                    </a:lnTo>
                    <a:lnTo>
                      <a:pt x="264" y="145"/>
                    </a:lnTo>
                    <a:lnTo>
                      <a:pt x="271" y="138"/>
                    </a:lnTo>
                    <a:lnTo>
                      <a:pt x="273" y="136"/>
                    </a:lnTo>
                    <a:lnTo>
                      <a:pt x="268" y="130"/>
                    </a:lnTo>
                    <a:lnTo>
                      <a:pt x="268" y="130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40" name="Freeform 15"/>
              <p:cNvSpPr>
                <a:spLocks noEditPoints="1"/>
              </p:cNvSpPr>
              <p:nvPr/>
            </p:nvSpPr>
            <p:spPr bwMode="auto">
              <a:xfrm>
                <a:off x="5151438" y="4902200"/>
                <a:ext cx="525463" cy="746125"/>
              </a:xfrm>
              <a:custGeom>
                <a:avLst/>
                <a:gdLst>
                  <a:gd name="T0" fmla="*/ 48 w 331"/>
                  <a:gd name="T1" fmla="*/ 248 h 470"/>
                  <a:gd name="T2" fmla="*/ 53 w 331"/>
                  <a:gd name="T3" fmla="*/ 248 h 470"/>
                  <a:gd name="T4" fmla="*/ 2 w 331"/>
                  <a:gd name="T5" fmla="*/ 167 h 470"/>
                  <a:gd name="T6" fmla="*/ 4 w 331"/>
                  <a:gd name="T7" fmla="*/ 160 h 470"/>
                  <a:gd name="T8" fmla="*/ 323 w 331"/>
                  <a:gd name="T9" fmla="*/ 356 h 470"/>
                  <a:gd name="T10" fmla="*/ 314 w 331"/>
                  <a:gd name="T11" fmla="*/ 334 h 470"/>
                  <a:gd name="T12" fmla="*/ 303 w 331"/>
                  <a:gd name="T13" fmla="*/ 314 h 470"/>
                  <a:gd name="T14" fmla="*/ 294 w 331"/>
                  <a:gd name="T15" fmla="*/ 303 h 470"/>
                  <a:gd name="T16" fmla="*/ 281 w 331"/>
                  <a:gd name="T17" fmla="*/ 307 h 470"/>
                  <a:gd name="T18" fmla="*/ 263 w 331"/>
                  <a:gd name="T19" fmla="*/ 312 h 470"/>
                  <a:gd name="T20" fmla="*/ 261 w 331"/>
                  <a:gd name="T21" fmla="*/ 283 h 470"/>
                  <a:gd name="T22" fmla="*/ 250 w 331"/>
                  <a:gd name="T23" fmla="*/ 268 h 470"/>
                  <a:gd name="T24" fmla="*/ 257 w 331"/>
                  <a:gd name="T25" fmla="*/ 233 h 470"/>
                  <a:gd name="T26" fmla="*/ 252 w 331"/>
                  <a:gd name="T27" fmla="*/ 213 h 470"/>
                  <a:gd name="T28" fmla="*/ 226 w 331"/>
                  <a:gd name="T29" fmla="*/ 200 h 470"/>
                  <a:gd name="T30" fmla="*/ 198 w 331"/>
                  <a:gd name="T31" fmla="*/ 187 h 470"/>
                  <a:gd name="T32" fmla="*/ 173 w 331"/>
                  <a:gd name="T33" fmla="*/ 173 h 470"/>
                  <a:gd name="T34" fmla="*/ 173 w 331"/>
                  <a:gd name="T35" fmla="*/ 160 h 470"/>
                  <a:gd name="T36" fmla="*/ 171 w 331"/>
                  <a:gd name="T37" fmla="*/ 143 h 470"/>
                  <a:gd name="T38" fmla="*/ 173 w 331"/>
                  <a:gd name="T39" fmla="*/ 112 h 470"/>
                  <a:gd name="T40" fmla="*/ 178 w 331"/>
                  <a:gd name="T41" fmla="*/ 88 h 470"/>
                  <a:gd name="T42" fmla="*/ 145 w 331"/>
                  <a:gd name="T43" fmla="*/ 81 h 470"/>
                  <a:gd name="T44" fmla="*/ 125 w 331"/>
                  <a:gd name="T45" fmla="*/ 72 h 470"/>
                  <a:gd name="T46" fmla="*/ 132 w 331"/>
                  <a:gd name="T47" fmla="*/ 55 h 470"/>
                  <a:gd name="T48" fmla="*/ 143 w 331"/>
                  <a:gd name="T49" fmla="*/ 44 h 470"/>
                  <a:gd name="T50" fmla="*/ 143 w 331"/>
                  <a:gd name="T51" fmla="*/ 20 h 470"/>
                  <a:gd name="T52" fmla="*/ 156 w 331"/>
                  <a:gd name="T53" fmla="*/ 4 h 470"/>
                  <a:gd name="T54" fmla="*/ 145 w 331"/>
                  <a:gd name="T55" fmla="*/ 7 h 470"/>
                  <a:gd name="T56" fmla="*/ 99 w 331"/>
                  <a:gd name="T57" fmla="*/ 4 h 470"/>
                  <a:gd name="T58" fmla="*/ 90 w 331"/>
                  <a:gd name="T59" fmla="*/ 13 h 470"/>
                  <a:gd name="T60" fmla="*/ 50 w 331"/>
                  <a:gd name="T61" fmla="*/ 59 h 470"/>
                  <a:gd name="T62" fmla="*/ 50 w 331"/>
                  <a:gd name="T63" fmla="*/ 123 h 470"/>
                  <a:gd name="T64" fmla="*/ 42 w 331"/>
                  <a:gd name="T65" fmla="*/ 158 h 470"/>
                  <a:gd name="T66" fmla="*/ 31 w 331"/>
                  <a:gd name="T67" fmla="*/ 162 h 470"/>
                  <a:gd name="T68" fmla="*/ 24 w 331"/>
                  <a:gd name="T69" fmla="*/ 158 h 470"/>
                  <a:gd name="T70" fmla="*/ 13 w 331"/>
                  <a:gd name="T71" fmla="*/ 171 h 470"/>
                  <a:gd name="T72" fmla="*/ 28 w 331"/>
                  <a:gd name="T73" fmla="*/ 178 h 470"/>
                  <a:gd name="T74" fmla="*/ 33 w 331"/>
                  <a:gd name="T75" fmla="*/ 178 h 470"/>
                  <a:gd name="T76" fmla="*/ 35 w 331"/>
                  <a:gd name="T77" fmla="*/ 193 h 470"/>
                  <a:gd name="T78" fmla="*/ 35 w 331"/>
                  <a:gd name="T79" fmla="*/ 206 h 470"/>
                  <a:gd name="T80" fmla="*/ 37 w 331"/>
                  <a:gd name="T81" fmla="*/ 233 h 470"/>
                  <a:gd name="T82" fmla="*/ 53 w 331"/>
                  <a:gd name="T83" fmla="*/ 233 h 470"/>
                  <a:gd name="T84" fmla="*/ 64 w 331"/>
                  <a:gd name="T85" fmla="*/ 248 h 470"/>
                  <a:gd name="T86" fmla="*/ 61 w 331"/>
                  <a:gd name="T87" fmla="*/ 263 h 470"/>
                  <a:gd name="T88" fmla="*/ 79 w 331"/>
                  <a:gd name="T89" fmla="*/ 274 h 470"/>
                  <a:gd name="T90" fmla="*/ 92 w 331"/>
                  <a:gd name="T91" fmla="*/ 292 h 470"/>
                  <a:gd name="T92" fmla="*/ 101 w 331"/>
                  <a:gd name="T93" fmla="*/ 309 h 470"/>
                  <a:gd name="T94" fmla="*/ 114 w 331"/>
                  <a:gd name="T95" fmla="*/ 327 h 470"/>
                  <a:gd name="T96" fmla="*/ 123 w 331"/>
                  <a:gd name="T97" fmla="*/ 336 h 470"/>
                  <a:gd name="T98" fmla="*/ 149 w 331"/>
                  <a:gd name="T99" fmla="*/ 353 h 470"/>
                  <a:gd name="T100" fmla="*/ 180 w 331"/>
                  <a:gd name="T101" fmla="*/ 380 h 470"/>
                  <a:gd name="T102" fmla="*/ 202 w 331"/>
                  <a:gd name="T103" fmla="*/ 408 h 470"/>
                  <a:gd name="T104" fmla="*/ 230 w 331"/>
                  <a:gd name="T105" fmla="*/ 428 h 470"/>
                  <a:gd name="T106" fmla="*/ 228 w 331"/>
                  <a:gd name="T107" fmla="*/ 439 h 470"/>
                  <a:gd name="T108" fmla="*/ 237 w 331"/>
                  <a:gd name="T109" fmla="*/ 457 h 470"/>
                  <a:gd name="T110" fmla="*/ 246 w 331"/>
                  <a:gd name="T111" fmla="*/ 463 h 470"/>
                  <a:gd name="T112" fmla="*/ 270 w 331"/>
                  <a:gd name="T113" fmla="*/ 454 h 470"/>
                  <a:gd name="T114" fmla="*/ 325 w 331"/>
                  <a:gd name="T115" fmla="*/ 404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31" h="470">
                    <a:moveTo>
                      <a:pt x="53" y="248"/>
                    </a:moveTo>
                    <a:lnTo>
                      <a:pt x="50" y="246"/>
                    </a:lnTo>
                    <a:lnTo>
                      <a:pt x="48" y="244"/>
                    </a:lnTo>
                    <a:lnTo>
                      <a:pt x="46" y="246"/>
                    </a:lnTo>
                    <a:lnTo>
                      <a:pt x="46" y="248"/>
                    </a:lnTo>
                    <a:lnTo>
                      <a:pt x="48" y="248"/>
                    </a:lnTo>
                    <a:lnTo>
                      <a:pt x="50" y="250"/>
                    </a:lnTo>
                    <a:lnTo>
                      <a:pt x="53" y="250"/>
                    </a:lnTo>
                    <a:lnTo>
                      <a:pt x="55" y="250"/>
                    </a:lnTo>
                    <a:lnTo>
                      <a:pt x="53" y="248"/>
                    </a:lnTo>
                    <a:lnTo>
                      <a:pt x="53" y="248"/>
                    </a:lnTo>
                    <a:lnTo>
                      <a:pt x="53" y="248"/>
                    </a:lnTo>
                    <a:close/>
                    <a:moveTo>
                      <a:pt x="4" y="160"/>
                    </a:moveTo>
                    <a:lnTo>
                      <a:pt x="2" y="160"/>
                    </a:lnTo>
                    <a:lnTo>
                      <a:pt x="2" y="162"/>
                    </a:lnTo>
                    <a:lnTo>
                      <a:pt x="0" y="165"/>
                    </a:lnTo>
                    <a:lnTo>
                      <a:pt x="0" y="167"/>
                    </a:lnTo>
                    <a:lnTo>
                      <a:pt x="2" y="167"/>
                    </a:lnTo>
                    <a:lnTo>
                      <a:pt x="4" y="167"/>
                    </a:lnTo>
                    <a:lnTo>
                      <a:pt x="4" y="167"/>
                    </a:lnTo>
                    <a:lnTo>
                      <a:pt x="7" y="165"/>
                    </a:lnTo>
                    <a:lnTo>
                      <a:pt x="7" y="162"/>
                    </a:lnTo>
                    <a:lnTo>
                      <a:pt x="4" y="162"/>
                    </a:lnTo>
                    <a:lnTo>
                      <a:pt x="4" y="160"/>
                    </a:lnTo>
                    <a:lnTo>
                      <a:pt x="4" y="160"/>
                    </a:lnTo>
                    <a:close/>
                    <a:moveTo>
                      <a:pt x="329" y="371"/>
                    </a:moveTo>
                    <a:lnTo>
                      <a:pt x="329" y="369"/>
                    </a:lnTo>
                    <a:lnTo>
                      <a:pt x="329" y="367"/>
                    </a:lnTo>
                    <a:lnTo>
                      <a:pt x="325" y="362"/>
                    </a:lnTo>
                    <a:lnTo>
                      <a:pt x="323" y="356"/>
                    </a:lnTo>
                    <a:lnTo>
                      <a:pt x="318" y="351"/>
                    </a:lnTo>
                    <a:lnTo>
                      <a:pt x="318" y="347"/>
                    </a:lnTo>
                    <a:lnTo>
                      <a:pt x="316" y="340"/>
                    </a:lnTo>
                    <a:lnTo>
                      <a:pt x="316" y="338"/>
                    </a:lnTo>
                    <a:lnTo>
                      <a:pt x="316" y="334"/>
                    </a:lnTo>
                    <a:lnTo>
                      <a:pt x="314" y="334"/>
                    </a:lnTo>
                    <a:lnTo>
                      <a:pt x="314" y="331"/>
                    </a:lnTo>
                    <a:lnTo>
                      <a:pt x="305" y="327"/>
                    </a:lnTo>
                    <a:lnTo>
                      <a:pt x="303" y="325"/>
                    </a:lnTo>
                    <a:lnTo>
                      <a:pt x="301" y="320"/>
                    </a:lnTo>
                    <a:lnTo>
                      <a:pt x="301" y="318"/>
                    </a:lnTo>
                    <a:lnTo>
                      <a:pt x="303" y="314"/>
                    </a:lnTo>
                    <a:lnTo>
                      <a:pt x="301" y="312"/>
                    </a:lnTo>
                    <a:lnTo>
                      <a:pt x="301" y="312"/>
                    </a:lnTo>
                    <a:lnTo>
                      <a:pt x="299" y="309"/>
                    </a:lnTo>
                    <a:lnTo>
                      <a:pt x="296" y="307"/>
                    </a:lnTo>
                    <a:lnTo>
                      <a:pt x="294" y="305"/>
                    </a:lnTo>
                    <a:lnTo>
                      <a:pt x="294" y="303"/>
                    </a:lnTo>
                    <a:lnTo>
                      <a:pt x="292" y="301"/>
                    </a:lnTo>
                    <a:lnTo>
                      <a:pt x="290" y="301"/>
                    </a:lnTo>
                    <a:lnTo>
                      <a:pt x="288" y="301"/>
                    </a:lnTo>
                    <a:lnTo>
                      <a:pt x="285" y="301"/>
                    </a:lnTo>
                    <a:lnTo>
                      <a:pt x="285" y="303"/>
                    </a:lnTo>
                    <a:lnTo>
                      <a:pt x="281" y="307"/>
                    </a:lnTo>
                    <a:lnTo>
                      <a:pt x="279" y="309"/>
                    </a:lnTo>
                    <a:lnTo>
                      <a:pt x="277" y="309"/>
                    </a:lnTo>
                    <a:lnTo>
                      <a:pt x="274" y="312"/>
                    </a:lnTo>
                    <a:lnTo>
                      <a:pt x="266" y="314"/>
                    </a:lnTo>
                    <a:lnTo>
                      <a:pt x="263" y="312"/>
                    </a:lnTo>
                    <a:lnTo>
                      <a:pt x="263" y="312"/>
                    </a:lnTo>
                    <a:lnTo>
                      <a:pt x="263" y="305"/>
                    </a:lnTo>
                    <a:lnTo>
                      <a:pt x="261" y="298"/>
                    </a:lnTo>
                    <a:lnTo>
                      <a:pt x="263" y="290"/>
                    </a:lnTo>
                    <a:lnTo>
                      <a:pt x="263" y="288"/>
                    </a:lnTo>
                    <a:lnTo>
                      <a:pt x="263" y="285"/>
                    </a:lnTo>
                    <a:lnTo>
                      <a:pt x="261" y="283"/>
                    </a:lnTo>
                    <a:lnTo>
                      <a:pt x="261" y="281"/>
                    </a:lnTo>
                    <a:lnTo>
                      <a:pt x="259" y="281"/>
                    </a:lnTo>
                    <a:lnTo>
                      <a:pt x="252" y="274"/>
                    </a:lnTo>
                    <a:lnTo>
                      <a:pt x="250" y="272"/>
                    </a:lnTo>
                    <a:lnTo>
                      <a:pt x="248" y="270"/>
                    </a:lnTo>
                    <a:lnTo>
                      <a:pt x="250" y="268"/>
                    </a:lnTo>
                    <a:lnTo>
                      <a:pt x="252" y="263"/>
                    </a:lnTo>
                    <a:lnTo>
                      <a:pt x="255" y="261"/>
                    </a:lnTo>
                    <a:lnTo>
                      <a:pt x="261" y="248"/>
                    </a:lnTo>
                    <a:lnTo>
                      <a:pt x="261" y="244"/>
                    </a:lnTo>
                    <a:lnTo>
                      <a:pt x="261" y="241"/>
                    </a:lnTo>
                    <a:lnTo>
                      <a:pt x="257" y="233"/>
                    </a:lnTo>
                    <a:lnTo>
                      <a:pt x="257" y="230"/>
                    </a:lnTo>
                    <a:lnTo>
                      <a:pt x="257" y="226"/>
                    </a:lnTo>
                    <a:lnTo>
                      <a:pt x="259" y="226"/>
                    </a:lnTo>
                    <a:lnTo>
                      <a:pt x="261" y="222"/>
                    </a:lnTo>
                    <a:lnTo>
                      <a:pt x="257" y="217"/>
                    </a:lnTo>
                    <a:lnTo>
                      <a:pt x="252" y="213"/>
                    </a:lnTo>
                    <a:lnTo>
                      <a:pt x="250" y="213"/>
                    </a:lnTo>
                    <a:lnTo>
                      <a:pt x="248" y="211"/>
                    </a:lnTo>
                    <a:lnTo>
                      <a:pt x="246" y="211"/>
                    </a:lnTo>
                    <a:lnTo>
                      <a:pt x="239" y="211"/>
                    </a:lnTo>
                    <a:lnTo>
                      <a:pt x="235" y="209"/>
                    </a:lnTo>
                    <a:lnTo>
                      <a:pt x="226" y="200"/>
                    </a:lnTo>
                    <a:lnTo>
                      <a:pt x="215" y="193"/>
                    </a:lnTo>
                    <a:lnTo>
                      <a:pt x="213" y="189"/>
                    </a:lnTo>
                    <a:lnTo>
                      <a:pt x="211" y="189"/>
                    </a:lnTo>
                    <a:lnTo>
                      <a:pt x="209" y="187"/>
                    </a:lnTo>
                    <a:lnTo>
                      <a:pt x="202" y="187"/>
                    </a:lnTo>
                    <a:lnTo>
                      <a:pt x="198" y="187"/>
                    </a:lnTo>
                    <a:lnTo>
                      <a:pt x="195" y="184"/>
                    </a:lnTo>
                    <a:lnTo>
                      <a:pt x="193" y="184"/>
                    </a:lnTo>
                    <a:lnTo>
                      <a:pt x="189" y="180"/>
                    </a:lnTo>
                    <a:lnTo>
                      <a:pt x="187" y="180"/>
                    </a:lnTo>
                    <a:lnTo>
                      <a:pt x="176" y="176"/>
                    </a:lnTo>
                    <a:lnTo>
                      <a:pt x="173" y="173"/>
                    </a:lnTo>
                    <a:lnTo>
                      <a:pt x="171" y="171"/>
                    </a:lnTo>
                    <a:lnTo>
                      <a:pt x="171" y="167"/>
                    </a:lnTo>
                    <a:lnTo>
                      <a:pt x="169" y="167"/>
                    </a:lnTo>
                    <a:lnTo>
                      <a:pt x="171" y="165"/>
                    </a:lnTo>
                    <a:lnTo>
                      <a:pt x="171" y="160"/>
                    </a:lnTo>
                    <a:lnTo>
                      <a:pt x="173" y="160"/>
                    </a:lnTo>
                    <a:lnTo>
                      <a:pt x="171" y="158"/>
                    </a:lnTo>
                    <a:lnTo>
                      <a:pt x="169" y="151"/>
                    </a:lnTo>
                    <a:lnTo>
                      <a:pt x="169" y="151"/>
                    </a:lnTo>
                    <a:lnTo>
                      <a:pt x="169" y="149"/>
                    </a:lnTo>
                    <a:lnTo>
                      <a:pt x="169" y="147"/>
                    </a:lnTo>
                    <a:lnTo>
                      <a:pt x="171" y="143"/>
                    </a:lnTo>
                    <a:lnTo>
                      <a:pt x="178" y="132"/>
                    </a:lnTo>
                    <a:lnTo>
                      <a:pt x="178" y="130"/>
                    </a:lnTo>
                    <a:lnTo>
                      <a:pt x="176" y="127"/>
                    </a:lnTo>
                    <a:lnTo>
                      <a:pt x="176" y="123"/>
                    </a:lnTo>
                    <a:lnTo>
                      <a:pt x="171" y="114"/>
                    </a:lnTo>
                    <a:lnTo>
                      <a:pt x="173" y="112"/>
                    </a:lnTo>
                    <a:lnTo>
                      <a:pt x="176" y="110"/>
                    </a:lnTo>
                    <a:lnTo>
                      <a:pt x="178" y="105"/>
                    </a:lnTo>
                    <a:lnTo>
                      <a:pt x="182" y="92"/>
                    </a:lnTo>
                    <a:lnTo>
                      <a:pt x="182" y="90"/>
                    </a:lnTo>
                    <a:lnTo>
                      <a:pt x="180" y="90"/>
                    </a:lnTo>
                    <a:lnTo>
                      <a:pt x="178" y="88"/>
                    </a:lnTo>
                    <a:lnTo>
                      <a:pt x="171" y="88"/>
                    </a:lnTo>
                    <a:lnTo>
                      <a:pt x="167" y="88"/>
                    </a:lnTo>
                    <a:lnTo>
                      <a:pt x="158" y="83"/>
                    </a:lnTo>
                    <a:lnTo>
                      <a:pt x="151" y="81"/>
                    </a:lnTo>
                    <a:lnTo>
                      <a:pt x="147" y="81"/>
                    </a:lnTo>
                    <a:lnTo>
                      <a:pt x="145" y="81"/>
                    </a:lnTo>
                    <a:lnTo>
                      <a:pt x="132" y="81"/>
                    </a:lnTo>
                    <a:lnTo>
                      <a:pt x="127" y="81"/>
                    </a:lnTo>
                    <a:lnTo>
                      <a:pt x="125" y="79"/>
                    </a:lnTo>
                    <a:lnTo>
                      <a:pt x="125" y="77"/>
                    </a:lnTo>
                    <a:lnTo>
                      <a:pt x="123" y="75"/>
                    </a:lnTo>
                    <a:lnTo>
                      <a:pt x="125" y="72"/>
                    </a:lnTo>
                    <a:lnTo>
                      <a:pt x="125" y="72"/>
                    </a:lnTo>
                    <a:lnTo>
                      <a:pt x="127" y="68"/>
                    </a:lnTo>
                    <a:lnTo>
                      <a:pt x="129" y="64"/>
                    </a:lnTo>
                    <a:lnTo>
                      <a:pt x="132" y="61"/>
                    </a:lnTo>
                    <a:lnTo>
                      <a:pt x="132" y="59"/>
                    </a:lnTo>
                    <a:lnTo>
                      <a:pt x="132" y="55"/>
                    </a:lnTo>
                    <a:lnTo>
                      <a:pt x="134" y="53"/>
                    </a:lnTo>
                    <a:lnTo>
                      <a:pt x="134" y="51"/>
                    </a:lnTo>
                    <a:lnTo>
                      <a:pt x="136" y="51"/>
                    </a:lnTo>
                    <a:lnTo>
                      <a:pt x="138" y="48"/>
                    </a:lnTo>
                    <a:lnTo>
                      <a:pt x="140" y="46"/>
                    </a:lnTo>
                    <a:lnTo>
                      <a:pt x="143" y="44"/>
                    </a:lnTo>
                    <a:lnTo>
                      <a:pt x="143" y="40"/>
                    </a:lnTo>
                    <a:lnTo>
                      <a:pt x="143" y="37"/>
                    </a:lnTo>
                    <a:lnTo>
                      <a:pt x="143" y="35"/>
                    </a:lnTo>
                    <a:lnTo>
                      <a:pt x="140" y="24"/>
                    </a:lnTo>
                    <a:lnTo>
                      <a:pt x="140" y="22"/>
                    </a:lnTo>
                    <a:lnTo>
                      <a:pt x="143" y="20"/>
                    </a:lnTo>
                    <a:lnTo>
                      <a:pt x="143" y="18"/>
                    </a:lnTo>
                    <a:lnTo>
                      <a:pt x="149" y="15"/>
                    </a:lnTo>
                    <a:lnTo>
                      <a:pt x="151" y="13"/>
                    </a:lnTo>
                    <a:lnTo>
                      <a:pt x="154" y="11"/>
                    </a:lnTo>
                    <a:lnTo>
                      <a:pt x="156" y="7"/>
                    </a:lnTo>
                    <a:lnTo>
                      <a:pt x="156" y="4"/>
                    </a:lnTo>
                    <a:lnTo>
                      <a:pt x="158" y="4"/>
                    </a:lnTo>
                    <a:lnTo>
                      <a:pt x="156" y="2"/>
                    </a:lnTo>
                    <a:lnTo>
                      <a:pt x="156" y="2"/>
                    </a:lnTo>
                    <a:lnTo>
                      <a:pt x="156" y="0"/>
                    </a:lnTo>
                    <a:lnTo>
                      <a:pt x="149" y="2"/>
                    </a:lnTo>
                    <a:lnTo>
                      <a:pt x="145" y="7"/>
                    </a:lnTo>
                    <a:lnTo>
                      <a:pt x="143" y="7"/>
                    </a:lnTo>
                    <a:lnTo>
                      <a:pt x="125" y="9"/>
                    </a:lnTo>
                    <a:lnTo>
                      <a:pt x="112" y="9"/>
                    </a:lnTo>
                    <a:lnTo>
                      <a:pt x="108" y="9"/>
                    </a:lnTo>
                    <a:lnTo>
                      <a:pt x="99" y="4"/>
                    </a:lnTo>
                    <a:lnTo>
                      <a:pt x="99" y="4"/>
                    </a:lnTo>
                    <a:lnTo>
                      <a:pt x="99" y="4"/>
                    </a:lnTo>
                    <a:lnTo>
                      <a:pt x="97" y="2"/>
                    </a:lnTo>
                    <a:lnTo>
                      <a:pt x="97" y="4"/>
                    </a:lnTo>
                    <a:lnTo>
                      <a:pt x="94" y="4"/>
                    </a:lnTo>
                    <a:lnTo>
                      <a:pt x="92" y="7"/>
                    </a:lnTo>
                    <a:lnTo>
                      <a:pt x="90" y="13"/>
                    </a:lnTo>
                    <a:lnTo>
                      <a:pt x="90" y="15"/>
                    </a:lnTo>
                    <a:lnTo>
                      <a:pt x="88" y="18"/>
                    </a:lnTo>
                    <a:lnTo>
                      <a:pt x="61" y="40"/>
                    </a:lnTo>
                    <a:lnTo>
                      <a:pt x="59" y="42"/>
                    </a:lnTo>
                    <a:lnTo>
                      <a:pt x="53" y="55"/>
                    </a:lnTo>
                    <a:lnTo>
                      <a:pt x="50" y="59"/>
                    </a:lnTo>
                    <a:lnTo>
                      <a:pt x="42" y="64"/>
                    </a:lnTo>
                    <a:lnTo>
                      <a:pt x="46" y="72"/>
                    </a:lnTo>
                    <a:lnTo>
                      <a:pt x="50" y="86"/>
                    </a:lnTo>
                    <a:lnTo>
                      <a:pt x="53" y="92"/>
                    </a:lnTo>
                    <a:lnTo>
                      <a:pt x="53" y="105"/>
                    </a:lnTo>
                    <a:lnTo>
                      <a:pt x="50" y="123"/>
                    </a:lnTo>
                    <a:lnTo>
                      <a:pt x="48" y="127"/>
                    </a:lnTo>
                    <a:lnTo>
                      <a:pt x="46" y="134"/>
                    </a:lnTo>
                    <a:lnTo>
                      <a:pt x="46" y="140"/>
                    </a:lnTo>
                    <a:lnTo>
                      <a:pt x="46" y="143"/>
                    </a:lnTo>
                    <a:lnTo>
                      <a:pt x="44" y="149"/>
                    </a:lnTo>
                    <a:lnTo>
                      <a:pt x="42" y="158"/>
                    </a:lnTo>
                    <a:lnTo>
                      <a:pt x="39" y="162"/>
                    </a:lnTo>
                    <a:lnTo>
                      <a:pt x="39" y="167"/>
                    </a:lnTo>
                    <a:lnTo>
                      <a:pt x="39" y="169"/>
                    </a:lnTo>
                    <a:lnTo>
                      <a:pt x="35" y="165"/>
                    </a:lnTo>
                    <a:lnTo>
                      <a:pt x="33" y="165"/>
                    </a:lnTo>
                    <a:lnTo>
                      <a:pt x="31" y="162"/>
                    </a:lnTo>
                    <a:lnTo>
                      <a:pt x="31" y="160"/>
                    </a:lnTo>
                    <a:lnTo>
                      <a:pt x="33" y="158"/>
                    </a:lnTo>
                    <a:lnTo>
                      <a:pt x="33" y="156"/>
                    </a:lnTo>
                    <a:lnTo>
                      <a:pt x="31" y="154"/>
                    </a:lnTo>
                    <a:lnTo>
                      <a:pt x="26" y="154"/>
                    </a:lnTo>
                    <a:lnTo>
                      <a:pt x="24" y="158"/>
                    </a:lnTo>
                    <a:lnTo>
                      <a:pt x="20" y="156"/>
                    </a:lnTo>
                    <a:lnTo>
                      <a:pt x="18" y="158"/>
                    </a:lnTo>
                    <a:lnTo>
                      <a:pt x="20" y="160"/>
                    </a:lnTo>
                    <a:lnTo>
                      <a:pt x="18" y="162"/>
                    </a:lnTo>
                    <a:lnTo>
                      <a:pt x="15" y="169"/>
                    </a:lnTo>
                    <a:lnTo>
                      <a:pt x="13" y="171"/>
                    </a:lnTo>
                    <a:lnTo>
                      <a:pt x="13" y="178"/>
                    </a:lnTo>
                    <a:lnTo>
                      <a:pt x="18" y="178"/>
                    </a:lnTo>
                    <a:lnTo>
                      <a:pt x="22" y="180"/>
                    </a:lnTo>
                    <a:lnTo>
                      <a:pt x="24" y="178"/>
                    </a:lnTo>
                    <a:lnTo>
                      <a:pt x="26" y="180"/>
                    </a:lnTo>
                    <a:lnTo>
                      <a:pt x="28" y="178"/>
                    </a:lnTo>
                    <a:lnTo>
                      <a:pt x="28" y="176"/>
                    </a:lnTo>
                    <a:lnTo>
                      <a:pt x="31" y="173"/>
                    </a:lnTo>
                    <a:lnTo>
                      <a:pt x="31" y="173"/>
                    </a:lnTo>
                    <a:lnTo>
                      <a:pt x="33" y="176"/>
                    </a:lnTo>
                    <a:lnTo>
                      <a:pt x="33" y="178"/>
                    </a:lnTo>
                    <a:lnTo>
                      <a:pt x="33" y="178"/>
                    </a:lnTo>
                    <a:lnTo>
                      <a:pt x="31" y="180"/>
                    </a:lnTo>
                    <a:lnTo>
                      <a:pt x="33" y="182"/>
                    </a:lnTo>
                    <a:lnTo>
                      <a:pt x="35" y="184"/>
                    </a:lnTo>
                    <a:lnTo>
                      <a:pt x="37" y="187"/>
                    </a:lnTo>
                    <a:lnTo>
                      <a:pt x="37" y="193"/>
                    </a:lnTo>
                    <a:lnTo>
                      <a:pt x="35" y="193"/>
                    </a:lnTo>
                    <a:lnTo>
                      <a:pt x="35" y="195"/>
                    </a:lnTo>
                    <a:lnTo>
                      <a:pt x="37" y="198"/>
                    </a:lnTo>
                    <a:lnTo>
                      <a:pt x="37" y="200"/>
                    </a:lnTo>
                    <a:lnTo>
                      <a:pt x="35" y="202"/>
                    </a:lnTo>
                    <a:lnTo>
                      <a:pt x="37" y="204"/>
                    </a:lnTo>
                    <a:lnTo>
                      <a:pt x="35" y="206"/>
                    </a:lnTo>
                    <a:lnTo>
                      <a:pt x="35" y="209"/>
                    </a:lnTo>
                    <a:lnTo>
                      <a:pt x="33" y="211"/>
                    </a:lnTo>
                    <a:lnTo>
                      <a:pt x="35" y="215"/>
                    </a:lnTo>
                    <a:lnTo>
                      <a:pt x="35" y="222"/>
                    </a:lnTo>
                    <a:lnTo>
                      <a:pt x="33" y="226"/>
                    </a:lnTo>
                    <a:lnTo>
                      <a:pt x="37" y="233"/>
                    </a:lnTo>
                    <a:lnTo>
                      <a:pt x="39" y="226"/>
                    </a:lnTo>
                    <a:lnTo>
                      <a:pt x="42" y="224"/>
                    </a:lnTo>
                    <a:lnTo>
                      <a:pt x="46" y="226"/>
                    </a:lnTo>
                    <a:lnTo>
                      <a:pt x="50" y="226"/>
                    </a:lnTo>
                    <a:lnTo>
                      <a:pt x="50" y="228"/>
                    </a:lnTo>
                    <a:lnTo>
                      <a:pt x="53" y="233"/>
                    </a:lnTo>
                    <a:lnTo>
                      <a:pt x="53" y="235"/>
                    </a:lnTo>
                    <a:lnTo>
                      <a:pt x="57" y="237"/>
                    </a:lnTo>
                    <a:lnTo>
                      <a:pt x="59" y="237"/>
                    </a:lnTo>
                    <a:lnTo>
                      <a:pt x="61" y="241"/>
                    </a:lnTo>
                    <a:lnTo>
                      <a:pt x="64" y="246"/>
                    </a:lnTo>
                    <a:lnTo>
                      <a:pt x="64" y="248"/>
                    </a:lnTo>
                    <a:lnTo>
                      <a:pt x="66" y="250"/>
                    </a:lnTo>
                    <a:lnTo>
                      <a:pt x="68" y="252"/>
                    </a:lnTo>
                    <a:lnTo>
                      <a:pt x="68" y="255"/>
                    </a:lnTo>
                    <a:lnTo>
                      <a:pt x="66" y="257"/>
                    </a:lnTo>
                    <a:lnTo>
                      <a:pt x="61" y="257"/>
                    </a:lnTo>
                    <a:lnTo>
                      <a:pt x="61" y="263"/>
                    </a:lnTo>
                    <a:lnTo>
                      <a:pt x="64" y="266"/>
                    </a:lnTo>
                    <a:lnTo>
                      <a:pt x="66" y="266"/>
                    </a:lnTo>
                    <a:lnTo>
                      <a:pt x="70" y="266"/>
                    </a:lnTo>
                    <a:lnTo>
                      <a:pt x="72" y="268"/>
                    </a:lnTo>
                    <a:lnTo>
                      <a:pt x="75" y="270"/>
                    </a:lnTo>
                    <a:lnTo>
                      <a:pt x="79" y="274"/>
                    </a:lnTo>
                    <a:lnTo>
                      <a:pt x="81" y="277"/>
                    </a:lnTo>
                    <a:lnTo>
                      <a:pt x="86" y="281"/>
                    </a:lnTo>
                    <a:lnTo>
                      <a:pt x="90" y="283"/>
                    </a:lnTo>
                    <a:lnTo>
                      <a:pt x="92" y="288"/>
                    </a:lnTo>
                    <a:lnTo>
                      <a:pt x="94" y="290"/>
                    </a:lnTo>
                    <a:lnTo>
                      <a:pt x="92" y="292"/>
                    </a:lnTo>
                    <a:lnTo>
                      <a:pt x="92" y="294"/>
                    </a:lnTo>
                    <a:lnTo>
                      <a:pt x="92" y="296"/>
                    </a:lnTo>
                    <a:lnTo>
                      <a:pt x="94" y="296"/>
                    </a:lnTo>
                    <a:lnTo>
                      <a:pt x="97" y="301"/>
                    </a:lnTo>
                    <a:lnTo>
                      <a:pt x="99" y="305"/>
                    </a:lnTo>
                    <a:lnTo>
                      <a:pt x="101" y="309"/>
                    </a:lnTo>
                    <a:lnTo>
                      <a:pt x="101" y="314"/>
                    </a:lnTo>
                    <a:lnTo>
                      <a:pt x="101" y="318"/>
                    </a:lnTo>
                    <a:lnTo>
                      <a:pt x="103" y="323"/>
                    </a:lnTo>
                    <a:lnTo>
                      <a:pt x="110" y="325"/>
                    </a:lnTo>
                    <a:lnTo>
                      <a:pt x="112" y="327"/>
                    </a:lnTo>
                    <a:lnTo>
                      <a:pt x="114" y="327"/>
                    </a:lnTo>
                    <a:lnTo>
                      <a:pt x="114" y="329"/>
                    </a:lnTo>
                    <a:lnTo>
                      <a:pt x="116" y="331"/>
                    </a:lnTo>
                    <a:lnTo>
                      <a:pt x="116" y="334"/>
                    </a:lnTo>
                    <a:lnTo>
                      <a:pt x="119" y="334"/>
                    </a:lnTo>
                    <a:lnTo>
                      <a:pt x="121" y="336"/>
                    </a:lnTo>
                    <a:lnTo>
                      <a:pt x="123" y="336"/>
                    </a:lnTo>
                    <a:lnTo>
                      <a:pt x="123" y="338"/>
                    </a:lnTo>
                    <a:lnTo>
                      <a:pt x="125" y="338"/>
                    </a:lnTo>
                    <a:lnTo>
                      <a:pt x="134" y="342"/>
                    </a:lnTo>
                    <a:lnTo>
                      <a:pt x="143" y="349"/>
                    </a:lnTo>
                    <a:lnTo>
                      <a:pt x="147" y="351"/>
                    </a:lnTo>
                    <a:lnTo>
                      <a:pt x="149" y="353"/>
                    </a:lnTo>
                    <a:lnTo>
                      <a:pt x="156" y="358"/>
                    </a:lnTo>
                    <a:lnTo>
                      <a:pt x="171" y="364"/>
                    </a:lnTo>
                    <a:lnTo>
                      <a:pt x="178" y="371"/>
                    </a:lnTo>
                    <a:lnTo>
                      <a:pt x="180" y="373"/>
                    </a:lnTo>
                    <a:lnTo>
                      <a:pt x="180" y="377"/>
                    </a:lnTo>
                    <a:lnTo>
                      <a:pt x="180" y="380"/>
                    </a:lnTo>
                    <a:lnTo>
                      <a:pt x="182" y="382"/>
                    </a:lnTo>
                    <a:lnTo>
                      <a:pt x="189" y="386"/>
                    </a:lnTo>
                    <a:lnTo>
                      <a:pt x="189" y="388"/>
                    </a:lnTo>
                    <a:lnTo>
                      <a:pt x="191" y="393"/>
                    </a:lnTo>
                    <a:lnTo>
                      <a:pt x="200" y="404"/>
                    </a:lnTo>
                    <a:lnTo>
                      <a:pt x="202" y="408"/>
                    </a:lnTo>
                    <a:lnTo>
                      <a:pt x="202" y="413"/>
                    </a:lnTo>
                    <a:lnTo>
                      <a:pt x="206" y="415"/>
                    </a:lnTo>
                    <a:lnTo>
                      <a:pt x="215" y="415"/>
                    </a:lnTo>
                    <a:lnTo>
                      <a:pt x="220" y="417"/>
                    </a:lnTo>
                    <a:lnTo>
                      <a:pt x="228" y="426"/>
                    </a:lnTo>
                    <a:lnTo>
                      <a:pt x="230" y="428"/>
                    </a:lnTo>
                    <a:lnTo>
                      <a:pt x="230" y="430"/>
                    </a:lnTo>
                    <a:lnTo>
                      <a:pt x="230" y="432"/>
                    </a:lnTo>
                    <a:lnTo>
                      <a:pt x="230" y="435"/>
                    </a:lnTo>
                    <a:lnTo>
                      <a:pt x="228" y="435"/>
                    </a:lnTo>
                    <a:lnTo>
                      <a:pt x="224" y="435"/>
                    </a:lnTo>
                    <a:lnTo>
                      <a:pt x="228" y="439"/>
                    </a:lnTo>
                    <a:lnTo>
                      <a:pt x="237" y="443"/>
                    </a:lnTo>
                    <a:lnTo>
                      <a:pt x="241" y="446"/>
                    </a:lnTo>
                    <a:lnTo>
                      <a:pt x="246" y="450"/>
                    </a:lnTo>
                    <a:lnTo>
                      <a:pt x="244" y="452"/>
                    </a:lnTo>
                    <a:lnTo>
                      <a:pt x="241" y="454"/>
                    </a:lnTo>
                    <a:lnTo>
                      <a:pt x="237" y="457"/>
                    </a:lnTo>
                    <a:lnTo>
                      <a:pt x="237" y="457"/>
                    </a:lnTo>
                    <a:lnTo>
                      <a:pt x="237" y="459"/>
                    </a:lnTo>
                    <a:lnTo>
                      <a:pt x="241" y="459"/>
                    </a:lnTo>
                    <a:lnTo>
                      <a:pt x="241" y="459"/>
                    </a:lnTo>
                    <a:lnTo>
                      <a:pt x="244" y="463"/>
                    </a:lnTo>
                    <a:lnTo>
                      <a:pt x="246" y="463"/>
                    </a:lnTo>
                    <a:lnTo>
                      <a:pt x="250" y="463"/>
                    </a:lnTo>
                    <a:lnTo>
                      <a:pt x="252" y="465"/>
                    </a:lnTo>
                    <a:lnTo>
                      <a:pt x="255" y="467"/>
                    </a:lnTo>
                    <a:lnTo>
                      <a:pt x="259" y="470"/>
                    </a:lnTo>
                    <a:lnTo>
                      <a:pt x="259" y="470"/>
                    </a:lnTo>
                    <a:lnTo>
                      <a:pt x="270" y="454"/>
                    </a:lnTo>
                    <a:lnTo>
                      <a:pt x="270" y="452"/>
                    </a:lnTo>
                    <a:lnTo>
                      <a:pt x="272" y="448"/>
                    </a:lnTo>
                    <a:lnTo>
                      <a:pt x="272" y="446"/>
                    </a:lnTo>
                    <a:lnTo>
                      <a:pt x="281" y="432"/>
                    </a:lnTo>
                    <a:lnTo>
                      <a:pt x="285" y="428"/>
                    </a:lnTo>
                    <a:lnTo>
                      <a:pt x="325" y="404"/>
                    </a:lnTo>
                    <a:lnTo>
                      <a:pt x="329" y="386"/>
                    </a:lnTo>
                    <a:lnTo>
                      <a:pt x="331" y="384"/>
                    </a:lnTo>
                    <a:lnTo>
                      <a:pt x="331" y="377"/>
                    </a:lnTo>
                    <a:lnTo>
                      <a:pt x="329" y="371"/>
                    </a:lnTo>
                    <a:lnTo>
                      <a:pt x="329" y="371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41" name="Freeform 16"/>
              <p:cNvSpPr>
                <a:spLocks/>
              </p:cNvSpPr>
              <p:nvPr/>
            </p:nvSpPr>
            <p:spPr bwMode="auto">
              <a:xfrm>
                <a:off x="5889625" y="4365625"/>
                <a:ext cx="1066800" cy="1250950"/>
              </a:xfrm>
              <a:custGeom>
                <a:avLst/>
                <a:gdLst>
                  <a:gd name="T0" fmla="*/ 633 w 672"/>
                  <a:gd name="T1" fmla="*/ 342 h 788"/>
                  <a:gd name="T2" fmla="*/ 639 w 672"/>
                  <a:gd name="T3" fmla="*/ 362 h 788"/>
                  <a:gd name="T4" fmla="*/ 490 w 672"/>
                  <a:gd name="T5" fmla="*/ 329 h 788"/>
                  <a:gd name="T6" fmla="*/ 437 w 672"/>
                  <a:gd name="T7" fmla="*/ 316 h 788"/>
                  <a:gd name="T8" fmla="*/ 382 w 672"/>
                  <a:gd name="T9" fmla="*/ 270 h 788"/>
                  <a:gd name="T10" fmla="*/ 367 w 672"/>
                  <a:gd name="T11" fmla="*/ 213 h 788"/>
                  <a:gd name="T12" fmla="*/ 336 w 672"/>
                  <a:gd name="T13" fmla="*/ 180 h 788"/>
                  <a:gd name="T14" fmla="*/ 297 w 672"/>
                  <a:gd name="T15" fmla="*/ 149 h 788"/>
                  <a:gd name="T16" fmla="*/ 332 w 672"/>
                  <a:gd name="T17" fmla="*/ 33 h 788"/>
                  <a:gd name="T18" fmla="*/ 310 w 672"/>
                  <a:gd name="T19" fmla="*/ 18 h 788"/>
                  <a:gd name="T20" fmla="*/ 270 w 672"/>
                  <a:gd name="T21" fmla="*/ 37 h 788"/>
                  <a:gd name="T22" fmla="*/ 240 w 672"/>
                  <a:gd name="T23" fmla="*/ 35 h 788"/>
                  <a:gd name="T24" fmla="*/ 224 w 672"/>
                  <a:gd name="T25" fmla="*/ 31 h 788"/>
                  <a:gd name="T26" fmla="*/ 191 w 672"/>
                  <a:gd name="T27" fmla="*/ 20 h 788"/>
                  <a:gd name="T28" fmla="*/ 183 w 672"/>
                  <a:gd name="T29" fmla="*/ 0 h 788"/>
                  <a:gd name="T30" fmla="*/ 130 w 672"/>
                  <a:gd name="T31" fmla="*/ 20 h 788"/>
                  <a:gd name="T32" fmla="*/ 55 w 672"/>
                  <a:gd name="T33" fmla="*/ 81 h 788"/>
                  <a:gd name="T34" fmla="*/ 71 w 672"/>
                  <a:gd name="T35" fmla="*/ 90 h 788"/>
                  <a:gd name="T36" fmla="*/ 88 w 672"/>
                  <a:gd name="T37" fmla="*/ 108 h 788"/>
                  <a:gd name="T38" fmla="*/ 66 w 672"/>
                  <a:gd name="T39" fmla="*/ 178 h 788"/>
                  <a:gd name="T40" fmla="*/ 20 w 672"/>
                  <a:gd name="T41" fmla="*/ 204 h 788"/>
                  <a:gd name="T42" fmla="*/ 20 w 672"/>
                  <a:gd name="T43" fmla="*/ 237 h 788"/>
                  <a:gd name="T44" fmla="*/ 40 w 672"/>
                  <a:gd name="T45" fmla="*/ 272 h 788"/>
                  <a:gd name="T46" fmla="*/ 62 w 672"/>
                  <a:gd name="T47" fmla="*/ 296 h 788"/>
                  <a:gd name="T48" fmla="*/ 73 w 672"/>
                  <a:gd name="T49" fmla="*/ 331 h 788"/>
                  <a:gd name="T50" fmla="*/ 77 w 672"/>
                  <a:gd name="T51" fmla="*/ 360 h 788"/>
                  <a:gd name="T52" fmla="*/ 121 w 672"/>
                  <a:gd name="T53" fmla="*/ 406 h 788"/>
                  <a:gd name="T54" fmla="*/ 150 w 672"/>
                  <a:gd name="T55" fmla="*/ 426 h 788"/>
                  <a:gd name="T56" fmla="*/ 174 w 672"/>
                  <a:gd name="T57" fmla="*/ 421 h 788"/>
                  <a:gd name="T58" fmla="*/ 198 w 672"/>
                  <a:gd name="T59" fmla="*/ 417 h 788"/>
                  <a:gd name="T60" fmla="*/ 235 w 672"/>
                  <a:gd name="T61" fmla="*/ 437 h 788"/>
                  <a:gd name="T62" fmla="*/ 273 w 672"/>
                  <a:gd name="T63" fmla="*/ 454 h 788"/>
                  <a:gd name="T64" fmla="*/ 297 w 672"/>
                  <a:gd name="T65" fmla="*/ 470 h 788"/>
                  <a:gd name="T66" fmla="*/ 339 w 672"/>
                  <a:gd name="T67" fmla="*/ 496 h 788"/>
                  <a:gd name="T68" fmla="*/ 341 w 672"/>
                  <a:gd name="T69" fmla="*/ 579 h 788"/>
                  <a:gd name="T70" fmla="*/ 314 w 672"/>
                  <a:gd name="T71" fmla="*/ 612 h 788"/>
                  <a:gd name="T72" fmla="*/ 288 w 672"/>
                  <a:gd name="T73" fmla="*/ 626 h 788"/>
                  <a:gd name="T74" fmla="*/ 273 w 672"/>
                  <a:gd name="T75" fmla="*/ 641 h 788"/>
                  <a:gd name="T76" fmla="*/ 275 w 672"/>
                  <a:gd name="T77" fmla="*/ 669 h 788"/>
                  <a:gd name="T78" fmla="*/ 330 w 672"/>
                  <a:gd name="T79" fmla="*/ 689 h 788"/>
                  <a:gd name="T80" fmla="*/ 347 w 672"/>
                  <a:gd name="T81" fmla="*/ 700 h 788"/>
                  <a:gd name="T82" fmla="*/ 360 w 672"/>
                  <a:gd name="T83" fmla="*/ 685 h 788"/>
                  <a:gd name="T84" fmla="*/ 358 w 672"/>
                  <a:gd name="T85" fmla="*/ 665 h 788"/>
                  <a:gd name="T86" fmla="*/ 380 w 672"/>
                  <a:gd name="T87" fmla="*/ 680 h 788"/>
                  <a:gd name="T88" fmla="*/ 400 w 672"/>
                  <a:gd name="T89" fmla="*/ 698 h 788"/>
                  <a:gd name="T90" fmla="*/ 391 w 672"/>
                  <a:gd name="T91" fmla="*/ 713 h 788"/>
                  <a:gd name="T92" fmla="*/ 422 w 672"/>
                  <a:gd name="T93" fmla="*/ 744 h 788"/>
                  <a:gd name="T94" fmla="*/ 446 w 672"/>
                  <a:gd name="T95" fmla="*/ 740 h 788"/>
                  <a:gd name="T96" fmla="*/ 457 w 672"/>
                  <a:gd name="T97" fmla="*/ 731 h 788"/>
                  <a:gd name="T98" fmla="*/ 490 w 672"/>
                  <a:gd name="T99" fmla="*/ 746 h 788"/>
                  <a:gd name="T100" fmla="*/ 510 w 672"/>
                  <a:gd name="T101" fmla="*/ 737 h 788"/>
                  <a:gd name="T102" fmla="*/ 519 w 672"/>
                  <a:gd name="T103" fmla="*/ 757 h 788"/>
                  <a:gd name="T104" fmla="*/ 543 w 672"/>
                  <a:gd name="T105" fmla="*/ 786 h 788"/>
                  <a:gd name="T106" fmla="*/ 556 w 672"/>
                  <a:gd name="T107" fmla="*/ 757 h 788"/>
                  <a:gd name="T108" fmla="*/ 552 w 672"/>
                  <a:gd name="T109" fmla="*/ 733 h 788"/>
                  <a:gd name="T110" fmla="*/ 552 w 672"/>
                  <a:gd name="T111" fmla="*/ 696 h 788"/>
                  <a:gd name="T112" fmla="*/ 538 w 672"/>
                  <a:gd name="T113" fmla="*/ 676 h 788"/>
                  <a:gd name="T114" fmla="*/ 538 w 672"/>
                  <a:gd name="T115" fmla="*/ 656 h 788"/>
                  <a:gd name="T116" fmla="*/ 554 w 672"/>
                  <a:gd name="T117" fmla="*/ 641 h 788"/>
                  <a:gd name="T118" fmla="*/ 571 w 672"/>
                  <a:gd name="T119" fmla="*/ 615 h 788"/>
                  <a:gd name="T120" fmla="*/ 582 w 672"/>
                  <a:gd name="T121" fmla="*/ 540 h 788"/>
                  <a:gd name="T122" fmla="*/ 611 w 672"/>
                  <a:gd name="T123" fmla="*/ 492 h 788"/>
                  <a:gd name="T124" fmla="*/ 668 w 672"/>
                  <a:gd name="T125" fmla="*/ 395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72" h="788">
                    <a:moveTo>
                      <a:pt x="666" y="375"/>
                    </a:moveTo>
                    <a:lnTo>
                      <a:pt x="666" y="367"/>
                    </a:lnTo>
                    <a:lnTo>
                      <a:pt x="672" y="347"/>
                    </a:lnTo>
                    <a:lnTo>
                      <a:pt x="666" y="345"/>
                    </a:lnTo>
                    <a:lnTo>
                      <a:pt x="659" y="345"/>
                    </a:lnTo>
                    <a:lnTo>
                      <a:pt x="650" y="345"/>
                    </a:lnTo>
                    <a:lnTo>
                      <a:pt x="642" y="342"/>
                    </a:lnTo>
                    <a:lnTo>
                      <a:pt x="635" y="342"/>
                    </a:lnTo>
                    <a:lnTo>
                      <a:pt x="633" y="342"/>
                    </a:lnTo>
                    <a:lnTo>
                      <a:pt x="631" y="345"/>
                    </a:lnTo>
                    <a:lnTo>
                      <a:pt x="628" y="347"/>
                    </a:lnTo>
                    <a:lnTo>
                      <a:pt x="631" y="349"/>
                    </a:lnTo>
                    <a:lnTo>
                      <a:pt x="633" y="351"/>
                    </a:lnTo>
                    <a:lnTo>
                      <a:pt x="635" y="353"/>
                    </a:lnTo>
                    <a:lnTo>
                      <a:pt x="639" y="356"/>
                    </a:lnTo>
                    <a:lnTo>
                      <a:pt x="642" y="358"/>
                    </a:lnTo>
                    <a:lnTo>
                      <a:pt x="642" y="360"/>
                    </a:lnTo>
                    <a:lnTo>
                      <a:pt x="639" y="362"/>
                    </a:lnTo>
                    <a:lnTo>
                      <a:pt x="635" y="364"/>
                    </a:lnTo>
                    <a:lnTo>
                      <a:pt x="611" y="364"/>
                    </a:lnTo>
                    <a:lnTo>
                      <a:pt x="560" y="356"/>
                    </a:lnTo>
                    <a:lnTo>
                      <a:pt x="554" y="356"/>
                    </a:lnTo>
                    <a:lnTo>
                      <a:pt x="547" y="356"/>
                    </a:lnTo>
                    <a:lnTo>
                      <a:pt x="545" y="356"/>
                    </a:lnTo>
                    <a:lnTo>
                      <a:pt x="523" y="340"/>
                    </a:lnTo>
                    <a:lnTo>
                      <a:pt x="519" y="338"/>
                    </a:lnTo>
                    <a:lnTo>
                      <a:pt x="490" y="329"/>
                    </a:lnTo>
                    <a:lnTo>
                      <a:pt x="470" y="323"/>
                    </a:lnTo>
                    <a:lnTo>
                      <a:pt x="468" y="320"/>
                    </a:lnTo>
                    <a:lnTo>
                      <a:pt x="464" y="318"/>
                    </a:lnTo>
                    <a:lnTo>
                      <a:pt x="461" y="316"/>
                    </a:lnTo>
                    <a:lnTo>
                      <a:pt x="459" y="316"/>
                    </a:lnTo>
                    <a:lnTo>
                      <a:pt x="455" y="316"/>
                    </a:lnTo>
                    <a:lnTo>
                      <a:pt x="446" y="316"/>
                    </a:lnTo>
                    <a:lnTo>
                      <a:pt x="442" y="316"/>
                    </a:lnTo>
                    <a:lnTo>
                      <a:pt x="437" y="316"/>
                    </a:lnTo>
                    <a:lnTo>
                      <a:pt x="402" y="305"/>
                    </a:lnTo>
                    <a:lnTo>
                      <a:pt x="398" y="303"/>
                    </a:lnTo>
                    <a:lnTo>
                      <a:pt x="393" y="299"/>
                    </a:lnTo>
                    <a:lnTo>
                      <a:pt x="389" y="294"/>
                    </a:lnTo>
                    <a:lnTo>
                      <a:pt x="385" y="283"/>
                    </a:lnTo>
                    <a:lnTo>
                      <a:pt x="382" y="281"/>
                    </a:lnTo>
                    <a:lnTo>
                      <a:pt x="382" y="279"/>
                    </a:lnTo>
                    <a:lnTo>
                      <a:pt x="382" y="272"/>
                    </a:lnTo>
                    <a:lnTo>
                      <a:pt x="382" y="270"/>
                    </a:lnTo>
                    <a:lnTo>
                      <a:pt x="387" y="261"/>
                    </a:lnTo>
                    <a:lnTo>
                      <a:pt x="387" y="257"/>
                    </a:lnTo>
                    <a:lnTo>
                      <a:pt x="385" y="250"/>
                    </a:lnTo>
                    <a:lnTo>
                      <a:pt x="382" y="241"/>
                    </a:lnTo>
                    <a:lnTo>
                      <a:pt x="376" y="228"/>
                    </a:lnTo>
                    <a:lnTo>
                      <a:pt x="371" y="220"/>
                    </a:lnTo>
                    <a:lnTo>
                      <a:pt x="369" y="217"/>
                    </a:lnTo>
                    <a:lnTo>
                      <a:pt x="367" y="213"/>
                    </a:lnTo>
                    <a:lnTo>
                      <a:pt x="367" y="213"/>
                    </a:lnTo>
                    <a:lnTo>
                      <a:pt x="365" y="213"/>
                    </a:lnTo>
                    <a:lnTo>
                      <a:pt x="363" y="211"/>
                    </a:lnTo>
                    <a:lnTo>
                      <a:pt x="358" y="211"/>
                    </a:lnTo>
                    <a:lnTo>
                      <a:pt x="354" y="211"/>
                    </a:lnTo>
                    <a:lnTo>
                      <a:pt x="347" y="209"/>
                    </a:lnTo>
                    <a:lnTo>
                      <a:pt x="345" y="206"/>
                    </a:lnTo>
                    <a:lnTo>
                      <a:pt x="345" y="204"/>
                    </a:lnTo>
                    <a:lnTo>
                      <a:pt x="343" y="200"/>
                    </a:lnTo>
                    <a:lnTo>
                      <a:pt x="336" y="180"/>
                    </a:lnTo>
                    <a:lnTo>
                      <a:pt x="336" y="176"/>
                    </a:lnTo>
                    <a:lnTo>
                      <a:pt x="334" y="173"/>
                    </a:lnTo>
                    <a:lnTo>
                      <a:pt x="332" y="171"/>
                    </a:lnTo>
                    <a:lnTo>
                      <a:pt x="319" y="165"/>
                    </a:lnTo>
                    <a:lnTo>
                      <a:pt x="303" y="156"/>
                    </a:lnTo>
                    <a:lnTo>
                      <a:pt x="299" y="151"/>
                    </a:lnTo>
                    <a:lnTo>
                      <a:pt x="299" y="151"/>
                    </a:lnTo>
                    <a:lnTo>
                      <a:pt x="299" y="149"/>
                    </a:lnTo>
                    <a:lnTo>
                      <a:pt x="297" y="149"/>
                    </a:lnTo>
                    <a:lnTo>
                      <a:pt x="295" y="132"/>
                    </a:lnTo>
                    <a:lnTo>
                      <a:pt x="295" y="130"/>
                    </a:lnTo>
                    <a:lnTo>
                      <a:pt x="297" y="123"/>
                    </a:lnTo>
                    <a:lnTo>
                      <a:pt x="297" y="116"/>
                    </a:lnTo>
                    <a:lnTo>
                      <a:pt x="299" y="105"/>
                    </a:lnTo>
                    <a:lnTo>
                      <a:pt x="301" y="99"/>
                    </a:lnTo>
                    <a:lnTo>
                      <a:pt x="303" y="88"/>
                    </a:lnTo>
                    <a:lnTo>
                      <a:pt x="328" y="42"/>
                    </a:lnTo>
                    <a:lnTo>
                      <a:pt x="332" y="33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28" y="20"/>
                    </a:lnTo>
                    <a:lnTo>
                      <a:pt x="325" y="20"/>
                    </a:lnTo>
                    <a:lnTo>
                      <a:pt x="321" y="20"/>
                    </a:lnTo>
                    <a:lnTo>
                      <a:pt x="319" y="20"/>
                    </a:lnTo>
                    <a:lnTo>
                      <a:pt x="317" y="20"/>
                    </a:lnTo>
                    <a:lnTo>
                      <a:pt x="312" y="18"/>
                    </a:lnTo>
                    <a:lnTo>
                      <a:pt x="310" y="18"/>
                    </a:lnTo>
                    <a:lnTo>
                      <a:pt x="310" y="18"/>
                    </a:lnTo>
                    <a:lnTo>
                      <a:pt x="297" y="22"/>
                    </a:lnTo>
                    <a:lnTo>
                      <a:pt x="290" y="24"/>
                    </a:lnTo>
                    <a:lnTo>
                      <a:pt x="286" y="26"/>
                    </a:lnTo>
                    <a:lnTo>
                      <a:pt x="279" y="33"/>
                    </a:lnTo>
                    <a:lnTo>
                      <a:pt x="277" y="33"/>
                    </a:lnTo>
                    <a:lnTo>
                      <a:pt x="273" y="35"/>
                    </a:lnTo>
                    <a:lnTo>
                      <a:pt x="270" y="37"/>
                    </a:lnTo>
                    <a:lnTo>
                      <a:pt x="270" y="37"/>
                    </a:lnTo>
                    <a:lnTo>
                      <a:pt x="268" y="40"/>
                    </a:lnTo>
                    <a:lnTo>
                      <a:pt x="266" y="42"/>
                    </a:lnTo>
                    <a:lnTo>
                      <a:pt x="264" y="42"/>
                    </a:lnTo>
                    <a:lnTo>
                      <a:pt x="257" y="42"/>
                    </a:lnTo>
                    <a:lnTo>
                      <a:pt x="251" y="42"/>
                    </a:lnTo>
                    <a:lnTo>
                      <a:pt x="249" y="40"/>
                    </a:lnTo>
                    <a:lnTo>
                      <a:pt x="246" y="40"/>
                    </a:lnTo>
                    <a:lnTo>
                      <a:pt x="242" y="35"/>
                    </a:lnTo>
                    <a:lnTo>
                      <a:pt x="240" y="35"/>
                    </a:lnTo>
                    <a:lnTo>
                      <a:pt x="238" y="35"/>
                    </a:lnTo>
                    <a:lnTo>
                      <a:pt x="235" y="35"/>
                    </a:lnTo>
                    <a:lnTo>
                      <a:pt x="235" y="33"/>
                    </a:lnTo>
                    <a:lnTo>
                      <a:pt x="235" y="31"/>
                    </a:lnTo>
                    <a:lnTo>
                      <a:pt x="233" y="29"/>
                    </a:lnTo>
                    <a:lnTo>
                      <a:pt x="231" y="29"/>
                    </a:lnTo>
                    <a:lnTo>
                      <a:pt x="229" y="29"/>
                    </a:lnTo>
                    <a:lnTo>
                      <a:pt x="227" y="29"/>
                    </a:lnTo>
                    <a:lnTo>
                      <a:pt x="224" y="31"/>
                    </a:lnTo>
                    <a:lnTo>
                      <a:pt x="222" y="31"/>
                    </a:lnTo>
                    <a:lnTo>
                      <a:pt x="220" y="31"/>
                    </a:lnTo>
                    <a:lnTo>
                      <a:pt x="218" y="31"/>
                    </a:lnTo>
                    <a:lnTo>
                      <a:pt x="213" y="31"/>
                    </a:lnTo>
                    <a:lnTo>
                      <a:pt x="211" y="31"/>
                    </a:lnTo>
                    <a:lnTo>
                      <a:pt x="207" y="26"/>
                    </a:lnTo>
                    <a:lnTo>
                      <a:pt x="205" y="26"/>
                    </a:lnTo>
                    <a:lnTo>
                      <a:pt x="196" y="24"/>
                    </a:lnTo>
                    <a:lnTo>
                      <a:pt x="191" y="20"/>
                    </a:lnTo>
                    <a:lnTo>
                      <a:pt x="191" y="18"/>
                    </a:lnTo>
                    <a:lnTo>
                      <a:pt x="191" y="13"/>
                    </a:lnTo>
                    <a:lnTo>
                      <a:pt x="189" y="13"/>
                    </a:lnTo>
                    <a:lnTo>
                      <a:pt x="187" y="11"/>
                    </a:lnTo>
                    <a:lnTo>
                      <a:pt x="187" y="9"/>
                    </a:lnTo>
                    <a:lnTo>
                      <a:pt x="185" y="7"/>
                    </a:lnTo>
                    <a:lnTo>
                      <a:pt x="185" y="4"/>
                    </a:lnTo>
                    <a:lnTo>
                      <a:pt x="185" y="2"/>
                    </a:lnTo>
                    <a:lnTo>
                      <a:pt x="183" y="0"/>
                    </a:lnTo>
                    <a:lnTo>
                      <a:pt x="180" y="0"/>
                    </a:lnTo>
                    <a:lnTo>
                      <a:pt x="178" y="0"/>
                    </a:lnTo>
                    <a:lnTo>
                      <a:pt x="178" y="2"/>
                    </a:lnTo>
                    <a:lnTo>
                      <a:pt x="172" y="11"/>
                    </a:lnTo>
                    <a:lnTo>
                      <a:pt x="169" y="11"/>
                    </a:lnTo>
                    <a:lnTo>
                      <a:pt x="167" y="13"/>
                    </a:lnTo>
                    <a:lnTo>
                      <a:pt x="163" y="15"/>
                    </a:lnTo>
                    <a:lnTo>
                      <a:pt x="154" y="18"/>
                    </a:lnTo>
                    <a:lnTo>
                      <a:pt x="130" y="20"/>
                    </a:lnTo>
                    <a:lnTo>
                      <a:pt x="117" y="20"/>
                    </a:lnTo>
                    <a:lnTo>
                      <a:pt x="112" y="22"/>
                    </a:lnTo>
                    <a:lnTo>
                      <a:pt x="104" y="24"/>
                    </a:lnTo>
                    <a:lnTo>
                      <a:pt x="99" y="22"/>
                    </a:lnTo>
                    <a:lnTo>
                      <a:pt x="97" y="29"/>
                    </a:lnTo>
                    <a:lnTo>
                      <a:pt x="88" y="46"/>
                    </a:lnTo>
                    <a:lnTo>
                      <a:pt x="79" y="62"/>
                    </a:lnTo>
                    <a:lnTo>
                      <a:pt x="62" y="77"/>
                    </a:lnTo>
                    <a:lnTo>
                      <a:pt x="55" y="81"/>
                    </a:lnTo>
                    <a:lnTo>
                      <a:pt x="53" y="81"/>
                    </a:lnTo>
                    <a:lnTo>
                      <a:pt x="53" y="83"/>
                    </a:lnTo>
                    <a:lnTo>
                      <a:pt x="53" y="86"/>
                    </a:lnTo>
                    <a:lnTo>
                      <a:pt x="53" y="86"/>
                    </a:lnTo>
                    <a:lnTo>
                      <a:pt x="55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4" y="88"/>
                    </a:lnTo>
                    <a:lnTo>
                      <a:pt x="71" y="90"/>
                    </a:lnTo>
                    <a:lnTo>
                      <a:pt x="77" y="92"/>
                    </a:lnTo>
                    <a:lnTo>
                      <a:pt x="79" y="92"/>
                    </a:lnTo>
                    <a:lnTo>
                      <a:pt x="82" y="94"/>
                    </a:lnTo>
                    <a:lnTo>
                      <a:pt x="86" y="99"/>
                    </a:lnTo>
                    <a:lnTo>
                      <a:pt x="88" y="99"/>
                    </a:lnTo>
                    <a:lnTo>
                      <a:pt x="88" y="101"/>
                    </a:lnTo>
                    <a:lnTo>
                      <a:pt x="88" y="103"/>
                    </a:lnTo>
                    <a:lnTo>
                      <a:pt x="88" y="105"/>
                    </a:lnTo>
                    <a:lnTo>
                      <a:pt x="88" y="108"/>
                    </a:lnTo>
                    <a:lnTo>
                      <a:pt x="86" y="125"/>
                    </a:lnTo>
                    <a:lnTo>
                      <a:pt x="86" y="125"/>
                    </a:lnTo>
                    <a:lnTo>
                      <a:pt x="68" y="154"/>
                    </a:lnTo>
                    <a:lnTo>
                      <a:pt x="66" y="154"/>
                    </a:lnTo>
                    <a:lnTo>
                      <a:pt x="66" y="158"/>
                    </a:lnTo>
                    <a:lnTo>
                      <a:pt x="66" y="160"/>
                    </a:lnTo>
                    <a:lnTo>
                      <a:pt x="66" y="169"/>
                    </a:lnTo>
                    <a:lnTo>
                      <a:pt x="66" y="173"/>
                    </a:lnTo>
                    <a:lnTo>
                      <a:pt x="66" y="178"/>
                    </a:lnTo>
                    <a:lnTo>
                      <a:pt x="64" y="180"/>
                    </a:lnTo>
                    <a:lnTo>
                      <a:pt x="62" y="189"/>
                    </a:lnTo>
                    <a:lnTo>
                      <a:pt x="60" y="189"/>
                    </a:lnTo>
                    <a:lnTo>
                      <a:pt x="57" y="191"/>
                    </a:lnTo>
                    <a:lnTo>
                      <a:pt x="55" y="193"/>
                    </a:lnTo>
                    <a:lnTo>
                      <a:pt x="55" y="193"/>
                    </a:lnTo>
                    <a:lnTo>
                      <a:pt x="49" y="198"/>
                    </a:lnTo>
                    <a:lnTo>
                      <a:pt x="27" y="202"/>
                    </a:lnTo>
                    <a:lnTo>
                      <a:pt x="20" y="204"/>
                    </a:lnTo>
                    <a:lnTo>
                      <a:pt x="0" y="204"/>
                    </a:lnTo>
                    <a:lnTo>
                      <a:pt x="7" y="213"/>
                    </a:lnTo>
                    <a:lnTo>
                      <a:pt x="14" y="222"/>
                    </a:lnTo>
                    <a:lnTo>
                      <a:pt x="14" y="224"/>
                    </a:lnTo>
                    <a:lnTo>
                      <a:pt x="16" y="228"/>
                    </a:lnTo>
                    <a:lnTo>
                      <a:pt x="16" y="230"/>
                    </a:lnTo>
                    <a:lnTo>
                      <a:pt x="18" y="233"/>
                    </a:lnTo>
                    <a:lnTo>
                      <a:pt x="20" y="235"/>
                    </a:lnTo>
                    <a:lnTo>
                      <a:pt x="20" y="237"/>
                    </a:lnTo>
                    <a:lnTo>
                      <a:pt x="20" y="239"/>
                    </a:lnTo>
                    <a:lnTo>
                      <a:pt x="20" y="246"/>
                    </a:lnTo>
                    <a:lnTo>
                      <a:pt x="20" y="248"/>
                    </a:lnTo>
                    <a:lnTo>
                      <a:pt x="25" y="248"/>
                    </a:lnTo>
                    <a:lnTo>
                      <a:pt x="25" y="248"/>
                    </a:lnTo>
                    <a:lnTo>
                      <a:pt x="27" y="252"/>
                    </a:lnTo>
                    <a:lnTo>
                      <a:pt x="29" y="257"/>
                    </a:lnTo>
                    <a:lnTo>
                      <a:pt x="38" y="270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2" y="270"/>
                    </a:lnTo>
                    <a:lnTo>
                      <a:pt x="42" y="268"/>
                    </a:lnTo>
                    <a:lnTo>
                      <a:pt x="44" y="270"/>
                    </a:lnTo>
                    <a:lnTo>
                      <a:pt x="53" y="281"/>
                    </a:lnTo>
                    <a:lnTo>
                      <a:pt x="55" y="283"/>
                    </a:lnTo>
                    <a:lnTo>
                      <a:pt x="57" y="290"/>
                    </a:lnTo>
                    <a:lnTo>
                      <a:pt x="57" y="292"/>
                    </a:lnTo>
                    <a:lnTo>
                      <a:pt x="62" y="296"/>
                    </a:lnTo>
                    <a:lnTo>
                      <a:pt x="62" y="299"/>
                    </a:lnTo>
                    <a:lnTo>
                      <a:pt x="62" y="307"/>
                    </a:lnTo>
                    <a:lnTo>
                      <a:pt x="64" y="314"/>
                    </a:lnTo>
                    <a:lnTo>
                      <a:pt x="66" y="314"/>
                    </a:lnTo>
                    <a:lnTo>
                      <a:pt x="66" y="316"/>
                    </a:lnTo>
                    <a:lnTo>
                      <a:pt x="68" y="318"/>
                    </a:lnTo>
                    <a:lnTo>
                      <a:pt x="71" y="329"/>
                    </a:lnTo>
                    <a:lnTo>
                      <a:pt x="71" y="331"/>
                    </a:lnTo>
                    <a:lnTo>
                      <a:pt x="73" y="331"/>
                    </a:lnTo>
                    <a:lnTo>
                      <a:pt x="75" y="331"/>
                    </a:lnTo>
                    <a:lnTo>
                      <a:pt x="75" y="334"/>
                    </a:lnTo>
                    <a:lnTo>
                      <a:pt x="77" y="336"/>
                    </a:lnTo>
                    <a:lnTo>
                      <a:pt x="75" y="336"/>
                    </a:lnTo>
                    <a:lnTo>
                      <a:pt x="75" y="338"/>
                    </a:lnTo>
                    <a:lnTo>
                      <a:pt x="77" y="353"/>
                    </a:lnTo>
                    <a:lnTo>
                      <a:pt x="75" y="358"/>
                    </a:lnTo>
                    <a:lnTo>
                      <a:pt x="75" y="360"/>
                    </a:lnTo>
                    <a:lnTo>
                      <a:pt x="77" y="360"/>
                    </a:lnTo>
                    <a:lnTo>
                      <a:pt x="84" y="364"/>
                    </a:lnTo>
                    <a:lnTo>
                      <a:pt x="88" y="367"/>
                    </a:lnTo>
                    <a:lnTo>
                      <a:pt x="90" y="373"/>
                    </a:lnTo>
                    <a:lnTo>
                      <a:pt x="93" y="375"/>
                    </a:lnTo>
                    <a:lnTo>
                      <a:pt x="97" y="378"/>
                    </a:lnTo>
                    <a:lnTo>
                      <a:pt x="104" y="382"/>
                    </a:lnTo>
                    <a:lnTo>
                      <a:pt x="112" y="393"/>
                    </a:lnTo>
                    <a:lnTo>
                      <a:pt x="117" y="402"/>
                    </a:lnTo>
                    <a:lnTo>
                      <a:pt x="121" y="406"/>
                    </a:lnTo>
                    <a:lnTo>
                      <a:pt x="121" y="408"/>
                    </a:lnTo>
                    <a:lnTo>
                      <a:pt x="123" y="410"/>
                    </a:lnTo>
                    <a:lnTo>
                      <a:pt x="132" y="415"/>
                    </a:lnTo>
                    <a:lnTo>
                      <a:pt x="137" y="419"/>
                    </a:lnTo>
                    <a:lnTo>
                      <a:pt x="139" y="421"/>
                    </a:lnTo>
                    <a:lnTo>
                      <a:pt x="145" y="424"/>
                    </a:lnTo>
                    <a:lnTo>
                      <a:pt x="148" y="426"/>
                    </a:lnTo>
                    <a:lnTo>
                      <a:pt x="148" y="426"/>
                    </a:lnTo>
                    <a:lnTo>
                      <a:pt x="150" y="426"/>
                    </a:lnTo>
                    <a:lnTo>
                      <a:pt x="152" y="424"/>
                    </a:lnTo>
                    <a:lnTo>
                      <a:pt x="152" y="424"/>
                    </a:lnTo>
                    <a:lnTo>
                      <a:pt x="156" y="424"/>
                    </a:lnTo>
                    <a:lnTo>
                      <a:pt x="158" y="428"/>
                    </a:lnTo>
                    <a:lnTo>
                      <a:pt x="163" y="428"/>
                    </a:lnTo>
                    <a:lnTo>
                      <a:pt x="165" y="426"/>
                    </a:lnTo>
                    <a:lnTo>
                      <a:pt x="169" y="424"/>
                    </a:lnTo>
                    <a:lnTo>
                      <a:pt x="172" y="424"/>
                    </a:lnTo>
                    <a:lnTo>
                      <a:pt x="174" y="421"/>
                    </a:lnTo>
                    <a:lnTo>
                      <a:pt x="174" y="421"/>
                    </a:lnTo>
                    <a:lnTo>
                      <a:pt x="176" y="424"/>
                    </a:lnTo>
                    <a:lnTo>
                      <a:pt x="176" y="424"/>
                    </a:lnTo>
                    <a:lnTo>
                      <a:pt x="178" y="424"/>
                    </a:lnTo>
                    <a:lnTo>
                      <a:pt x="178" y="424"/>
                    </a:lnTo>
                    <a:lnTo>
                      <a:pt x="185" y="419"/>
                    </a:lnTo>
                    <a:lnTo>
                      <a:pt x="187" y="417"/>
                    </a:lnTo>
                    <a:lnTo>
                      <a:pt x="194" y="417"/>
                    </a:lnTo>
                    <a:lnTo>
                      <a:pt x="198" y="417"/>
                    </a:lnTo>
                    <a:lnTo>
                      <a:pt x="198" y="417"/>
                    </a:lnTo>
                    <a:lnTo>
                      <a:pt x="198" y="419"/>
                    </a:lnTo>
                    <a:lnTo>
                      <a:pt x="200" y="421"/>
                    </a:lnTo>
                    <a:lnTo>
                      <a:pt x="200" y="424"/>
                    </a:lnTo>
                    <a:lnTo>
                      <a:pt x="202" y="424"/>
                    </a:lnTo>
                    <a:lnTo>
                      <a:pt x="209" y="424"/>
                    </a:lnTo>
                    <a:lnTo>
                      <a:pt x="216" y="424"/>
                    </a:lnTo>
                    <a:lnTo>
                      <a:pt x="222" y="428"/>
                    </a:lnTo>
                    <a:lnTo>
                      <a:pt x="235" y="437"/>
                    </a:lnTo>
                    <a:lnTo>
                      <a:pt x="249" y="446"/>
                    </a:lnTo>
                    <a:lnTo>
                      <a:pt x="251" y="446"/>
                    </a:lnTo>
                    <a:lnTo>
                      <a:pt x="251" y="446"/>
                    </a:lnTo>
                    <a:lnTo>
                      <a:pt x="253" y="448"/>
                    </a:lnTo>
                    <a:lnTo>
                      <a:pt x="255" y="450"/>
                    </a:lnTo>
                    <a:lnTo>
                      <a:pt x="264" y="450"/>
                    </a:lnTo>
                    <a:lnTo>
                      <a:pt x="270" y="452"/>
                    </a:lnTo>
                    <a:lnTo>
                      <a:pt x="270" y="452"/>
                    </a:lnTo>
                    <a:lnTo>
                      <a:pt x="273" y="454"/>
                    </a:lnTo>
                    <a:lnTo>
                      <a:pt x="273" y="454"/>
                    </a:lnTo>
                    <a:lnTo>
                      <a:pt x="275" y="454"/>
                    </a:lnTo>
                    <a:lnTo>
                      <a:pt x="284" y="454"/>
                    </a:lnTo>
                    <a:lnTo>
                      <a:pt x="286" y="457"/>
                    </a:lnTo>
                    <a:lnTo>
                      <a:pt x="288" y="459"/>
                    </a:lnTo>
                    <a:lnTo>
                      <a:pt x="292" y="463"/>
                    </a:lnTo>
                    <a:lnTo>
                      <a:pt x="290" y="465"/>
                    </a:lnTo>
                    <a:lnTo>
                      <a:pt x="292" y="468"/>
                    </a:lnTo>
                    <a:lnTo>
                      <a:pt x="297" y="470"/>
                    </a:lnTo>
                    <a:lnTo>
                      <a:pt x="303" y="474"/>
                    </a:lnTo>
                    <a:lnTo>
                      <a:pt x="306" y="474"/>
                    </a:lnTo>
                    <a:lnTo>
                      <a:pt x="314" y="474"/>
                    </a:lnTo>
                    <a:lnTo>
                      <a:pt x="317" y="476"/>
                    </a:lnTo>
                    <a:lnTo>
                      <a:pt x="321" y="481"/>
                    </a:lnTo>
                    <a:lnTo>
                      <a:pt x="323" y="481"/>
                    </a:lnTo>
                    <a:lnTo>
                      <a:pt x="325" y="483"/>
                    </a:lnTo>
                    <a:lnTo>
                      <a:pt x="334" y="492"/>
                    </a:lnTo>
                    <a:lnTo>
                      <a:pt x="339" y="496"/>
                    </a:lnTo>
                    <a:lnTo>
                      <a:pt x="341" y="500"/>
                    </a:lnTo>
                    <a:lnTo>
                      <a:pt x="343" y="507"/>
                    </a:lnTo>
                    <a:lnTo>
                      <a:pt x="345" y="509"/>
                    </a:lnTo>
                    <a:lnTo>
                      <a:pt x="347" y="516"/>
                    </a:lnTo>
                    <a:lnTo>
                      <a:pt x="350" y="520"/>
                    </a:lnTo>
                    <a:lnTo>
                      <a:pt x="350" y="553"/>
                    </a:lnTo>
                    <a:lnTo>
                      <a:pt x="345" y="575"/>
                    </a:lnTo>
                    <a:lnTo>
                      <a:pt x="343" y="577"/>
                    </a:lnTo>
                    <a:lnTo>
                      <a:pt x="341" y="579"/>
                    </a:lnTo>
                    <a:lnTo>
                      <a:pt x="341" y="582"/>
                    </a:lnTo>
                    <a:lnTo>
                      <a:pt x="334" y="584"/>
                    </a:lnTo>
                    <a:lnTo>
                      <a:pt x="332" y="586"/>
                    </a:lnTo>
                    <a:lnTo>
                      <a:pt x="332" y="588"/>
                    </a:lnTo>
                    <a:lnTo>
                      <a:pt x="328" y="593"/>
                    </a:lnTo>
                    <a:lnTo>
                      <a:pt x="323" y="597"/>
                    </a:lnTo>
                    <a:lnTo>
                      <a:pt x="321" y="601"/>
                    </a:lnTo>
                    <a:lnTo>
                      <a:pt x="317" y="610"/>
                    </a:lnTo>
                    <a:lnTo>
                      <a:pt x="314" y="612"/>
                    </a:lnTo>
                    <a:lnTo>
                      <a:pt x="308" y="615"/>
                    </a:lnTo>
                    <a:lnTo>
                      <a:pt x="306" y="615"/>
                    </a:lnTo>
                    <a:lnTo>
                      <a:pt x="301" y="617"/>
                    </a:lnTo>
                    <a:lnTo>
                      <a:pt x="297" y="617"/>
                    </a:lnTo>
                    <a:lnTo>
                      <a:pt x="297" y="619"/>
                    </a:lnTo>
                    <a:lnTo>
                      <a:pt x="295" y="619"/>
                    </a:lnTo>
                    <a:lnTo>
                      <a:pt x="292" y="621"/>
                    </a:lnTo>
                    <a:lnTo>
                      <a:pt x="292" y="623"/>
                    </a:lnTo>
                    <a:lnTo>
                      <a:pt x="288" y="626"/>
                    </a:lnTo>
                    <a:lnTo>
                      <a:pt x="286" y="628"/>
                    </a:lnTo>
                    <a:lnTo>
                      <a:pt x="281" y="630"/>
                    </a:lnTo>
                    <a:lnTo>
                      <a:pt x="279" y="630"/>
                    </a:lnTo>
                    <a:lnTo>
                      <a:pt x="277" y="632"/>
                    </a:lnTo>
                    <a:lnTo>
                      <a:pt x="275" y="634"/>
                    </a:lnTo>
                    <a:lnTo>
                      <a:pt x="273" y="636"/>
                    </a:lnTo>
                    <a:lnTo>
                      <a:pt x="273" y="636"/>
                    </a:lnTo>
                    <a:lnTo>
                      <a:pt x="273" y="639"/>
                    </a:lnTo>
                    <a:lnTo>
                      <a:pt x="273" y="641"/>
                    </a:lnTo>
                    <a:lnTo>
                      <a:pt x="273" y="643"/>
                    </a:lnTo>
                    <a:lnTo>
                      <a:pt x="275" y="647"/>
                    </a:lnTo>
                    <a:lnTo>
                      <a:pt x="277" y="650"/>
                    </a:lnTo>
                    <a:lnTo>
                      <a:pt x="277" y="652"/>
                    </a:lnTo>
                    <a:lnTo>
                      <a:pt x="277" y="656"/>
                    </a:lnTo>
                    <a:lnTo>
                      <a:pt x="275" y="663"/>
                    </a:lnTo>
                    <a:lnTo>
                      <a:pt x="275" y="665"/>
                    </a:lnTo>
                    <a:lnTo>
                      <a:pt x="275" y="669"/>
                    </a:lnTo>
                    <a:lnTo>
                      <a:pt x="275" y="669"/>
                    </a:lnTo>
                    <a:lnTo>
                      <a:pt x="275" y="672"/>
                    </a:lnTo>
                    <a:lnTo>
                      <a:pt x="275" y="674"/>
                    </a:lnTo>
                    <a:lnTo>
                      <a:pt x="288" y="689"/>
                    </a:lnTo>
                    <a:lnTo>
                      <a:pt x="292" y="691"/>
                    </a:lnTo>
                    <a:lnTo>
                      <a:pt x="303" y="694"/>
                    </a:lnTo>
                    <a:lnTo>
                      <a:pt x="317" y="691"/>
                    </a:lnTo>
                    <a:lnTo>
                      <a:pt x="321" y="691"/>
                    </a:lnTo>
                    <a:lnTo>
                      <a:pt x="325" y="689"/>
                    </a:lnTo>
                    <a:lnTo>
                      <a:pt x="330" y="689"/>
                    </a:lnTo>
                    <a:lnTo>
                      <a:pt x="334" y="685"/>
                    </a:lnTo>
                    <a:lnTo>
                      <a:pt x="336" y="685"/>
                    </a:lnTo>
                    <a:lnTo>
                      <a:pt x="339" y="687"/>
                    </a:lnTo>
                    <a:lnTo>
                      <a:pt x="341" y="687"/>
                    </a:lnTo>
                    <a:lnTo>
                      <a:pt x="341" y="689"/>
                    </a:lnTo>
                    <a:lnTo>
                      <a:pt x="343" y="689"/>
                    </a:lnTo>
                    <a:lnTo>
                      <a:pt x="345" y="696"/>
                    </a:lnTo>
                    <a:lnTo>
                      <a:pt x="345" y="698"/>
                    </a:lnTo>
                    <a:lnTo>
                      <a:pt x="347" y="700"/>
                    </a:lnTo>
                    <a:lnTo>
                      <a:pt x="347" y="700"/>
                    </a:lnTo>
                    <a:lnTo>
                      <a:pt x="350" y="702"/>
                    </a:lnTo>
                    <a:lnTo>
                      <a:pt x="352" y="702"/>
                    </a:lnTo>
                    <a:lnTo>
                      <a:pt x="354" y="700"/>
                    </a:lnTo>
                    <a:lnTo>
                      <a:pt x="358" y="694"/>
                    </a:lnTo>
                    <a:lnTo>
                      <a:pt x="358" y="694"/>
                    </a:lnTo>
                    <a:lnTo>
                      <a:pt x="358" y="691"/>
                    </a:lnTo>
                    <a:lnTo>
                      <a:pt x="358" y="689"/>
                    </a:lnTo>
                    <a:lnTo>
                      <a:pt x="360" y="685"/>
                    </a:lnTo>
                    <a:lnTo>
                      <a:pt x="360" y="683"/>
                    </a:lnTo>
                    <a:lnTo>
                      <a:pt x="360" y="678"/>
                    </a:lnTo>
                    <a:lnTo>
                      <a:pt x="360" y="676"/>
                    </a:lnTo>
                    <a:lnTo>
                      <a:pt x="360" y="674"/>
                    </a:lnTo>
                    <a:lnTo>
                      <a:pt x="360" y="674"/>
                    </a:lnTo>
                    <a:lnTo>
                      <a:pt x="358" y="669"/>
                    </a:lnTo>
                    <a:lnTo>
                      <a:pt x="356" y="667"/>
                    </a:lnTo>
                    <a:lnTo>
                      <a:pt x="358" y="667"/>
                    </a:lnTo>
                    <a:lnTo>
                      <a:pt x="358" y="665"/>
                    </a:lnTo>
                    <a:lnTo>
                      <a:pt x="358" y="663"/>
                    </a:lnTo>
                    <a:lnTo>
                      <a:pt x="360" y="661"/>
                    </a:lnTo>
                    <a:lnTo>
                      <a:pt x="363" y="661"/>
                    </a:lnTo>
                    <a:lnTo>
                      <a:pt x="363" y="661"/>
                    </a:lnTo>
                    <a:lnTo>
                      <a:pt x="365" y="661"/>
                    </a:lnTo>
                    <a:lnTo>
                      <a:pt x="367" y="663"/>
                    </a:lnTo>
                    <a:lnTo>
                      <a:pt x="367" y="663"/>
                    </a:lnTo>
                    <a:lnTo>
                      <a:pt x="371" y="667"/>
                    </a:lnTo>
                    <a:lnTo>
                      <a:pt x="380" y="680"/>
                    </a:lnTo>
                    <a:lnTo>
                      <a:pt x="385" y="685"/>
                    </a:lnTo>
                    <a:lnTo>
                      <a:pt x="387" y="691"/>
                    </a:lnTo>
                    <a:lnTo>
                      <a:pt x="387" y="694"/>
                    </a:lnTo>
                    <a:lnTo>
                      <a:pt x="389" y="694"/>
                    </a:lnTo>
                    <a:lnTo>
                      <a:pt x="391" y="696"/>
                    </a:lnTo>
                    <a:lnTo>
                      <a:pt x="393" y="696"/>
                    </a:lnTo>
                    <a:lnTo>
                      <a:pt x="396" y="698"/>
                    </a:lnTo>
                    <a:lnTo>
                      <a:pt x="400" y="698"/>
                    </a:lnTo>
                    <a:lnTo>
                      <a:pt x="400" y="698"/>
                    </a:lnTo>
                    <a:lnTo>
                      <a:pt x="402" y="700"/>
                    </a:lnTo>
                    <a:lnTo>
                      <a:pt x="402" y="702"/>
                    </a:lnTo>
                    <a:lnTo>
                      <a:pt x="400" y="705"/>
                    </a:lnTo>
                    <a:lnTo>
                      <a:pt x="400" y="705"/>
                    </a:lnTo>
                    <a:lnTo>
                      <a:pt x="398" y="707"/>
                    </a:lnTo>
                    <a:lnTo>
                      <a:pt x="396" y="709"/>
                    </a:lnTo>
                    <a:lnTo>
                      <a:pt x="393" y="709"/>
                    </a:lnTo>
                    <a:lnTo>
                      <a:pt x="393" y="711"/>
                    </a:lnTo>
                    <a:lnTo>
                      <a:pt x="391" y="713"/>
                    </a:lnTo>
                    <a:lnTo>
                      <a:pt x="393" y="722"/>
                    </a:lnTo>
                    <a:lnTo>
                      <a:pt x="393" y="724"/>
                    </a:lnTo>
                    <a:lnTo>
                      <a:pt x="393" y="726"/>
                    </a:lnTo>
                    <a:lnTo>
                      <a:pt x="393" y="726"/>
                    </a:lnTo>
                    <a:lnTo>
                      <a:pt x="391" y="731"/>
                    </a:lnTo>
                    <a:lnTo>
                      <a:pt x="391" y="733"/>
                    </a:lnTo>
                    <a:lnTo>
                      <a:pt x="393" y="735"/>
                    </a:lnTo>
                    <a:lnTo>
                      <a:pt x="398" y="737"/>
                    </a:lnTo>
                    <a:lnTo>
                      <a:pt x="422" y="744"/>
                    </a:lnTo>
                    <a:lnTo>
                      <a:pt x="424" y="744"/>
                    </a:lnTo>
                    <a:lnTo>
                      <a:pt x="426" y="746"/>
                    </a:lnTo>
                    <a:lnTo>
                      <a:pt x="429" y="746"/>
                    </a:lnTo>
                    <a:lnTo>
                      <a:pt x="429" y="746"/>
                    </a:lnTo>
                    <a:lnTo>
                      <a:pt x="435" y="742"/>
                    </a:lnTo>
                    <a:lnTo>
                      <a:pt x="437" y="740"/>
                    </a:lnTo>
                    <a:lnTo>
                      <a:pt x="440" y="740"/>
                    </a:lnTo>
                    <a:lnTo>
                      <a:pt x="444" y="740"/>
                    </a:lnTo>
                    <a:lnTo>
                      <a:pt x="446" y="740"/>
                    </a:lnTo>
                    <a:lnTo>
                      <a:pt x="451" y="740"/>
                    </a:lnTo>
                    <a:lnTo>
                      <a:pt x="453" y="740"/>
                    </a:lnTo>
                    <a:lnTo>
                      <a:pt x="455" y="740"/>
                    </a:lnTo>
                    <a:lnTo>
                      <a:pt x="457" y="737"/>
                    </a:lnTo>
                    <a:lnTo>
                      <a:pt x="457" y="737"/>
                    </a:lnTo>
                    <a:lnTo>
                      <a:pt x="457" y="735"/>
                    </a:lnTo>
                    <a:lnTo>
                      <a:pt x="457" y="733"/>
                    </a:lnTo>
                    <a:lnTo>
                      <a:pt x="457" y="733"/>
                    </a:lnTo>
                    <a:lnTo>
                      <a:pt x="457" y="731"/>
                    </a:lnTo>
                    <a:lnTo>
                      <a:pt x="457" y="729"/>
                    </a:lnTo>
                    <a:lnTo>
                      <a:pt x="457" y="729"/>
                    </a:lnTo>
                    <a:lnTo>
                      <a:pt x="459" y="729"/>
                    </a:lnTo>
                    <a:lnTo>
                      <a:pt x="466" y="733"/>
                    </a:lnTo>
                    <a:lnTo>
                      <a:pt x="468" y="733"/>
                    </a:lnTo>
                    <a:lnTo>
                      <a:pt x="472" y="733"/>
                    </a:lnTo>
                    <a:lnTo>
                      <a:pt x="475" y="733"/>
                    </a:lnTo>
                    <a:lnTo>
                      <a:pt x="479" y="735"/>
                    </a:lnTo>
                    <a:lnTo>
                      <a:pt x="490" y="746"/>
                    </a:lnTo>
                    <a:lnTo>
                      <a:pt x="492" y="746"/>
                    </a:lnTo>
                    <a:lnTo>
                      <a:pt x="494" y="746"/>
                    </a:lnTo>
                    <a:lnTo>
                      <a:pt x="497" y="746"/>
                    </a:lnTo>
                    <a:lnTo>
                      <a:pt x="497" y="746"/>
                    </a:lnTo>
                    <a:lnTo>
                      <a:pt x="503" y="740"/>
                    </a:lnTo>
                    <a:lnTo>
                      <a:pt x="505" y="740"/>
                    </a:lnTo>
                    <a:lnTo>
                      <a:pt x="505" y="740"/>
                    </a:lnTo>
                    <a:lnTo>
                      <a:pt x="508" y="737"/>
                    </a:lnTo>
                    <a:lnTo>
                      <a:pt x="510" y="737"/>
                    </a:lnTo>
                    <a:lnTo>
                      <a:pt x="512" y="740"/>
                    </a:lnTo>
                    <a:lnTo>
                      <a:pt x="514" y="740"/>
                    </a:lnTo>
                    <a:lnTo>
                      <a:pt x="514" y="740"/>
                    </a:lnTo>
                    <a:lnTo>
                      <a:pt x="516" y="742"/>
                    </a:lnTo>
                    <a:lnTo>
                      <a:pt x="519" y="744"/>
                    </a:lnTo>
                    <a:lnTo>
                      <a:pt x="519" y="748"/>
                    </a:lnTo>
                    <a:lnTo>
                      <a:pt x="519" y="751"/>
                    </a:lnTo>
                    <a:lnTo>
                      <a:pt x="519" y="753"/>
                    </a:lnTo>
                    <a:lnTo>
                      <a:pt x="519" y="757"/>
                    </a:lnTo>
                    <a:lnTo>
                      <a:pt x="519" y="764"/>
                    </a:lnTo>
                    <a:lnTo>
                      <a:pt x="519" y="766"/>
                    </a:lnTo>
                    <a:lnTo>
                      <a:pt x="521" y="768"/>
                    </a:lnTo>
                    <a:lnTo>
                      <a:pt x="523" y="770"/>
                    </a:lnTo>
                    <a:lnTo>
                      <a:pt x="527" y="770"/>
                    </a:lnTo>
                    <a:lnTo>
                      <a:pt x="532" y="773"/>
                    </a:lnTo>
                    <a:lnTo>
                      <a:pt x="536" y="777"/>
                    </a:lnTo>
                    <a:lnTo>
                      <a:pt x="538" y="779"/>
                    </a:lnTo>
                    <a:lnTo>
                      <a:pt x="543" y="786"/>
                    </a:lnTo>
                    <a:lnTo>
                      <a:pt x="547" y="788"/>
                    </a:lnTo>
                    <a:lnTo>
                      <a:pt x="549" y="788"/>
                    </a:lnTo>
                    <a:lnTo>
                      <a:pt x="549" y="786"/>
                    </a:lnTo>
                    <a:lnTo>
                      <a:pt x="554" y="786"/>
                    </a:lnTo>
                    <a:lnTo>
                      <a:pt x="554" y="786"/>
                    </a:lnTo>
                    <a:lnTo>
                      <a:pt x="556" y="784"/>
                    </a:lnTo>
                    <a:lnTo>
                      <a:pt x="556" y="779"/>
                    </a:lnTo>
                    <a:lnTo>
                      <a:pt x="556" y="764"/>
                    </a:lnTo>
                    <a:lnTo>
                      <a:pt x="556" y="757"/>
                    </a:lnTo>
                    <a:lnTo>
                      <a:pt x="554" y="753"/>
                    </a:lnTo>
                    <a:lnTo>
                      <a:pt x="552" y="751"/>
                    </a:lnTo>
                    <a:lnTo>
                      <a:pt x="549" y="748"/>
                    </a:lnTo>
                    <a:lnTo>
                      <a:pt x="549" y="746"/>
                    </a:lnTo>
                    <a:lnTo>
                      <a:pt x="549" y="744"/>
                    </a:lnTo>
                    <a:lnTo>
                      <a:pt x="549" y="740"/>
                    </a:lnTo>
                    <a:lnTo>
                      <a:pt x="552" y="737"/>
                    </a:lnTo>
                    <a:lnTo>
                      <a:pt x="552" y="733"/>
                    </a:lnTo>
                    <a:lnTo>
                      <a:pt x="552" y="733"/>
                    </a:lnTo>
                    <a:lnTo>
                      <a:pt x="552" y="733"/>
                    </a:lnTo>
                    <a:lnTo>
                      <a:pt x="549" y="729"/>
                    </a:lnTo>
                    <a:lnTo>
                      <a:pt x="549" y="722"/>
                    </a:lnTo>
                    <a:lnTo>
                      <a:pt x="549" y="720"/>
                    </a:lnTo>
                    <a:lnTo>
                      <a:pt x="554" y="711"/>
                    </a:lnTo>
                    <a:lnTo>
                      <a:pt x="554" y="709"/>
                    </a:lnTo>
                    <a:lnTo>
                      <a:pt x="554" y="707"/>
                    </a:lnTo>
                    <a:lnTo>
                      <a:pt x="552" y="700"/>
                    </a:lnTo>
                    <a:lnTo>
                      <a:pt x="552" y="696"/>
                    </a:lnTo>
                    <a:lnTo>
                      <a:pt x="552" y="694"/>
                    </a:lnTo>
                    <a:lnTo>
                      <a:pt x="554" y="685"/>
                    </a:lnTo>
                    <a:lnTo>
                      <a:pt x="554" y="683"/>
                    </a:lnTo>
                    <a:lnTo>
                      <a:pt x="552" y="680"/>
                    </a:lnTo>
                    <a:lnTo>
                      <a:pt x="547" y="678"/>
                    </a:lnTo>
                    <a:lnTo>
                      <a:pt x="545" y="678"/>
                    </a:lnTo>
                    <a:lnTo>
                      <a:pt x="543" y="678"/>
                    </a:lnTo>
                    <a:lnTo>
                      <a:pt x="541" y="678"/>
                    </a:lnTo>
                    <a:lnTo>
                      <a:pt x="538" y="676"/>
                    </a:lnTo>
                    <a:lnTo>
                      <a:pt x="538" y="676"/>
                    </a:lnTo>
                    <a:lnTo>
                      <a:pt x="534" y="672"/>
                    </a:lnTo>
                    <a:lnTo>
                      <a:pt x="530" y="665"/>
                    </a:lnTo>
                    <a:lnTo>
                      <a:pt x="530" y="663"/>
                    </a:lnTo>
                    <a:lnTo>
                      <a:pt x="527" y="661"/>
                    </a:lnTo>
                    <a:lnTo>
                      <a:pt x="527" y="661"/>
                    </a:lnTo>
                    <a:lnTo>
                      <a:pt x="530" y="656"/>
                    </a:lnTo>
                    <a:lnTo>
                      <a:pt x="532" y="656"/>
                    </a:lnTo>
                    <a:lnTo>
                      <a:pt x="538" y="656"/>
                    </a:lnTo>
                    <a:lnTo>
                      <a:pt x="541" y="656"/>
                    </a:lnTo>
                    <a:lnTo>
                      <a:pt x="543" y="654"/>
                    </a:lnTo>
                    <a:lnTo>
                      <a:pt x="543" y="652"/>
                    </a:lnTo>
                    <a:lnTo>
                      <a:pt x="545" y="650"/>
                    </a:lnTo>
                    <a:lnTo>
                      <a:pt x="549" y="647"/>
                    </a:lnTo>
                    <a:lnTo>
                      <a:pt x="552" y="645"/>
                    </a:lnTo>
                    <a:lnTo>
                      <a:pt x="552" y="643"/>
                    </a:lnTo>
                    <a:lnTo>
                      <a:pt x="554" y="643"/>
                    </a:lnTo>
                    <a:lnTo>
                      <a:pt x="554" y="641"/>
                    </a:lnTo>
                    <a:lnTo>
                      <a:pt x="554" y="639"/>
                    </a:lnTo>
                    <a:lnTo>
                      <a:pt x="552" y="634"/>
                    </a:lnTo>
                    <a:lnTo>
                      <a:pt x="552" y="632"/>
                    </a:lnTo>
                    <a:lnTo>
                      <a:pt x="552" y="626"/>
                    </a:lnTo>
                    <a:lnTo>
                      <a:pt x="556" y="617"/>
                    </a:lnTo>
                    <a:lnTo>
                      <a:pt x="558" y="617"/>
                    </a:lnTo>
                    <a:lnTo>
                      <a:pt x="558" y="615"/>
                    </a:lnTo>
                    <a:lnTo>
                      <a:pt x="569" y="615"/>
                    </a:lnTo>
                    <a:lnTo>
                      <a:pt x="571" y="615"/>
                    </a:lnTo>
                    <a:lnTo>
                      <a:pt x="571" y="612"/>
                    </a:lnTo>
                    <a:lnTo>
                      <a:pt x="571" y="610"/>
                    </a:lnTo>
                    <a:lnTo>
                      <a:pt x="578" y="588"/>
                    </a:lnTo>
                    <a:lnTo>
                      <a:pt x="582" y="579"/>
                    </a:lnTo>
                    <a:lnTo>
                      <a:pt x="582" y="575"/>
                    </a:lnTo>
                    <a:lnTo>
                      <a:pt x="587" y="551"/>
                    </a:lnTo>
                    <a:lnTo>
                      <a:pt x="587" y="547"/>
                    </a:lnTo>
                    <a:lnTo>
                      <a:pt x="584" y="542"/>
                    </a:lnTo>
                    <a:lnTo>
                      <a:pt x="582" y="540"/>
                    </a:lnTo>
                    <a:lnTo>
                      <a:pt x="580" y="538"/>
                    </a:lnTo>
                    <a:lnTo>
                      <a:pt x="580" y="536"/>
                    </a:lnTo>
                    <a:lnTo>
                      <a:pt x="582" y="518"/>
                    </a:lnTo>
                    <a:lnTo>
                      <a:pt x="584" y="509"/>
                    </a:lnTo>
                    <a:lnTo>
                      <a:pt x="587" y="498"/>
                    </a:lnTo>
                    <a:lnTo>
                      <a:pt x="589" y="498"/>
                    </a:lnTo>
                    <a:lnTo>
                      <a:pt x="604" y="496"/>
                    </a:lnTo>
                    <a:lnTo>
                      <a:pt x="609" y="494"/>
                    </a:lnTo>
                    <a:lnTo>
                      <a:pt x="611" y="492"/>
                    </a:lnTo>
                    <a:lnTo>
                      <a:pt x="613" y="487"/>
                    </a:lnTo>
                    <a:lnTo>
                      <a:pt x="631" y="443"/>
                    </a:lnTo>
                    <a:lnTo>
                      <a:pt x="637" y="435"/>
                    </a:lnTo>
                    <a:lnTo>
                      <a:pt x="639" y="430"/>
                    </a:lnTo>
                    <a:lnTo>
                      <a:pt x="644" y="426"/>
                    </a:lnTo>
                    <a:lnTo>
                      <a:pt x="648" y="421"/>
                    </a:lnTo>
                    <a:lnTo>
                      <a:pt x="659" y="410"/>
                    </a:lnTo>
                    <a:lnTo>
                      <a:pt x="663" y="406"/>
                    </a:lnTo>
                    <a:lnTo>
                      <a:pt x="668" y="395"/>
                    </a:lnTo>
                    <a:lnTo>
                      <a:pt x="668" y="391"/>
                    </a:lnTo>
                    <a:lnTo>
                      <a:pt x="670" y="389"/>
                    </a:lnTo>
                    <a:lnTo>
                      <a:pt x="668" y="386"/>
                    </a:lnTo>
                    <a:lnTo>
                      <a:pt x="666" y="375"/>
                    </a:lnTo>
                    <a:lnTo>
                      <a:pt x="666" y="375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42" name="Freeform 17"/>
              <p:cNvSpPr>
                <a:spLocks/>
              </p:cNvSpPr>
              <p:nvPr/>
            </p:nvSpPr>
            <p:spPr bwMode="auto">
              <a:xfrm>
                <a:off x="5545138" y="4651375"/>
                <a:ext cx="679450" cy="1049337"/>
              </a:xfrm>
              <a:custGeom>
                <a:avLst/>
                <a:gdLst>
                  <a:gd name="T0" fmla="*/ 389 w 428"/>
                  <a:gd name="T1" fmla="*/ 474 h 661"/>
                  <a:gd name="T2" fmla="*/ 371 w 428"/>
                  <a:gd name="T3" fmla="*/ 485 h 661"/>
                  <a:gd name="T4" fmla="*/ 338 w 428"/>
                  <a:gd name="T5" fmla="*/ 489 h 661"/>
                  <a:gd name="T6" fmla="*/ 323 w 428"/>
                  <a:gd name="T7" fmla="*/ 498 h 661"/>
                  <a:gd name="T8" fmla="*/ 299 w 428"/>
                  <a:gd name="T9" fmla="*/ 507 h 661"/>
                  <a:gd name="T10" fmla="*/ 301 w 428"/>
                  <a:gd name="T11" fmla="*/ 456 h 661"/>
                  <a:gd name="T12" fmla="*/ 296 w 428"/>
                  <a:gd name="T13" fmla="*/ 395 h 661"/>
                  <a:gd name="T14" fmla="*/ 266 w 428"/>
                  <a:gd name="T15" fmla="*/ 305 h 661"/>
                  <a:gd name="T16" fmla="*/ 255 w 428"/>
                  <a:gd name="T17" fmla="*/ 285 h 661"/>
                  <a:gd name="T18" fmla="*/ 239 w 428"/>
                  <a:gd name="T19" fmla="*/ 241 h 661"/>
                  <a:gd name="T20" fmla="*/ 244 w 428"/>
                  <a:gd name="T21" fmla="*/ 213 h 661"/>
                  <a:gd name="T22" fmla="*/ 259 w 428"/>
                  <a:gd name="T23" fmla="*/ 209 h 661"/>
                  <a:gd name="T24" fmla="*/ 336 w 428"/>
                  <a:gd name="T25" fmla="*/ 250 h 661"/>
                  <a:gd name="T26" fmla="*/ 354 w 428"/>
                  <a:gd name="T27" fmla="*/ 239 h 661"/>
                  <a:gd name="T28" fmla="*/ 310 w 428"/>
                  <a:gd name="T29" fmla="*/ 195 h 661"/>
                  <a:gd name="T30" fmla="*/ 292 w 428"/>
                  <a:gd name="T31" fmla="*/ 156 h 661"/>
                  <a:gd name="T32" fmla="*/ 283 w 428"/>
                  <a:gd name="T33" fmla="*/ 134 h 661"/>
                  <a:gd name="T34" fmla="*/ 261 w 428"/>
                  <a:gd name="T35" fmla="*/ 90 h 661"/>
                  <a:gd name="T36" fmla="*/ 242 w 428"/>
                  <a:gd name="T37" fmla="*/ 68 h 661"/>
                  <a:gd name="T38" fmla="*/ 231 w 428"/>
                  <a:gd name="T39" fmla="*/ 44 h 661"/>
                  <a:gd name="T40" fmla="*/ 200 w 428"/>
                  <a:gd name="T41" fmla="*/ 20 h 661"/>
                  <a:gd name="T42" fmla="*/ 178 w 428"/>
                  <a:gd name="T43" fmla="*/ 31 h 661"/>
                  <a:gd name="T44" fmla="*/ 147 w 428"/>
                  <a:gd name="T45" fmla="*/ 13 h 661"/>
                  <a:gd name="T46" fmla="*/ 127 w 428"/>
                  <a:gd name="T47" fmla="*/ 9 h 661"/>
                  <a:gd name="T48" fmla="*/ 119 w 428"/>
                  <a:gd name="T49" fmla="*/ 59 h 661"/>
                  <a:gd name="T50" fmla="*/ 132 w 428"/>
                  <a:gd name="T51" fmla="*/ 59 h 661"/>
                  <a:gd name="T52" fmla="*/ 149 w 428"/>
                  <a:gd name="T53" fmla="*/ 99 h 661"/>
                  <a:gd name="T54" fmla="*/ 156 w 428"/>
                  <a:gd name="T55" fmla="*/ 123 h 661"/>
                  <a:gd name="T56" fmla="*/ 152 w 428"/>
                  <a:gd name="T57" fmla="*/ 129 h 661"/>
                  <a:gd name="T58" fmla="*/ 158 w 428"/>
                  <a:gd name="T59" fmla="*/ 165 h 661"/>
                  <a:gd name="T60" fmla="*/ 138 w 428"/>
                  <a:gd name="T61" fmla="*/ 165 h 661"/>
                  <a:gd name="T62" fmla="*/ 136 w 428"/>
                  <a:gd name="T63" fmla="*/ 187 h 661"/>
                  <a:gd name="T64" fmla="*/ 116 w 428"/>
                  <a:gd name="T65" fmla="*/ 200 h 661"/>
                  <a:gd name="T66" fmla="*/ 97 w 428"/>
                  <a:gd name="T67" fmla="*/ 209 h 661"/>
                  <a:gd name="T68" fmla="*/ 99 w 428"/>
                  <a:gd name="T69" fmla="*/ 226 h 661"/>
                  <a:gd name="T70" fmla="*/ 72 w 428"/>
                  <a:gd name="T71" fmla="*/ 230 h 661"/>
                  <a:gd name="T72" fmla="*/ 44 w 428"/>
                  <a:gd name="T73" fmla="*/ 228 h 661"/>
                  <a:gd name="T74" fmla="*/ 51 w 428"/>
                  <a:gd name="T75" fmla="*/ 257 h 661"/>
                  <a:gd name="T76" fmla="*/ 62 w 428"/>
                  <a:gd name="T77" fmla="*/ 272 h 661"/>
                  <a:gd name="T78" fmla="*/ 72 w 428"/>
                  <a:gd name="T79" fmla="*/ 362 h 661"/>
                  <a:gd name="T80" fmla="*/ 9 w 428"/>
                  <a:gd name="T81" fmla="*/ 384 h 661"/>
                  <a:gd name="T82" fmla="*/ 0 w 428"/>
                  <a:gd name="T83" fmla="*/ 428 h 661"/>
                  <a:gd name="T84" fmla="*/ 13 w 428"/>
                  <a:gd name="T85" fmla="*/ 456 h 661"/>
                  <a:gd name="T86" fmla="*/ 37 w 428"/>
                  <a:gd name="T87" fmla="*/ 461 h 661"/>
                  <a:gd name="T88" fmla="*/ 53 w 428"/>
                  <a:gd name="T89" fmla="*/ 470 h 661"/>
                  <a:gd name="T90" fmla="*/ 68 w 428"/>
                  <a:gd name="T91" fmla="*/ 492 h 661"/>
                  <a:gd name="T92" fmla="*/ 81 w 428"/>
                  <a:gd name="T93" fmla="*/ 529 h 661"/>
                  <a:gd name="T94" fmla="*/ 81 w 428"/>
                  <a:gd name="T95" fmla="*/ 571 h 661"/>
                  <a:gd name="T96" fmla="*/ 123 w 428"/>
                  <a:gd name="T97" fmla="*/ 588 h 661"/>
                  <a:gd name="T98" fmla="*/ 143 w 428"/>
                  <a:gd name="T99" fmla="*/ 617 h 661"/>
                  <a:gd name="T100" fmla="*/ 160 w 428"/>
                  <a:gd name="T101" fmla="*/ 639 h 661"/>
                  <a:gd name="T102" fmla="*/ 189 w 428"/>
                  <a:gd name="T103" fmla="*/ 630 h 661"/>
                  <a:gd name="T104" fmla="*/ 195 w 428"/>
                  <a:gd name="T105" fmla="*/ 647 h 661"/>
                  <a:gd name="T106" fmla="*/ 217 w 428"/>
                  <a:gd name="T107" fmla="*/ 650 h 661"/>
                  <a:gd name="T108" fmla="*/ 290 w 428"/>
                  <a:gd name="T109" fmla="*/ 625 h 661"/>
                  <a:gd name="T110" fmla="*/ 343 w 428"/>
                  <a:gd name="T111" fmla="*/ 608 h 661"/>
                  <a:gd name="T112" fmla="*/ 365 w 428"/>
                  <a:gd name="T113" fmla="*/ 601 h 661"/>
                  <a:gd name="T114" fmla="*/ 393 w 428"/>
                  <a:gd name="T115" fmla="*/ 553 h 661"/>
                  <a:gd name="T116" fmla="*/ 393 w 428"/>
                  <a:gd name="T117" fmla="*/ 516 h 661"/>
                  <a:gd name="T118" fmla="*/ 417 w 428"/>
                  <a:gd name="T119" fmla="*/ 509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28" h="661">
                    <a:moveTo>
                      <a:pt x="426" y="498"/>
                    </a:moveTo>
                    <a:lnTo>
                      <a:pt x="426" y="494"/>
                    </a:lnTo>
                    <a:lnTo>
                      <a:pt x="413" y="487"/>
                    </a:lnTo>
                    <a:lnTo>
                      <a:pt x="411" y="485"/>
                    </a:lnTo>
                    <a:lnTo>
                      <a:pt x="404" y="481"/>
                    </a:lnTo>
                    <a:lnTo>
                      <a:pt x="400" y="478"/>
                    </a:lnTo>
                    <a:lnTo>
                      <a:pt x="397" y="476"/>
                    </a:lnTo>
                    <a:lnTo>
                      <a:pt x="391" y="472"/>
                    </a:lnTo>
                    <a:lnTo>
                      <a:pt x="389" y="474"/>
                    </a:lnTo>
                    <a:lnTo>
                      <a:pt x="389" y="478"/>
                    </a:lnTo>
                    <a:lnTo>
                      <a:pt x="386" y="478"/>
                    </a:lnTo>
                    <a:lnTo>
                      <a:pt x="384" y="481"/>
                    </a:lnTo>
                    <a:lnTo>
                      <a:pt x="382" y="481"/>
                    </a:lnTo>
                    <a:lnTo>
                      <a:pt x="380" y="481"/>
                    </a:lnTo>
                    <a:lnTo>
                      <a:pt x="378" y="481"/>
                    </a:lnTo>
                    <a:lnTo>
                      <a:pt x="375" y="481"/>
                    </a:lnTo>
                    <a:lnTo>
                      <a:pt x="373" y="483"/>
                    </a:lnTo>
                    <a:lnTo>
                      <a:pt x="371" y="485"/>
                    </a:lnTo>
                    <a:lnTo>
                      <a:pt x="369" y="485"/>
                    </a:lnTo>
                    <a:lnTo>
                      <a:pt x="367" y="485"/>
                    </a:lnTo>
                    <a:lnTo>
                      <a:pt x="362" y="487"/>
                    </a:lnTo>
                    <a:lnTo>
                      <a:pt x="354" y="489"/>
                    </a:lnTo>
                    <a:lnTo>
                      <a:pt x="349" y="489"/>
                    </a:lnTo>
                    <a:lnTo>
                      <a:pt x="345" y="489"/>
                    </a:lnTo>
                    <a:lnTo>
                      <a:pt x="345" y="489"/>
                    </a:lnTo>
                    <a:lnTo>
                      <a:pt x="340" y="489"/>
                    </a:lnTo>
                    <a:lnTo>
                      <a:pt x="338" y="489"/>
                    </a:lnTo>
                    <a:lnTo>
                      <a:pt x="334" y="487"/>
                    </a:lnTo>
                    <a:lnTo>
                      <a:pt x="332" y="487"/>
                    </a:lnTo>
                    <a:lnTo>
                      <a:pt x="329" y="487"/>
                    </a:lnTo>
                    <a:lnTo>
                      <a:pt x="329" y="487"/>
                    </a:lnTo>
                    <a:lnTo>
                      <a:pt x="329" y="489"/>
                    </a:lnTo>
                    <a:lnTo>
                      <a:pt x="327" y="492"/>
                    </a:lnTo>
                    <a:lnTo>
                      <a:pt x="327" y="494"/>
                    </a:lnTo>
                    <a:lnTo>
                      <a:pt x="325" y="496"/>
                    </a:lnTo>
                    <a:lnTo>
                      <a:pt x="323" y="498"/>
                    </a:lnTo>
                    <a:lnTo>
                      <a:pt x="321" y="500"/>
                    </a:lnTo>
                    <a:lnTo>
                      <a:pt x="318" y="505"/>
                    </a:lnTo>
                    <a:lnTo>
                      <a:pt x="318" y="505"/>
                    </a:lnTo>
                    <a:lnTo>
                      <a:pt x="316" y="507"/>
                    </a:lnTo>
                    <a:lnTo>
                      <a:pt x="314" y="507"/>
                    </a:lnTo>
                    <a:lnTo>
                      <a:pt x="310" y="507"/>
                    </a:lnTo>
                    <a:lnTo>
                      <a:pt x="303" y="509"/>
                    </a:lnTo>
                    <a:lnTo>
                      <a:pt x="301" y="509"/>
                    </a:lnTo>
                    <a:lnTo>
                      <a:pt x="299" y="507"/>
                    </a:lnTo>
                    <a:lnTo>
                      <a:pt x="290" y="487"/>
                    </a:lnTo>
                    <a:lnTo>
                      <a:pt x="290" y="485"/>
                    </a:lnTo>
                    <a:lnTo>
                      <a:pt x="292" y="485"/>
                    </a:lnTo>
                    <a:lnTo>
                      <a:pt x="296" y="485"/>
                    </a:lnTo>
                    <a:lnTo>
                      <a:pt x="299" y="485"/>
                    </a:lnTo>
                    <a:lnTo>
                      <a:pt x="301" y="483"/>
                    </a:lnTo>
                    <a:lnTo>
                      <a:pt x="305" y="467"/>
                    </a:lnTo>
                    <a:lnTo>
                      <a:pt x="303" y="463"/>
                    </a:lnTo>
                    <a:lnTo>
                      <a:pt x="301" y="456"/>
                    </a:lnTo>
                    <a:lnTo>
                      <a:pt x="296" y="448"/>
                    </a:lnTo>
                    <a:lnTo>
                      <a:pt x="296" y="446"/>
                    </a:lnTo>
                    <a:lnTo>
                      <a:pt x="296" y="432"/>
                    </a:lnTo>
                    <a:lnTo>
                      <a:pt x="299" y="419"/>
                    </a:lnTo>
                    <a:lnTo>
                      <a:pt x="299" y="413"/>
                    </a:lnTo>
                    <a:lnTo>
                      <a:pt x="299" y="404"/>
                    </a:lnTo>
                    <a:lnTo>
                      <a:pt x="299" y="402"/>
                    </a:lnTo>
                    <a:lnTo>
                      <a:pt x="296" y="399"/>
                    </a:lnTo>
                    <a:lnTo>
                      <a:pt x="296" y="395"/>
                    </a:lnTo>
                    <a:lnTo>
                      <a:pt x="290" y="386"/>
                    </a:lnTo>
                    <a:lnTo>
                      <a:pt x="285" y="380"/>
                    </a:lnTo>
                    <a:lnTo>
                      <a:pt x="285" y="377"/>
                    </a:lnTo>
                    <a:lnTo>
                      <a:pt x="283" y="373"/>
                    </a:lnTo>
                    <a:lnTo>
                      <a:pt x="281" y="367"/>
                    </a:lnTo>
                    <a:lnTo>
                      <a:pt x="279" y="353"/>
                    </a:lnTo>
                    <a:lnTo>
                      <a:pt x="259" y="312"/>
                    </a:lnTo>
                    <a:lnTo>
                      <a:pt x="257" y="307"/>
                    </a:lnTo>
                    <a:lnTo>
                      <a:pt x="266" y="305"/>
                    </a:lnTo>
                    <a:lnTo>
                      <a:pt x="268" y="305"/>
                    </a:lnTo>
                    <a:lnTo>
                      <a:pt x="268" y="305"/>
                    </a:lnTo>
                    <a:lnTo>
                      <a:pt x="268" y="301"/>
                    </a:lnTo>
                    <a:lnTo>
                      <a:pt x="264" y="296"/>
                    </a:lnTo>
                    <a:lnTo>
                      <a:pt x="261" y="290"/>
                    </a:lnTo>
                    <a:lnTo>
                      <a:pt x="259" y="288"/>
                    </a:lnTo>
                    <a:lnTo>
                      <a:pt x="257" y="288"/>
                    </a:lnTo>
                    <a:lnTo>
                      <a:pt x="257" y="285"/>
                    </a:lnTo>
                    <a:lnTo>
                      <a:pt x="255" y="285"/>
                    </a:lnTo>
                    <a:lnTo>
                      <a:pt x="253" y="285"/>
                    </a:lnTo>
                    <a:lnTo>
                      <a:pt x="250" y="283"/>
                    </a:lnTo>
                    <a:lnTo>
                      <a:pt x="248" y="281"/>
                    </a:lnTo>
                    <a:lnTo>
                      <a:pt x="246" y="277"/>
                    </a:lnTo>
                    <a:lnTo>
                      <a:pt x="246" y="272"/>
                    </a:lnTo>
                    <a:lnTo>
                      <a:pt x="244" y="259"/>
                    </a:lnTo>
                    <a:lnTo>
                      <a:pt x="242" y="252"/>
                    </a:lnTo>
                    <a:lnTo>
                      <a:pt x="242" y="246"/>
                    </a:lnTo>
                    <a:lnTo>
                      <a:pt x="239" y="241"/>
                    </a:lnTo>
                    <a:lnTo>
                      <a:pt x="239" y="239"/>
                    </a:lnTo>
                    <a:lnTo>
                      <a:pt x="239" y="233"/>
                    </a:lnTo>
                    <a:lnTo>
                      <a:pt x="239" y="230"/>
                    </a:lnTo>
                    <a:lnTo>
                      <a:pt x="239" y="228"/>
                    </a:lnTo>
                    <a:lnTo>
                      <a:pt x="244" y="224"/>
                    </a:lnTo>
                    <a:lnTo>
                      <a:pt x="246" y="219"/>
                    </a:lnTo>
                    <a:lnTo>
                      <a:pt x="244" y="215"/>
                    </a:lnTo>
                    <a:lnTo>
                      <a:pt x="242" y="213"/>
                    </a:lnTo>
                    <a:lnTo>
                      <a:pt x="244" y="213"/>
                    </a:lnTo>
                    <a:lnTo>
                      <a:pt x="244" y="209"/>
                    </a:lnTo>
                    <a:lnTo>
                      <a:pt x="246" y="204"/>
                    </a:lnTo>
                    <a:lnTo>
                      <a:pt x="246" y="202"/>
                    </a:lnTo>
                    <a:lnTo>
                      <a:pt x="248" y="202"/>
                    </a:lnTo>
                    <a:lnTo>
                      <a:pt x="250" y="200"/>
                    </a:lnTo>
                    <a:lnTo>
                      <a:pt x="253" y="202"/>
                    </a:lnTo>
                    <a:lnTo>
                      <a:pt x="255" y="202"/>
                    </a:lnTo>
                    <a:lnTo>
                      <a:pt x="257" y="204"/>
                    </a:lnTo>
                    <a:lnTo>
                      <a:pt x="259" y="209"/>
                    </a:lnTo>
                    <a:lnTo>
                      <a:pt x="264" y="213"/>
                    </a:lnTo>
                    <a:lnTo>
                      <a:pt x="294" y="233"/>
                    </a:lnTo>
                    <a:lnTo>
                      <a:pt x="299" y="235"/>
                    </a:lnTo>
                    <a:lnTo>
                      <a:pt x="305" y="244"/>
                    </a:lnTo>
                    <a:lnTo>
                      <a:pt x="310" y="246"/>
                    </a:lnTo>
                    <a:lnTo>
                      <a:pt x="329" y="248"/>
                    </a:lnTo>
                    <a:lnTo>
                      <a:pt x="329" y="248"/>
                    </a:lnTo>
                    <a:lnTo>
                      <a:pt x="334" y="250"/>
                    </a:lnTo>
                    <a:lnTo>
                      <a:pt x="336" y="250"/>
                    </a:lnTo>
                    <a:lnTo>
                      <a:pt x="338" y="250"/>
                    </a:lnTo>
                    <a:lnTo>
                      <a:pt x="343" y="250"/>
                    </a:lnTo>
                    <a:lnTo>
                      <a:pt x="349" y="252"/>
                    </a:lnTo>
                    <a:lnTo>
                      <a:pt x="349" y="252"/>
                    </a:lnTo>
                    <a:lnTo>
                      <a:pt x="351" y="252"/>
                    </a:lnTo>
                    <a:lnTo>
                      <a:pt x="354" y="250"/>
                    </a:lnTo>
                    <a:lnTo>
                      <a:pt x="356" y="244"/>
                    </a:lnTo>
                    <a:lnTo>
                      <a:pt x="356" y="241"/>
                    </a:lnTo>
                    <a:lnTo>
                      <a:pt x="354" y="239"/>
                    </a:lnTo>
                    <a:lnTo>
                      <a:pt x="349" y="235"/>
                    </a:lnTo>
                    <a:lnTo>
                      <a:pt x="340" y="230"/>
                    </a:lnTo>
                    <a:lnTo>
                      <a:pt x="338" y="228"/>
                    </a:lnTo>
                    <a:lnTo>
                      <a:pt x="338" y="226"/>
                    </a:lnTo>
                    <a:lnTo>
                      <a:pt x="334" y="222"/>
                    </a:lnTo>
                    <a:lnTo>
                      <a:pt x="329" y="213"/>
                    </a:lnTo>
                    <a:lnTo>
                      <a:pt x="321" y="202"/>
                    </a:lnTo>
                    <a:lnTo>
                      <a:pt x="314" y="198"/>
                    </a:lnTo>
                    <a:lnTo>
                      <a:pt x="310" y="195"/>
                    </a:lnTo>
                    <a:lnTo>
                      <a:pt x="307" y="193"/>
                    </a:lnTo>
                    <a:lnTo>
                      <a:pt x="305" y="187"/>
                    </a:lnTo>
                    <a:lnTo>
                      <a:pt x="301" y="184"/>
                    </a:lnTo>
                    <a:lnTo>
                      <a:pt x="294" y="180"/>
                    </a:lnTo>
                    <a:lnTo>
                      <a:pt x="292" y="180"/>
                    </a:lnTo>
                    <a:lnTo>
                      <a:pt x="292" y="178"/>
                    </a:lnTo>
                    <a:lnTo>
                      <a:pt x="294" y="173"/>
                    </a:lnTo>
                    <a:lnTo>
                      <a:pt x="292" y="158"/>
                    </a:lnTo>
                    <a:lnTo>
                      <a:pt x="292" y="156"/>
                    </a:lnTo>
                    <a:lnTo>
                      <a:pt x="294" y="156"/>
                    </a:lnTo>
                    <a:lnTo>
                      <a:pt x="292" y="154"/>
                    </a:lnTo>
                    <a:lnTo>
                      <a:pt x="292" y="151"/>
                    </a:lnTo>
                    <a:lnTo>
                      <a:pt x="290" y="151"/>
                    </a:lnTo>
                    <a:lnTo>
                      <a:pt x="288" y="151"/>
                    </a:lnTo>
                    <a:lnTo>
                      <a:pt x="288" y="149"/>
                    </a:lnTo>
                    <a:lnTo>
                      <a:pt x="285" y="138"/>
                    </a:lnTo>
                    <a:lnTo>
                      <a:pt x="283" y="136"/>
                    </a:lnTo>
                    <a:lnTo>
                      <a:pt x="283" y="134"/>
                    </a:lnTo>
                    <a:lnTo>
                      <a:pt x="281" y="134"/>
                    </a:lnTo>
                    <a:lnTo>
                      <a:pt x="279" y="127"/>
                    </a:lnTo>
                    <a:lnTo>
                      <a:pt x="279" y="119"/>
                    </a:lnTo>
                    <a:lnTo>
                      <a:pt x="279" y="116"/>
                    </a:lnTo>
                    <a:lnTo>
                      <a:pt x="274" y="112"/>
                    </a:lnTo>
                    <a:lnTo>
                      <a:pt x="274" y="110"/>
                    </a:lnTo>
                    <a:lnTo>
                      <a:pt x="272" y="103"/>
                    </a:lnTo>
                    <a:lnTo>
                      <a:pt x="270" y="101"/>
                    </a:lnTo>
                    <a:lnTo>
                      <a:pt x="261" y="90"/>
                    </a:lnTo>
                    <a:lnTo>
                      <a:pt x="259" y="88"/>
                    </a:lnTo>
                    <a:lnTo>
                      <a:pt x="259" y="90"/>
                    </a:lnTo>
                    <a:lnTo>
                      <a:pt x="257" y="92"/>
                    </a:lnTo>
                    <a:lnTo>
                      <a:pt x="257" y="92"/>
                    </a:lnTo>
                    <a:lnTo>
                      <a:pt x="255" y="90"/>
                    </a:lnTo>
                    <a:lnTo>
                      <a:pt x="246" y="77"/>
                    </a:lnTo>
                    <a:lnTo>
                      <a:pt x="244" y="72"/>
                    </a:lnTo>
                    <a:lnTo>
                      <a:pt x="242" y="68"/>
                    </a:lnTo>
                    <a:lnTo>
                      <a:pt x="242" y="68"/>
                    </a:lnTo>
                    <a:lnTo>
                      <a:pt x="237" y="68"/>
                    </a:lnTo>
                    <a:lnTo>
                      <a:pt x="237" y="66"/>
                    </a:lnTo>
                    <a:lnTo>
                      <a:pt x="237" y="59"/>
                    </a:lnTo>
                    <a:lnTo>
                      <a:pt x="237" y="57"/>
                    </a:lnTo>
                    <a:lnTo>
                      <a:pt x="237" y="55"/>
                    </a:lnTo>
                    <a:lnTo>
                      <a:pt x="235" y="53"/>
                    </a:lnTo>
                    <a:lnTo>
                      <a:pt x="233" y="50"/>
                    </a:lnTo>
                    <a:lnTo>
                      <a:pt x="233" y="48"/>
                    </a:lnTo>
                    <a:lnTo>
                      <a:pt x="231" y="44"/>
                    </a:lnTo>
                    <a:lnTo>
                      <a:pt x="231" y="42"/>
                    </a:lnTo>
                    <a:lnTo>
                      <a:pt x="224" y="33"/>
                    </a:lnTo>
                    <a:lnTo>
                      <a:pt x="217" y="24"/>
                    </a:lnTo>
                    <a:lnTo>
                      <a:pt x="211" y="24"/>
                    </a:lnTo>
                    <a:lnTo>
                      <a:pt x="209" y="24"/>
                    </a:lnTo>
                    <a:lnTo>
                      <a:pt x="206" y="24"/>
                    </a:lnTo>
                    <a:lnTo>
                      <a:pt x="204" y="24"/>
                    </a:lnTo>
                    <a:lnTo>
                      <a:pt x="202" y="22"/>
                    </a:lnTo>
                    <a:lnTo>
                      <a:pt x="200" y="20"/>
                    </a:lnTo>
                    <a:lnTo>
                      <a:pt x="198" y="20"/>
                    </a:lnTo>
                    <a:lnTo>
                      <a:pt x="195" y="22"/>
                    </a:lnTo>
                    <a:lnTo>
                      <a:pt x="195" y="22"/>
                    </a:lnTo>
                    <a:lnTo>
                      <a:pt x="193" y="24"/>
                    </a:lnTo>
                    <a:lnTo>
                      <a:pt x="187" y="29"/>
                    </a:lnTo>
                    <a:lnTo>
                      <a:pt x="184" y="29"/>
                    </a:lnTo>
                    <a:lnTo>
                      <a:pt x="182" y="31"/>
                    </a:lnTo>
                    <a:lnTo>
                      <a:pt x="180" y="31"/>
                    </a:lnTo>
                    <a:lnTo>
                      <a:pt x="178" y="31"/>
                    </a:lnTo>
                    <a:lnTo>
                      <a:pt x="171" y="29"/>
                    </a:lnTo>
                    <a:lnTo>
                      <a:pt x="169" y="26"/>
                    </a:lnTo>
                    <a:lnTo>
                      <a:pt x="167" y="26"/>
                    </a:lnTo>
                    <a:lnTo>
                      <a:pt x="165" y="24"/>
                    </a:lnTo>
                    <a:lnTo>
                      <a:pt x="160" y="22"/>
                    </a:lnTo>
                    <a:lnTo>
                      <a:pt x="158" y="18"/>
                    </a:lnTo>
                    <a:lnTo>
                      <a:pt x="156" y="15"/>
                    </a:lnTo>
                    <a:lnTo>
                      <a:pt x="154" y="15"/>
                    </a:lnTo>
                    <a:lnTo>
                      <a:pt x="147" y="13"/>
                    </a:lnTo>
                    <a:lnTo>
                      <a:pt x="147" y="13"/>
                    </a:lnTo>
                    <a:lnTo>
                      <a:pt x="145" y="11"/>
                    </a:lnTo>
                    <a:lnTo>
                      <a:pt x="145" y="11"/>
                    </a:lnTo>
                    <a:lnTo>
                      <a:pt x="145" y="11"/>
                    </a:lnTo>
                    <a:lnTo>
                      <a:pt x="145" y="7"/>
                    </a:lnTo>
                    <a:lnTo>
                      <a:pt x="143" y="4"/>
                    </a:lnTo>
                    <a:lnTo>
                      <a:pt x="143" y="2"/>
                    </a:lnTo>
                    <a:lnTo>
                      <a:pt x="138" y="0"/>
                    </a:lnTo>
                    <a:lnTo>
                      <a:pt x="127" y="9"/>
                    </a:lnTo>
                    <a:lnTo>
                      <a:pt x="121" y="15"/>
                    </a:lnTo>
                    <a:lnTo>
                      <a:pt x="119" y="18"/>
                    </a:lnTo>
                    <a:lnTo>
                      <a:pt x="116" y="20"/>
                    </a:lnTo>
                    <a:lnTo>
                      <a:pt x="112" y="35"/>
                    </a:lnTo>
                    <a:lnTo>
                      <a:pt x="108" y="46"/>
                    </a:lnTo>
                    <a:lnTo>
                      <a:pt x="114" y="57"/>
                    </a:lnTo>
                    <a:lnTo>
                      <a:pt x="116" y="57"/>
                    </a:lnTo>
                    <a:lnTo>
                      <a:pt x="119" y="59"/>
                    </a:lnTo>
                    <a:lnTo>
                      <a:pt x="119" y="59"/>
                    </a:lnTo>
                    <a:lnTo>
                      <a:pt x="121" y="59"/>
                    </a:lnTo>
                    <a:lnTo>
                      <a:pt x="121" y="57"/>
                    </a:lnTo>
                    <a:lnTo>
                      <a:pt x="123" y="57"/>
                    </a:lnTo>
                    <a:lnTo>
                      <a:pt x="123" y="57"/>
                    </a:lnTo>
                    <a:lnTo>
                      <a:pt x="125" y="57"/>
                    </a:lnTo>
                    <a:lnTo>
                      <a:pt x="127" y="57"/>
                    </a:lnTo>
                    <a:lnTo>
                      <a:pt x="130" y="59"/>
                    </a:lnTo>
                    <a:lnTo>
                      <a:pt x="130" y="59"/>
                    </a:lnTo>
                    <a:lnTo>
                      <a:pt x="132" y="59"/>
                    </a:lnTo>
                    <a:lnTo>
                      <a:pt x="134" y="66"/>
                    </a:lnTo>
                    <a:lnTo>
                      <a:pt x="134" y="68"/>
                    </a:lnTo>
                    <a:lnTo>
                      <a:pt x="138" y="72"/>
                    </a:lnTo>
                    <a:lnTo>
                      <a:pt x="147" y="83"/>
                    </a:lnTo>
                    <a:lnTo>
                      <a:pt x="149" y="88"/>
                    </a:lnTo>
                    <a:lnTo>
                      <a:pt x="149" y="90"/>
                    </a:lnTo>
                    <a:lnTo>
                      <a:pt x="149" y="92"/>
                    </a:lnTo>
                    <a:lnTo>
                      <a:pt x="149" y="97"/>
                    </a:lnTo>
                    <a:lnTo>
                      <a:pt x="149" y="99"/>
                    </a:lnTo>
                    <a:lnTo>
                      <a:pt x="149" y="101"/>
                    </a:lnTo>
                    <a:lnTo>
                      <a:pt x="149" y="103"/>
                    </a:lnTo>
                    <a:lnTo>
                      <a:pt x="149" y="105"/>
                    </a:lnTo>
                    <a:lnTo>
                      <a:pt x="154" y="114"/>
                    </a:lnTo>
                    <a:lnTo>
                      <a:pt x="156" y="116"/>
                    </a:lnTo>
                    <a:lnTo>
                      <a:pt x="156" y="119"/>
                    </a:lnTo>
                    <a:lnTo>
                      <a:pt x="156" y="121"/>
                    </a:lnTo>
                    <a:lnTo>
                      <a:pt x="156" y="121"/>
                    </a:lnTo>
                    <a:lnTo>
                      <a:pt x="156" y="123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4" y="127"/>
                    </a:lnTo>
                    <a:lnTo>
                      <a:pt x="154" y="127"/>
                    </a:lnTo>
                    <a:lnTo>
                      <a:pt x="154" y="129"/>
                    </a:lnTo>
                    <a:lnTo>
                      <a:pt x="154" y="129"/>
                    </a:lnTo>
                    <a:lnTo>
                      <a:pt x="154" y="129"/>
                    </a:lnTo>
                    <a:lnTo>
                      <a:pt x="152" y="129"/>
                    </a:lnTo>
                    <a:lnTo>
                      <a:pt x="149" y="129"/>
                    </a:lnTo>
                    <a:lnTo>
                      <a:pt x="149" y="129"/>
                    </a:lnTo>
                    <a:lnTo>
                      <a:pt x="147" y="129"/>
                    </a:lnTo>
                    <a:lnTo>
                      <a:pt x="149" y="136"/>
                    </a:lnTo>
                    <a:lnTo>
                      <a:pt x="149" y="138"/>
                    </a:lnTo>
                    <a:lnTo>
                      <a:pt x="147" y="145"/>
                    </a:lnTo>
                    <a:lnTo>
                      <a:pt x="152" y="149"/>
                    </a:lnTo>
                    <a:lnTo>
                      <a:pt x="158" y="162"/>
                    </a:lnTo>
                    <a:lnTo>
                      <a:pt x="158" y="165"/>
                    </a:lnTo>
                    <a:lnTo>
                      <a:pt x="158" y="169"/>
                    </a:lnTo>
                    <a:lnTo>
                      <a:pt x="158" y="171"/>
                    </a:lnTo>
                    <a:lnTo>
                      <a:pt x="156" y="171"/>
                    </a:lnTo>
                    <a:lnTo>
                      <a:pt x="154" y="171"/>
                    </a:lnTo>
                    <a:lnTo>
                      <a:pt x="149" y="167"/>
                    </a:lnTo>
                    <a:lnTo>
                      <a:pt x="145" y="165"/>
                    </a:lnTo>
                    <a:lnTo>
                      <a:pt x="143" y="165"/>
                    </a:lnTo>
                    <a:lnTo>
                      <a:pt x="141" y="165"/>
                    </a:lnTo>
                    <a:lnTo>
                      <a:pt x="138" y="165"/>
                    </a:lnTo>
                    <a:lnTo>
                      <a:pt x="136" y="167"/>
                    </a:lnTo>
                    <a:lnTo>
                      <a:pt x="134" y="167"/>
                    </a:lnTo>
                    <a:lnTo>
                      <a:pt x="134" y="169"/>
                    </a:lnTo>
                    <a:lnTo>
                      <a:pt x="134" y="171"/>
                    </a:lnTo>
                    <a:lnTo>
                      <a:pt x="134" y="173"/>
                    </a:lnTo>
                    <a:lnTo>
                      <a:pt x="134" y="176"/>
                    </a:lnTo>
                    <a:lnTo>
                      <a:pt x="134" y="178"/>
                    </a:lnTo>
                    <a:lnTo>
                      <a:pt x="134" y="182"/>
                    </a:lnTo>
                    <a:lnTo>
                      <a:pt x="136" y="187"/>
                    </a:lnTo>
                    <a:lnTo>
                      <a:pt x="136" y="187"/>
                    </a:lnTo>
                    <a:lnTo>
                      <a:pt x="136" y="189"/>
                    </a:lnTo>
                    <a:lnTo>
                      <a:pt x="136" y="191"/>
                    </a:lnTo>
                    <a:lnTo>
                      <a:pt x="134" y="193"/>
                    </a:lnTo>
                    <a:lnTo>
                      <a:pt x="132" y="195"/>
                    </a:lnTo>
                    <a:lnTo>
                      <a:pt x="130" y="198"/>
                    </a:lnTo>
                    <a:lnTo>
                      <a:pt x="123" y="198"/>
                    </a:lnTo>
                    <a:lnTo>
                      <a:pt x="119" y="198"/>
                    </a:lnTo>
                    <a:lnTo>
                      <a:pt x="116" y="200"/>
                    </a:lnTo>
                    <a:lnTo>
                      <a:pt x="112" y="200"/>
                    </a:lnTo>
                    <a:lnTo>
                      <a:pt x="110" y="200"/>
                    </a:lnTo>
                    <a:lnTo>
                      <a:pt x="108" y="200"/>
                    </a:lnTo>
                    <a:lnTo>
                      <a:pt x="105" y="198"/>
                    </a:lnTo>
                    <a:lnTo>
                      <a:pt x="103" y="198"/>
                    </a:lnTo>
                    <a:lnTo>
                      <a:pt x="103" y="198"/>
                    </a:lnTo>
                    <a:lnTo>
                      <a:pt x="101" y="200"/>
                    </a:lnTo>
                    <a:lnTo>
                      <a:pt x="99" y="204"/>
                    </a:lnTo>
                    <a:lnTo>
                      <a:pt x="97" y="209"/>
                    </a:lnTo>
                    <a:lnTo>
                      <a:pt x="86" y="213"/>
                    </a:lnTo>
                    <a:lnTo>
                      <a:pt x="83" y="215"/>
                    </a:lnTo>
                    <a:lnTo>
                      <a:pt x="83" y="217"/>
                    </a:lnTo>
                    <a:lnTo>
                      <a:pt x="86" y="217"/>
                    </a:lnTo>
                    <a:lnTo>
                      <a:pt x="90" y="224"/>
                    </a:lnTo>
                    <a:lnTo>
                      <a:pt x="90" y="224"/>
                    </a:lnTo>
                    <a:lnTo>
                      <a:pt x="92" y="226"/>
                    </a:lnTo>
                    <a:lnTo>
                      <a:pt x="97" y="226"/>
                    </a:lnTo>
                    <a:lnTo>
                      <a:pt x="99" y="226"/>
                    </a:lnTo>
                    <a:lnTo>
                      <a:pt x="99" y="228"/>
                    </a:lnTo>
                    <a:lnTo>
                      <a:pt x="99" y="228"/>
                    </a:lnTo>
                    <a:lnTo>
                      <a:pt x="92" y="235"/>
                    </a:lnTo>
                    <a:lnTo>
                      <a:pt x="88" y="235"/>
                    </a:lnTo>
                    <a:lnTo>
                      <a:pt x="86" y="235"/>
                    </a:lnTo>
                    <a:lnTo>
                      <a:pt x="83" y="233"/>
                    </a:lnTo>
                    <a:lnTo>
                      <a:pt x="77" y="233"/>
                    </a:lnTo>
                    <a:lnTo>
                      <a:pt x="75" y="233"/>
                    </a:lnTo>
                    <a:lnTo>
                      <a:pt x="72" y="230"/>
                    </a:lnTo>
                    <a:lnTo>
                      <a:pt x="72" y="230"/>
                    </a:lnTo>
                    <a:lnTo>
                      <a:pt x="68" y="224"/>
                    </a:lnTo>
                    <a:lnTo>
                      <a:pt x="68" y="222"/>
                    </a:lnTo>
                    <a:lnTo>
                      <a:pt x="66" y="222"/>
                    </a:lnTo>
                    <a:lnTo>
                      <a:pt x="64" y="222"/>
                    </a:lnTo>
                    <a:lnTo>
                      <a:pt x="62" y="222"/>
                    </a:lnTo>
                    <a:lnTo>
                      <a:pt x="55" y="224"/>
                    </a:lnTo>
                    <a:lnTo>
                      <a:pt x="46" y="226"/>
                    </a:lnTo>
                    <a:lnTo>
                      <a:pt x="44" y="228"/>
                    </a:lnTo>
                    <a:lnTo>
                      <a:pt x="44" y="228"/>
                    </a:lnTo>
                    <a:lnTo>
                      <a:pt x="37" y="246"/>
                    </a:lnTo>
                    <a:lnTo>
                      <a:pt x="40" y="248"/>
                    </a:lnTo>
                    <a:lnTo>
                      <a:pt x="40" y="250"/>
                    </a:lnTo>
                    <a:lnTo>
                      <a:pt x="42" y="250"/>
                    </a:lnTo>
                    <a:lnTo>
                      <a:pt x="46" y="252"/>
                    </a:lnTo>
                    <a:lnTo>
                      <a:pt x="51" y="255"/>
                    </a:lnTo>
                    <a:lnTo>
                      <a:pt x="51" y="257"/>
                    </a:lnTo>
                    <a:lnTo>
                      <a:pt x="51" y="257"/>
                    </a:lnTo>
                    <a:lnTo>
                      <a:pt x="53" y="259"/>
                    </a:lnTo>
                    <a:lnTo>
                      <a:pt x="53" y="261"/>
                    </a:lnTo>
                    <a:lnTo>
                      <a:pt x="53" y="263"/>
                    </a:lnTo>
                    <a:lnTo>
                      <a:pt x="55" y="263"/>
                    </a:lnTo>
                    <a:lnTo>
                      <a:pt x="57" y="266"/>
                    </a:lnTo>
                    <a:lnTo>
                      <a:pt x="59" y="268"/>
                    </a:lnTo>
                    <a:lnTo>
                      <a:pt x="59" y="268"/>
                    </a:lnTo>
                    <a:lnTo>
                      <a:pt x="62" y="270"/>
                    </a:lnTo>
                    <a:lnTo>
                      <a:pt x="62" y="272"/>
                    </a:lnTo>
                    <a:lnTo>
                      <a:pt x="64" y="274"/>
                    </a:lnTo>
                    <a:lnTo>
                      <a:pt x="64" y="290"/>
                    </a:lnTo>
                    <a:lnTo>
                      <a:pt x="64" y="296"/>
                    </a:lnTo>
                    <a:lnTo>
                      <a:pt x="70" y="312"/>
                    </a:lnTo>
                    <a:lnTo>
                      <a:pt x="75" y="325"/>
                    </a:lnTo>
                    <a:lnTo>
                      <a:pt x="77" y="334"/>
                    </a:lnTo>
                    <a:lnTo>
                      <a:pt x="75" y="356"/>
                    </a:lnTo>
                    <a:lnTo>
                      <a:pt x="72" y="360"/>
                    </a:lnTo>
                    <a:lnTo>
                      <a:pt x="72" y="362"/>
                    </a:lnTo>
                    <a:lnTo>
                      <a:pt x="70" y="364"/>
                    </a:lnTo>
                    <a:lnTo>
                      <a:pt x="68" y="364"/>
                    </a:lnTo>
                    <a:lnTo>
                      <a:pt x="57" y="364"/>
                    </a:lnTo>
                    <a:lnTo>
                      <a:pt x="26" y="369"/>
                    </a:lnTo>
                    <a:lnTo>
                      <a:pt x="20" y="373"/>
                    </a:lnTo>
                    <a:lnTo>
                      <a:pt x="15" y="375"/>
                    </a:lnTo>
                    <a:lnTo>
                      <a:pt x="13" y="380"/>
                    </a:lnTo>
                    <a:lnTo>
                      <a:pt x="11" y="384"/>
                    </a:lnTo>
                    <a:lnTo>
                      <a:pt x="9" y="384"/>
                    </a:lnTo>
                    <a:lnTo>
                      <a:pt x="9" y="388"/>
                    </a:lnTo>
                    <a:lnTo>
                      <a:pt x="9" y="391"/>
                    </a:lnTo>
                    <a:lnTo>
                      <a:pt x="13" y="399"/>
                    </a:lnTo>
                    <a:lnTo>
                      <a:pt x="13" y="402"/>
                    </a:lnTo>
                    <a:lnTo>
                      <a:pt x="13" y="406"/>
                    </a:lnTo>
                    <a:lnTo>
                      <a:pt x="7" y="419"/>
                    </a:lnTo>
                    <a:lnTo>
                      <a:pt x="4" y="421"/>
                    </a:lnTo>
                    <a:lnTo>
                      <a:pt x="2" y="426"/>
                    </a:lnTo>
                    <a:lnTo>
                      <a:pt x="0" y="428"/>
                    </a:lnTo>
                    <a:lnTo>
                      <a:pt x="2" y="430"/>
                    </a:lnTo>
                    <a:lnTo>
                      <a:pt x="4" y="432"/>
                    </a:lnTo>
                    <a:lnTo>
                      <a:pt x="11" y="439"/>
                    </a:lnTo>
                    <a:lnTo>
                      <a:pt x="13" y="439"/>
                    </a:lnTo>
                    <a:lnTo>
                      <a:pt x="13" y="441"/>
                    </a:lnTo>
                    <a:lnTo>
                      <a:pt x="15" y="443"/>
                    </a:lnTo>
                    <a:lnTo>
                      <a:pt x="15" y="446"/>
                    </a:lnTo>
                    <a:lnTo>
                      <a:pt x="15" y="448"/>
                    </a:lnTo>
                    <a:lnTo>
                      <a:pt x="13" y="456"/>
                    </a:lnTo>
                    <a:lnTo>
                      <a:pt x="15" y="463"/>
                    </a:lnTo>
                    <a:lnTo>
                      <a:pt x="15" y="470"/>
                    </a:lnTo>
                    <a:lnTo>
                      <a:pt x="15" y="470"/>
                    </a:lnTo>
                    <a:lnTo>
                      <a:pt x="18" y="472"/>
                    </a:lnTo>
                    <a:lnTo>
                      <a:pt x="26" y="470"/>
                    </a:lnTo>
                    <a:lnTo>
                      <a:pt x="29" y="467"/>
                    </a:lnTo>
                    <a:lnTo>
                      <a:pt x="31" y="467"/>
                    </a:lnTo>
                    <a:lnTo>
                      <a:pt x="33" y="465"/>
                    </a:lnTo>
                    <a:lnTo>
                      <a:pt x="37" y="461"/>
                    </a:lnTo>
                    <a:lnTo>
                      <a:pt x="37" y="459"/>
                    </a:lnTo>
                    <a:lnTo>
                      <a:pt x="40" y="459"/>
                    </a:lnTo>
                    <a:lnTo>
                      <a:pt x="42" y="459"/>
                    </a:lnTo>
                    <a:lnTo>
                      <a:pt x="44" y="459"/>
                    </a:lnTo>
                    <a:lnTo>
                      <a:pt x="46" y="461"/>
                    </a:lnTo>
                    <a:lnTo>
                      <a:pt x="46" y="463"/>
                    </a:lnTo>
                    <a:lnTo>
                      <a:pt x="48" y="465"/>
                    </a:lnTo>
                    <a:lnTo>
                      <a:pt x="51" y="467"/>
                    </a:lnTo>
                    <a:lnTo>
                      <a:pt x="53" y="470"/>
                    </a:lnTo>
                    <a:lnTo>
                      <a:pt x="53" y="470"/>
                    </a:lnTo>
                    <a:lnTo>
                      <a:pt x="55" y="472"/>
                    </a:lnTo>
                    <a:lnTo>
                      <a:pt x="53" y="476"/>
                    </a:lnTo>
                    <a:lnTo>
                      <a:pt x="53" y="478"/>
                    </a:lnTo>
                    <a:lnTo>
                      <a:pt x="55" y="483"/>
                    </a:lnTo>
                    <a:lnTo>
                      <a:pt x="57" y="485"/>
                    </a:lnTo>
                    <a:lnTo>
                      <a:pt x="66" y="489"/>
                    </a:lnTo>
                    <a:lnTo>
                      <a:pt x="66" y="492"/>
                    </a:lnTo>
                    <a:lnTo>
                      <a:pt x="68" y="492"/>
                    </a:lnTo>
                    <a:lnTo>
                      <a:pt x="68" y="496"/>
                    </a:lnTo>
                    <a:lnTo>
                      <a:pt x="68" y="498"/>
                    </a:lnTo>
                    <a:lnTo>
                      <a:pt x="70" y="505"/>
                    </a:lnTo>
                    <a:lnTo>
                      <a:pt x="70" y="509"/>
                    </a:lnTo>
                    <a:lnTo>
                      <a:pt x="75" y="514"/>
                    </a:lnTo>
                    <a:lnTo>
                      <a:pt x="77" y="520"/>
                    </a:lnTo>
                    <a:lnTo>
                      <a:pt x="81" y="525"/>
                    </a:lnTo>
                    <a:lnTo>
                      <a:pt x="81" y="527"/>
                    </a:lnTo>
                    <a:lnTo>
                      <a:pt x="81" y="529"/>
                    </a:lnTo>
                    <a:lnTo>
                      <a:pt x="83" y="535"/>
                    </a:lnTo>
                    <a:lnTo>
                      <a:pt x="83" y="542"/>
                    </a:lnTo>
                    <a:lnTo>
                      <a:pt x="81" y="544"/>
                    </a:lnTo>
                    <a:lnTo>
                      <a:pt x="77" y="562"/>
                    </a:lnTo>
                    <a:lnTo>
                      <a:pt x="77" y="564"/>
                    </a:lnTo>
                    <a:lnTo>
                      <a:pt x="77" y="566"/>
                    </a:lnTo>
                    <a:lnTo>
                      <a:pt x="77" y="566"/>
                    </a:lnTo>
                    <a:lnTo>
                      <a:pt x="79" y="568"/>
                    </a:lnTo>
                    <a:lnTo>
                      <a:pt x="81" y="571"/>
                    </a:lnTo>
                    <a:lnTo>
                      <a:pt x="86" y="573"/>
                    </a:lnTo>
                    <a:lnTo>
                      <a:pt x="99" y="575"/>
                    </a:lnTo>
                    <a:lnTo>
                      <a:pt x="114" y="579"/>
                    </a:lnTo>
                    <a:lnTo>
                      <a:pt x="121" y="579"/>
                    </a:lnTo>
                    <a:lnTo>
                      <a:pt x="123" y="582"/>
                    </a:lnTo>
                    <a:lnTo>
                      <a:pt x="123" y="582"/>
                    </a:lnTo>
                    <a:lnTo>
                      <a:pt x="125" y="584"/>
                    </a:lnTo>
                    <a:lnTo>
                      <a:pt x="123" y="586"/>
                    </a:lnTo>
                    <a:lnTo>
                      <a:pt x="123" y="588"/>
                    </a:lnTo>
                    <a:lnTo>
                      <a:pt x="123" y="590"/>
                    </a:lnTo>
                    <a:lnTo>
                      <a:pt x="125" y="595"/>
                    </a:lnTo>
                    <a:lnTo>
                      <a:pt x="130" y="601"/>
                    </a:lnTo>
                    <a:lnTo>
                      <a:pt x="132" y="606"/>
                    </a:lnTo>
                    <a:lnTo>
                      <a:pt x="132" y="608"/>
                    </a:lnTo>
                    <a:lnTo>
                      <a:pt x="134" y="610"/>
                    </a:lnTo>
                    <a:lnTo>
                      <a:pt x="134" y="612"/>
                    </a:lnTo>
                    <a:lnTo>
                      <a:pt x="136" y="615"/>
                    </a:lnTo>
                    <a:lnTo>
                      <a:pt x="143" y="617"/>
                    </a:lnTo>
                    <a:lnTo>
                      <a:pt x="147" y="619"/>
                    </a:lnTo>
                    <a:lnTo>
                      <a:pt x="147" y="623"/>
                    </a:lnTo>
                    <a:lnTo>
                      <a:pt x="147" y="625"/>
                    </a:lnTo>
                    <a:lnTo>
                      <a:pt x="149" y="625"/>
                    </a:lnTo>
                    <a:lnTo>
                      <a:pt x="149" y="628"/>
                    </a:lnTo>
                    <a:lnTo>
                      <a:pt x="156" y="634"/>
                    </a:lnTo>
                    <a:lnTo>
                      <a:pt x="158" y="636"/>
                    </a:lnTo>
                    <a:lnTo>
                      <a:pt x="158" y="636"/>
                    </a:lnTo>
                    <a:lnTo>
                      <a:pt x="160" y="639"/>
                    </a:lnTo>
                    <a:lnTo>
                      <a:pt x="165" y="639"/>
                    </a:lnTo>
                    <a:lnTo>
                      <a:pt x="169" y="639"/>
                    </a:lnTo>
                    <a:lnTo>
                      <a:pt x="171" y="639"/>
                    </a:lnTo>
                    <a:lnTo>
                      <a:pt x="173" y="639"/>
                    </a:lnTo>
                    <a:lnTo>
                      <a:pt x="178" y="636"/>
                    </a:lnTo>
                    <a:lnTo>
                      <a:pt x="182" y="634"/>
                    </a:lnTo>
                    <a:lnTo>
                      <a:pt x="187" y="632"/>
                    </a:lnTo>
                    <a:lnTo>
                      <a:pt x="189" y="630"/>
                    </a:lnTo>
                    <a:lnTo>
                      <a:pt x="189" y="630"/>
                    </a:lnTo>
                    <a:lnTo>
                      <a:pt x="191" y="632"/>
                    </a:lnTo>
                    <a:lnTo>
                      <a:pt x="191" y="634"/>
                    </a:lnTo>
                    <a:lnTo>
                      <a:pt x="193" y="641"/>
                    </a:lnTo>
                    <a:lnTo>
                      <a:pt x="193" y="641"/>
                    </a:lnTo>
                    <a:lnTo>
                      <a:pt x="193" y="641"/>
                    </a:lnTo>
                    <a:lnTo>
                      <a:pt x="193" y="643"/>
                    </a:lnTo>
                    <a:lnTo>
                      <a:pt x="195" y="643"/>
                    </a:lnTo>
                    <a:lnTo>
                      <a:pt x="195" y="645"/>
                    </a:lnTo>
                    <a:lnTo>
                      <a:pt x="195" y="647"/>
                    </a:lnTo>
                    <a:lnTo>
                      <a:pt x="195" y="656"/>
                    </a:lnTo>
                    <a:lnTo>
                      <a:pt x="195" y="656"/>
                    </a:lnTo>
                    <a:lnTo>
                      <a:pt x="195" y="658"/>
                    </a:lnTo>
                    <a:lnTo>
                      <a:pt x="195" y="661"/>
                    </a:lnTo>
                    <a:lnTo>
                      <a:pt x="198" y="661"/>
                    </a:lnTo>
                    <a:lnTo>
                      <a:pt x="200" y="661"/>
                    </a:lnTo>
                    <a:lnTo>
                      <a:pt x="215" y="654"/>
                    </a:lnTo>
                    <a:lnTo>
                      <a:pt x="217" y="652"/>
                    </a:lnTo>
                    <a:lnTo>
                      <a:pt x="217" y="650"/>
                    </a:lnTo>
                    <a:lnTo>
                      <a:pt x="220" y="645"/>
                    </a:lnTo>
                    <a:lnTo>
                      <a:pt x="228" y="632"/>
                    </a:lnTo>
                    <a:lnTo>
                      <a:pt x="228" y="632"/>
                    </a:lnTo>
                    <a:lnTo>
                      <a:pt x="231" y="630"/>
                    </a:lnTo>
                    <a:lnTo>
                      <a:pt x="235" y="630"/>
                    </a:lnTo>
                    <a:lnTo>
                      <a:pt x="255" y="630"/>
                    </a:lnTo>
                    <a:lnTo>
                      <a:pt x="274" y="628"/>
                    </a:lnTo>
                    <a:lnTo>
                      <a:pt x="281" y="628"/>
                    </a:lnTo>
                    <a:lnTo>
                      <a:pt x="290" y="625"/>
                    </a:lnTo>
                    <a:lnTo>
                      <a:pt x="312" y="615"/>
                    </a:lnTo>
                    <a:lnTo>
                      <a:pt x="318" y="617"/>
                    </a:lnTo>
                    <a:lnTo>
                      <a:pt x="318" y="619"/>
                    </a:lnTo>
                    <a:lnTo>
                      <a:pt x="323" y="619"/>
                    </a:lnTo>
                    <a:lnTo>
                      <a:pt x="336" y="621"/>
                    </a:lnTo>
                    <a:lnTo>
                      <a:pt x="345" y="621"/>
                    </a:lnTo>
                    <a:lnTo>
                      <a:pt x="345" y="619"/>
                    </a:lnTo>
                    <a:lnTo>
                      <a:pt x="343" y="615"/>
                    </a:lnTo>
                    <a:lnTo>
                      <a:pt x="343" y="608"/>
                    </a:lnTo>
                    <a:lnTo>
                      <a:pt x="343" y="601"/>
                    </a:lnTo>
                    <a:lnTo>
                      <a:pt x="345" y="599"/>
                    </a:lnTo>
                    <a:lnTo>
                      <a:pt x="347" y="599"/>
                    </a:lnTo>
                    <a:lnTo>
                      <a:pt x="349" y="599"/>
                    </a:lnTo>
                    <a:lnTo>
                      <a:pt x="351" y="599"/>
                    </a:lnTo>
                    <a:lnTo>
                      <a:pt x="356" y="599"/>
                    </a:lnTo>
                    <a:lnTo>
                      <a:pt x="362" y="601"/>
                    </a:lnTo>
                    <a:lnTo>
                      <a:pt x="365" y="601"/>
                    </a:lnTo>
                    <a:lnTo>
                      <a:pt x="365" y="601"/>
                    </a:lnTo>
                    <a:lnTo>
                      <a:pt x="367" y="601"/>
                    </a:lnTo>
                    <a:lnTo>
                      <a:pt x="367" y="599"/>
                    </a:lnTo>
                    <a:lnTo>
                      <a:pt x="369" y="597"/>
                    </a:lnTo>
                    <a:lnTo>
                      <a:pt x="375" y="584"/>
                    </a:lnTo>
                    <a:lnTo>
                      <a:pt x="378" y="584"/>
                    </a:lnTo>
                    <a:lnTo>
                      <a:pt x="389" y="573"/>
                    </a:lnTo>
                    <a:lnTo>
                      <a:pt x="391" y="568"/>
                    </a:lnTo>
                    <a:lnTo>
                      <a:pt x="393" y="562"/>
                    </a:lnTo>
                    <a:lnTo>
                      <a:pt x="393" y="553"/>
                    </a:lnTo>
                    <a:lnTo>
                      <a:pt x="395" y="544"/>
                    </a:lnTo>
                    <a:lnTo>
                      <a:pt x="395" y="542"/>
                    </a:lnTo>
                    <a:lnTo>
                      <a:pt x="395" y="540"/>
                    </a:lnTo>
                    <a:lnTo>
                      <a:pt x="395" y="538"/>
                    </a:lnTo>
                    <a:lnTo>
                      <a:pt x="395" y="535"/>
                    </a:lnTo>
                    <a:lnTo>
                      <a:pt x="391" y="531"/>
                    </a:lnTo>
                    <a:lnTo>
                      <a:pt x="391" y="527"/>
                    </a:lnTo>
                    <a:lnTo>
                      <a:pt x="391" y="518"/>
                    </a:lnTo>
                    <a:lnTo>
                      <a:pt x="393" y="516"/>
                    </a:lnTo>
                    <a:lnTo>
                      <a:pt x="395" y="514"/>
                    </a:lnTo>
                    <a:lnTo>
                      <a:pt x="395" y="511"/>
                    </a:lnTo>
                    <a:lnTo>
                      <a:pt x="397" y="511"/>
                    </a:lnTo>
                    <a:lnTo>
                      <a:pt x="400" y="509"/>
                    </a:lnTo>
                    <a:lnTo>
                      <a:pt x="402" y="509"/>
                    </a:lnTo>
                    <a:lnTo>
                      <a:pt x="404" y="507"/>
                    </a:lnTo>
                    <a:lnTo>
                      <a:pt x="406" y="507"/>
                    </a:lnTo>
                    <a:lnTo>
                      <a:pt x="415" y="509"/>
                    </a:lnTo>
                    <a:lnTo>
                      <a:pt x="417" y="509"/>
                    </a:lnTo>
                    <a:lnTo>
                      <a:pt x="419" y="509"/>
                    </a:lnTo>
                    <a:lnTo>
                      <a:pt x="424" y="507"/>
                    </a:lnTo>
                    <a:lnTo>
                      <a:pt x="426" y="507"/>
                    </a:lnTo>
                    <a:lnTo>
                      <a:pt x="428" y="505"/>
                    </a:lnTo>
                    <a:lnTo>
                      <a:pt x="428" y="503"/>
                    </a:lnTo>
                    <a:lnTo>
                      <a:pt x="426" y="498"/>
                    </a:lnTo>
                    <a:lnTo>
                      <a:pt x="426" y="498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43" name="Freeform 18"/>
              <p:cNvSpPr>
                <a:spLocks/>
              </p:cNvSpPr>
              <p:nvPr/>
            </p:nvSpPr>
            <p:spPr bwMode="auto">
              <a:xfrm>
                <a:off x="5562600" y="5410200"/>
                <a:ext cx="1250950" cy="815975"/>
              </a:xfrm>
              <a:custGeom>
                <a:avLst/>
                <a:gdLst>
                  <a:gd name="T0" fmla="*/ 768 w 788"/>
                  <a:gd name="T1" fmla="*/ 218 h 514"/>
                  <a:gd name="T2" fmla="*/ 773 w 788"/>
                  <a:gd name="T3" fmla="*/ 194 h 514"/>
                  <a:gd name="T4" fmla="*/ 755 w 788"/>
                  <a:gd name="T5" fmla="*/ 163 h 514"/>
                  <a:gd name="T6" fmla="*/ 753 w 788"/>
                  <a:gd name="T7" fmla="*/ 130 h 514"/>
                  <a:gd name="T8" fmla="*/ 725 w 788"/>
                  <a:gd name="T9" fmla="*/ 108 h 514"/>
                  <a:gd name="T10" fmla="*/ 720 w 788"/>
                  <a:gd name="T11" fmla="*/ 82 h 514"/>
                  <a:gd name="T12" fmla="*/ 703 w 788"/>
                  <a:gd name="T13" fmla="*/ 88 h 514"/>
                  <a:gd name="T14" fmla="*/ 674 w 788"/>
                  <a:gd name="T15" fmla="*/ 75 h 514"/>
                  <a:gd name="T16" fmla="*/ 663 w 788"/>
                  <a:gd name="T17" fmla="*/ 77 h 514"/>
                  <a:gd name="T18" fmla="*/ 646 w 788"/>
                  <a:gd name="T19" fmla="*/ 82 h 514"/>
                  <a:gd name="T20" fmla="*/ 604 w 788"/>
                  <a:gd name="T21" fmla="*/ 79 h 514"/>
                  <a:gd name="T22" fmla="*/ 597 w 788"/>
                  <a:gd name="T23" fmla="*/ 55 h 514"/>
                  <a:gd name="T24" fmla="*/ 608 w 788"/>
                  <a:gd name="T25" fmla="*/ 42 h 514"/>
                  <a:gd name="T26" fmla="*/ 593 w 788"/>
                  <a:gd name="T27" fmla="*/ 33 h 514"/>
                  <a:gd name="T28" fmla="*/ 569 w 788"/>
                  <a:gd name="T29" fmla="*/ 3 h 514"/>
                  <a:gd name="T30" fmla="*/ 566 w 788"/>
                  <a:gd name="T31" fmla="*/ 16 h 514"/>
                  <a:gd name="T32" fmla="*/ 564 w 788"/>
                  <a:gd name="T33" fmla="*/ 36 h 514"/>
                  <a:gd name="T34" fmla="*/ 549 w 788"/>
                  <a:gd name="T35" fmla="*/ 31 h 514"/>
                  <a:gd name="T36" fmla="*/ 527 w 788"/>
                  <a:gd name="T37" fmla="*/ 33 h 514"/>
                  <a:gd name="T38" fmla="*/ 481 w 788"/>
                  <a:gd name="T39" fmla="*/ 11 h 514"/>
                  <a:gd name="T40" fmla="*/ 452 w 788"/>
                  <a:gd name="T41" fmla="*/ 5 h 514"/>
                  <a:gd name="T42" fmla="*/ 428 w 788"/>
                  <a:gd name="T43" fmla="*/ 0 h 514"/>
                  <a:gd name="T44" fmla="*/ 413 w 788"/>
                  <a:gd name="T45" fmla="*/ 29 h 514"/>
                  <a:gd name="T46" fmla="*/ 386 w 788"/>
                  <a:gd name="T47" fmla="*/ 33 h 514"/>
                  <a:gd name="T48" fmla="*/ 384 w 788"/>
                  <a:gd name="T49" fmla="*/ 60 h 514"/>
                  <a:gd name="T50" fmla="*/ 367 w 788"/>
                  <a:gd name="T51" fmla="*/ 106 h 514"/>
                  <a:gd name="T52" fmla="*/ 345 w 788"/>
                  <a:gd name="T53" fmla="*/ 121 h 514"/>
                  <a:gd name="T54" fmla="*/ 334 w 788"/>
                  <a:gd name="T55" fmla="*/ 141 h 514"/>
                  <a:gd name="T56" fmla="*/ 270 w 788"/>
                  <a:gd name="T57" fmla="*/ 150 h 514"/>
                  <a:gd name="T58" fmla="*/ 206 w 788"/>
                  <a:gd name="T59" fmla="*/ 172 h 514"/>
                  <a:gd name="T60" fmla="*/ 184 w 788"/>
                  <a:gd name="T61" fmla="*/ 178 h 514"/>
                  <a:gd name="T62" fmla="*/ 180 w 788"/>
                  <a:gd name="T63" fmla="*/ 156 h 514"/>
                  <a:gd name="T64" fmla="*/ 160 w 788"/>
                  <a:gd name="T65" fmla="*/ 161 h 514"/>
                  <a:gd name="T66" fmla="*/ 138 w 788"/>
                  <a:gd name="T67" fmla="*/ 147 h 514"/>
                  <a:gd name="T68" fmla="*/ 121 w 788"/>
                  <a:gd name="T69" fmla="*/ 130 h 514"/>
                  <a:gd name="T70" fmla="*/ 112 w 788"/>
                  <a:gd name="T71" fmla="*/ 104 h 514"/>
                  <a:gd name="T72" fmla="*/ 66 w 788"/>
                  <a:gd name="T73" fmla="*/ 88 h 514"/>
                  <a:gd name="T74" fmla="*/ 11 w 788"/>
                  <a:gd name="T75" fmla="*/ 132 h 514"/>
                  <a:gd name="T76" fmla="*/ 11 w 788"/>
                  <a:gd name="T77" fmla="*/ 154 h 514"/>
                  <a:gd name="T78" fmla="*/ 110 w 788"/>
                  <a:gd name="T79" fmla="*/ 205 h 514"/>
                  <a:gd name="T80" fmla="*/ 125 w 788"/>
                  <a:gd name="T81" fmla="*/ 226 h 514"/>
                  <a:gd name="T82" fmla="*/ 158 w 788"/>
                  <a:gd name="T83" fmla="*/ 237 h 514"/>
                  <a:gd name="T84" fmla="*/ 193 w 788"/>
                  <a:gd name="T85" fmla="*/ 262 h 514"/>
                  <a:gd name="T86" fmla="*/ 253 w 788"/>
                  <a:gd name="T87" fmla="*/ 299 h 514"/>
                  <a:gd name="T88" fmla="*/ 323 w 788"/>
                  <a:gd name="T89" fmla="*/ 323 h 514"/>
                  <a:gd name="T90" fmla="*/ 343 w 788"/>
                  <a:gd name="T91" fmla="*/ 338 h 514"/>
                  <a:gd name="T92" fmla="*/ 444 w 788"/>
                  <a:gd name="T93" fmla="*/ 387 h 514"/>
                  <a:gd name="T94" fmla="*/ 492 w 788"/>
                  <a:gd name="T95" fmla="*/ 400 h 514"/>
                  <a:gd name="T96" fmla="*/ 516 w 788"/>
                  <a:gd name="T97" fmla="*/ 422 h 514"/>
                  <a:gd name="T98" fmla="*/ 547 w 788"/>
                  <a:gd name="T99" fmla="*/ 446 h 514"/>
                  <a:gd name="T100" fmla="*/ 571 w 788"/>
                  <a:gd name="T101" fmla="*/ 461 h 514"/>
                  <a:gd name="T102" fmla="*/ 643 w 788"/>
                  <a:gd name="T103" fmla="*/ 501 h 514"/>
                  <a:gd name="T104" fmla="*/ 667 w 788"/>
                  <a:gd name="T105" fmla="*/ 514 h 514"/>
                  <a:gd name="T106" fmla="*/ 689 w 788"/>
                  <a:gd name="T107" fmla="*/ 483 h 514"/>
                  <a:gd name="T108" fmla="*/ 678 w 788"/>
                  <a:gd name="T109" fmla="*/ 444 h 514"/>
                  <a:gd name="T110" fmla="*/ 687 w 788"/>
                  <a:gd name="T111" fmla="*/ 409 h 514"/>
                  <a:gd name="T112" fmla="*/ 700 w 788"/>
                  <a:gd name="T113" fmla="*/ 382 h 514"/>
                  <a:gd name="T114" fmla="*/ 733 w 788"/>
                  <a:gd name="T115" fmla="*/ 349 h 514"/>
                  <a:gd name="T116" fmla="*/ 755 w 788"/>
                  <a:gd name="T117" fmla="*/ 354 h 514"/>
                  <a:gd name="T118" fmla="*/ 764 w 788"/>
                  <a:gd name="T119" fmla="*/ 334 h 514"/>
                  <a:gd name="T120" fmla="*/ 784 w 788"/>
                  <a:gd name="T121" fmla="*/ 299 h 5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8" h="514">
                    <a:moveTo>
                      <a:pt x="786" y="242"/>
                    </a:moveTo>
                    <a:lnTo>
                      <a:pt x="779" y="235"/>
                    </a:lnTo>
                    <a:lnTo>
                      <a:pt x="777" y="233"/>
                    </a:lnTo>
                    <a:lnTo>
                      <a:pt x="775" y="226"/>
                    </a:lnTo>
                    <a:lnTo>
                      <a:pt x="773" y="224"/>
                    </a:lnTo>
                    <a:lnTo>
                      <a:pt x="771" y="222"/>
                    </a:lnTo>
                    <a:lnTo>
                      <a:pt x="771" y="220"/>
                    </a:lnTo>
                    <a:lnTo>
                      <a:pt x="768" y="218"/>
                    </a:lnTo>
                    <a:lnTo>
                      <a:pt x="768" y="216"/>
                    </a:lnTo>
                    <a:lnTo>
                      <a:pt x="768" y="213"/>
                    </a:lnTo>
                    <a:lnTo>
                      <a:pt x="771" y="213"/>
                    </a:lnTo>
                    <a:lnTo>
                      <a:pt x="775" y="205"/>
                    </a:lnTo>
                    <a:lnTo>
                      <a:pt x="775" y="202"/>
                    </a:lnTo>
                    <a:lnTo>
                      <a:pt x="775" y="200"/>
                    </a:lnTo>
                    <a:lnTo>
                      <a:pt x="775" y="198"/>
                    </a:lnTo>
                    <a:lnTo>
                      <a:pt x="773" y="194"/>
                    </a:lnTo>
                    <a:lnTo>
                      <a:pt x="773" y="191"/>
                    </a:lnTo>
                    <a:lnTo>
                      <a:pt x="764" y="187"/>
                    </a:lnTo>
                    <a:lnTo>
                      <a:pt x="762" y="183"/>
                    </a:lnTo>
                    <a:lnTo>
                      <a:pt x="755" y="176"/>
                    </a:lnTo>
                    <a:lnTo>
                      <a:pt x="755" y="174"/>
                    </a:lnTo>
                    <a:lnTo>
                      <a:pt x="755" y="172"/>
                    </a:lnTo>
                    <a:lnTo>
                      <a:pt x="755" y="165"/>
                    </a:lnTo>
                    <a:lnTo>
                      <a:pt x="755" y="163"/>
                    </a:lnTo>
                    <a:lnTo>
                      <a:pt x="755" y="161"/>
                    </a:lnTo>
                    <a:lnTo>
                      <a:pt x="755" y="158"/>
                    </a:lnTo>
                    <a:lnTo>
                      <a:pt x="755" y="156"/>
                    </a:lnTo>
                    <a:lnTo>
                      <a:pt x="753" y="154"/>
                    </a:lnTo>
                    <a:lnTo>
                      <a:pt x="751" y="152"/>
                    </a:lnTo>
                    <a:lnTo>
                      <a:pt x="751" y="150"/>
                    </a:lnTo>
                    <a:lnTo>
                      <a:pt x="753" y="137"/>
                    </a:lnTo>
                    <a:lnTo>
                      <a:pt x="753" y="130"/>
                    </a:lnTo>
                    <a:lnTo>
                      <a:pt x="749" y="128"/>
                    </a:lnTo>
                    <a:lnTo>
                      <a:pt x="744" y="121"/>
                    </a:lnTo>
                    <a:lnTo>
                      <a:pt x="742" y="119"/>
                    </a:lnTo>
                    <a:lnTo>
                      <a:pt x="738" y="115"/>
                    </a:lnTo>
                    <a:lnTo>
                      <a:pt x="733" y="112"/>
                    </a:lnTo>
                    <a:lnTo>
                      <a:pt x="729" y="112"/>
                    </a:lnTo>
                    <a:lnTo>
                      <a:pt x="727" y="110"/>
                    </a:lnTo>
                    <a:lnTo>
                      <a:pt x="725" y="108"/>
                    </a:lnTo>
                    <a:lnTo>
                      <a:pt x="725" y="106"/>
                    </a:lnTo>
                    <a:lnTo>
                      <a:pt x="725" y="99"/>
                    </a:lnTo>
                    <a:lnTo>
                      <a:pt x="725" y="95"/>
                    </a:lnTo>
                    <a:lnTo>
                      <a:pt x="725" y="93"/>
                    </a:lnTo>
                    <a:lnTo>
                      <a:pt x="725" y="90"/>
                    </a:lnTo>
                    <a:lnTo>
                      <a:pt x="725" y="86"/>
                    </a:lnTo>
                    <a:lnTo>
                      <a:pt x="722" y="84"/>
                    </a:lnTo>
                    <a:lnTo>
                      <a:pt x="720" y="82"/>
                    </a:lnTo>
                    <a:lnTo>
                      <a:pt x="720" y="82"/>
                    </a:lnTo>
                    <a:lnTo>
                      <a:pt x="718" y="82"/>
                    </a:lnTo>
                    <a:lnTo>
                      <a:pt x="716" y="79"/>
                    </a:lnTo>
                    <a:lnTo>
                      <a:pt x="714" y="79"/>
                    </a:lnTo>
                    <a:lnTo>
                      <a:pt x="711" y="82"/>
                    </a:lnTo>
                    <a:lnTo>
                      <a:pt x="711" y="82"/>
                    </a:lnTo>
                    <a:lnTo>
                      <a:pt x="709" y="82"/>
                    </a:lnTo>
                    <a:lnTo>
                      <a:pt x="703" y="88"/>
                    </a:lnTo>
                    <a:lnTo>
                      <a:pt x="703" y="88"/>
                    </a:lnTo>
                    <a:lnTo>
                      <a:pt x="700" y="88"/>
                    </a:lnTo>
                    <a:lnTo>
                      <a:pt x="698" y="88"/>
                    </a:lnTo>
                    <a:lnTo>
                      <a:pt x="696" y="88"/>
                    </a:lnTo>
                    <a:lnTo>
                      <a:pt x="685" y="77"/>
                    </a:lnTo>
                    <a:lnTo>
                      <a:pt x="681" y="75"/>
                    </a:lnTo>
                    <a:lnTo>
                      <a:pt x="678" y="75"/>
                    </a:lnTo>
                    <a:lnTo>
                      <a:pt x="674" y="75"/>
                    </a:lnTo>
                    <a:lnTo>
                      <a:pt x="672" y="75"/>
                    </a:lnTo>
                    <a:lnTo>
                      <a:pt x="665" y="71"/>
                    </a:lnTo>
                    <a:lnTo>
                      <a:pt x="663" y="71"/>
                    </a:lnTo>
                    <a:lnTo>
                      <a:pt x="663" y="71"/>
                    </a:lnTo>
                    <a:lnTo>
                      <a:pt x="663" y="73"/>
                    </a:lnTo>
                    <a:lnTo>
                      <a:pt x="663" y="75"/>
                    </a:lnTo>
                    <a:lnTo>
                      <a:pt x="663" y="75"/>
                    </a:lnTo>
                    <a:lnTo>
                      <a:pt x="663" y="77"/>
                    </a:lnTo>
                    <a:lnTo>
                      <a:pt x="663" y="79"/>
                    </a:lnTo>
                    <a:lnTo>
                      <a:pt x="663" y="79"/>
                    </a:lnTo>
                    <a:lnTo>
                      <a:pt x="661" y="82"/>
                    </a:lnTo>
                    <a:lnTo>
                      <a:pt x="659" y="82"/>
                    </a:lnTo>
                    <a:lnTo>
                      <a:pt x="657" y="82"/>
                    </a:lnTo>
                    <a:lnTo>
                      <a:pt x="652" y="82"/>
                    </a:lnTo>
                    <a:lnTo>
                      <a:pt x="650" y="82"/>
                    </a:lnTo>
                    <a:lnTo>
                      <a:pt x="646" y="82"/>
                    </a:lnTo>
                    <a:lnTo>
                      <a:pt x="643" y="82"/>
                    </a:lnTo>
                    <a:lnTo>
                      <a:pt x="641" y="84"/>
                    </a:lnTo>
                    <a:lnTo>
                      <a:pt x="635" y="88"/>
                    </a:lnTo>
                    <a:lnTo>
                      <a:pt x="635" y="88"/>
                    </a:lnTo>
                    <a:lnTo>
                      <a:pt x="632" y="88"/>
                    </a:lnTo>
                    <a:lnTo>
                      <a:pt x="630" y="86"/>
                    </a:lnTo>
                    <a:lnTo>
                      <a:pt x="628" y="86"/>
                    </a:lnTo>
                    <a:lnTo>
                      <a:pt x="604" y="79"/>
                    </a:lnTo>
                    <a:lnTo>
                      <a:pt x="599" y="77"/>
                    </a:lnTo>
                    <a:lnTo>
                      <a:pt x="597" y="75"/>
                    </a:lnTo>
                    <a:lnTo>
                      <a:pt x="597" y="73"/>
                    </a:lnTo>
                    <a:lnTo>
                      <a:pt x="599" y="68"/>
                    </a:lnTo>
                    <a:lnTo>
                      <a:pt x="599" y="68"/>
                    </a:lnTo>
                    <a:lnTo>
                      <a:pt x="599" y="66"/>
                    </a:lnTo>
                    <a:lnTo>
                      <a:pt x="599" y="64"/>
                    </a:lnTo>
                    <a:lnTo>
                      <a:pt x="597" y="55"/>
                    </a:lnTo>
                    <a:lnTo>
                      <a:pt x="599" y="53"/>
                    </a:lnTo>
                    <a:lnTo>
                      <a:pt x="599" y="51"/>
                    </a:lnTo>
                    <a:lnTo>
                      <a:pt x="602" y="51"/>
                    </a:lnTo>
                    <a:lnTo>
                      <a:pt x="604" y="49"/>
                    </a:lnTo>
                    <a:lnTo>
                      <a:pt x="606" y="47"/>
                    </a:lnTo>
                    <a:lnTo>
                      <a:pt x="606" y="47"/>
                    </a:lnTo>
                    <a:lnTo>
                      <a:pt x="608" y="44"/>
                    </a:lnTo>
                    <a:lnTo>
                      <a:pt x="608" y="42"/>
                    </a:lnTo>
                    <a:lnTo>
                      <a:pt x="606" y="40"/>
                    </a:lnTo>
                    <a:lnTo>
                      <a:pt x="606" y="40"/>
                    </a:lnTo>
                    <a:lnTo>
                      <a:pt x="602" y="40"/>
                    </a:lnTo>
                    <a:lnTo>
                      <a:pt x="599" y="38"/>
                    </a:lnTo>
                    <a:lnTo>
                      <a:pt x="597" y="38"/>
                    </a:lnTo>
                    <a:lnTo>
                      <a:pt x="595" y="36"/>
                    </a:lnTo>
                    <a:lnTo>
                      <a:pt x="593" y="36"/>
                    </a:lnTo>
                    <a:lnTo>
                      <a:pt x="593" y="33"/>
                    </a:lnTo>
                    <a:lnTo>
                      <a:pt x="591" y="27"/>
                    </a:lnTo>
                    <a:lnTo>
                      <a:pt x="586" y="22"/>
                    </a:lnTo>
                    <a:lnTo>
                      <a:pt x="577" y="9"/>
                    </a:lnTo>
                    <a:lnTo>
                      <a:pt x="573" y="5"/>
                    </a:lnTo>
                    <a:lnTo>
                      <a:pt x="573" y="5"/>
                    </a:lnTo>
                    <a:lnTo>
                      <a:pt x="571" y="3"/>
                    </a:lnTo>
                    <a:lnTo>
                      <a:pt x="569" y="3"/>
                    </a:lnTo>
                    <a:lnTo>
                      <a:pt x="569" y="3"/>
                    </a:lnTo>
                    <a:lnTo>
                      <a:pt x="566" y="3"/>
                    </a:lnTo>
                    <a:lnTo>
                      <a:pt x="564" y="5"/>
                    </a:lnTo>
                    <a:lnTo>
                      <a:pt x="564" y="7"/>
                    </a:lnTo>
                    <a:lnTo>
                      <a:pt x="564" y="9"/>
                    </a:lnTo>
                    <a:lnTo>
                      <a:pt x="562" y="9"/>
                    </a:lnTo>
                    <a:lnTo>
                      <a:pt x="564" y="11"/>
                    </a:lnTo>
                    <a:lnTo>
                      <a:pt x="566" y="16"/>
                    </a:lnTo>
                    <a:lnTo>
                      <a:pt x="566" y="16"/>
                    </a:lnTo>
                    <a:lnTo>
                      <a:pt x="566" y="18"/>
                    </a:lnTo>
                    <a:lnTo>
                      <a:pt x="566" y="20"/>
                    </a:lnTo>
                    <a:lnTo>
                      <a:pt x="566" y="25"/>
                    </a:lnTo>
                    <a:lnTo>
                      <a:pt x="566" y="27"/>
                    </a:lnTo>
                    <a:lnTo>
                      <a:pt x="564" y="31"/>
                    </a:lnTo>
                    <a:lnTo>
                      <a:pt x="564" y="33"/>
                    </a:lnTo>
                    <a:lnTo>
                      <a:pt x="564" y="36"/>
                    </a:lnTo>
                    <a:lnTo>
                      <a:pt x="564" y="36"/>
                    </a:lnTo>
                    <a:lnTo>
                      <a:pt x="560" y="42"/>
                    </a:lnTo>
                    <a:lnTo>
                      <a:pt x="558" y="44"/>
                    </a:lnTo>
                    <a:lnTo>
                      <a:pt x="556" y="44"/>
                    </a:lnTo>
                    <a:lnTo>
                      <a:pt x="553" y="42"/>
                    </a:lnTo>
                    <a:lnTo>
                      <a:pt x="553" y="42"/>
                    </a:lnTo>
                    <a:lnTo>
                      <a:pt x="551" y="40"/>
                    </a:lnTo>
                    <a:lnTo>
                      <a:pt x="551" y="38"/>
                    </a:lnTo>
                    <a:lnTo>
                      <a:pt x="549" y="31"/>
                    </a:lnTo>
                    <a:lnTo>
                      <a:pt x="547" y="31"/>
                    </a:lnTo>
                    <a:lnTo>
                      <a:pt x="547" y="29"/>
                    </a:lnTo>
                    <a:lnTo>
                      <a:pt x="545" y="29"/>
                    </a:lnTo>
                    <a:lnTo>
                      <a:pt x="542" y="27"/>
                    </a:lnTo>
                    <a:lnTo>
                      <a:pt x="540" y="27"/>
                    </a:lnTo>
                    <a:lnTo>
                      <a:pt x="536" y="31"/>
                    </a:lnTo>
                    <a:lnTo>
                      <a:pt x="531" y="31"/>
                    </a:lnTo>
                    <a:lnTo>
                      <a:pt x="527" y="33"/>
                    </a:lnTo>
                    <a:lnTo>
                      <a:pt x="523" y="33"/>
                    </a:lnTo>
                    <a:lnTo>
                      <a:pt x="509" y="36"/>
                    </a:lnTo>
                    <a:lnTo>
                      <a:pt x="498" y="33"/>
                    </a:lnTo>
                    <a:lnTo>
                      <a:pt x="494" y="31"/>
                    </a:lnTo>
                    <a:lnTo>
                      <a:pt x="481" y="16"/>
                    </a:lnTo>
                    <a:lnTo>
                      <a:pt x="481" y="14"/>
                    </a:lnTo>
                    <a:lnTo>
                      <a:pt x="481" y="11"/>
                    </a:lnTo>
                    <a:lnTo>
                      <a:pt x="481" y="11"/>
                    </a:lnTo>
                    <a:lnTo>
                      <a:pt x="481" y="7"/>
                    </a:lnTo>
                    <a:lnTo>
                      <a:pt x="481" y="5"/>
                    </a:lnTo>
                    <a:lnTo>
                      <a:pt x="465" y="7"/>
                    </a:lnTo>
                    <a:lnTo>
                      <a:pt x="461" y="9"/>
                    </a:lnTo>
                    <a:lnTo>
                      <a:pt x="459" y="7"/>
                    </a:lnTo>
                    <a:lnTo>
                      <a:pt x="457" y="7"/>
                    </a:lnTo>
                    <a:lnTo>
                      <a:pt x="455" y="7"/>
                    </a:lnTo>
                    <a:lnTo>
                      <a:pt x="452" y="5"/>
                    </a:lnTo>
                    <a:lnTo>
                      <a:pt x="448" y="5"/>
                    </a:lnTo>
                    <a:lnTo>
                      <a:pt x="444" y="5"/>
                    </a:lnTo>
                    <a:lnTo>
                      <a:pt x="439" y="5"/>
                    </a:lnTo>
                    <a:lnTo>
                      <a:pt x="437" y="5"/>
                    </a:lnTo>
                    <a:lnTo>
                      <a:pt x="435" y="3"/>
                    </a:lnTo>
                    <a:lnTo>
                      <a:pt x="435" y="3"/>
                    </a:lnTo>
                    <a:lnTo>
                      <a:pt x="430" y="0"/>
                    </a:lnTo>
                    <a:lnTo>
                      <a:pt x="428" y="0"/>
                    </a:lnTo>
                    <a:lnTo>
                      <a:pt x="424" y="3"/>
                    </a:lnTo>
                    <a:lnTo>
                      <a:pt x="419" y="7"/>
                    </a:lnTo>
                    <a:lnTo>
                      <a:pt x="415" y="16"/>
                    </a:lnTo>
                    <a:lnTo>
                      <a:pt x="415" y="20"/>
                    </a:lnTo>
                    <a:lnTo>
                      <a:pt x="417" y="25"/>
                    </a:lnTo>
                    <a:lnTo>
                      <a:pt x="417" y="27"/>
                    </a:lnTo>
                    <a:lnTo>
                      <a:pt x="415" y="29"/>
                    </a:lnTo>
                    <a:lnTo>
                      <a:pt x="413" y="29"/>
                    </a:lnTo>
                    <a:lnTo>
                      <a:pt x="408" y="31"/>
                    </a:lnTo>
                    <a:lnTo>
                      <a:pt x="406" y="31"/>
                    </a:lnTo>
                    <a:lnTo>
                      <a:pt x="404" y="31"/>
                    </a:lnTo>
                    <a:lnTo>
                      <a:pt x="395" y="29"/>
                    </a:lnTo>
                    <a:lnTo>
                      <a:pt x="393" y="29"/>
                    </a:lnTo>
                    <a:lnTo>
                      <a:pt x="391" y="31"/>
                    </a:lnTo>
                    <a:lnTo>
                      <a:pt x="389" y="31"/>
                    </a:lnTo>
                    <a:lnTo>
                      <a:pt x="386" y="33"/>
                    </a:lnTo>
                    <a:lnTo>
                      <a:pt x="384" y="33"/>
                    </a:lnTo>
                    <a:lnTo>
                      <a:pt x="384" y="36"/>
                    </a:lnTo>
                    <a:lnTo>
                      <a:pt x="382" y="38"/>
                    </a:lnTo>
                    <a:lnTo>
                      <a:pt x="380" y="40"/>
                    </a:lnTo>
                    <a:lnTo>
                      <a:pt x="380" y="49"/>
                    </a:lnTo>
                    <a:lnTo>
                      <a:pt x="380" y="53"/>
                    </a:lnTo>
                    <a:lnTo>
                      <a:pt x="384" y="57"/>
                    </a:lnTo>
                    <a:lnTo>
                      <a:pt x="384" y="60"/>
                    </a:lnTo>
                    <a:lnTo>
                      <a:pt x="384" y="62"/>
                    </a:lnTo>
                    <a:lnTo>
                      <a:pt x="384" y="64"/>
                    </a:lnTo>
                    <a:lnTo>
                      <a:pt x="384" y="66"/>
                    </a:lnTo>
                    <a:lnTo>
                      <a:pt x="382" y="75"/>
                    </a:lnTo>
                    <a:lnTo>
                      <a:pt x="382" y="84"/>
                    </a:lnTo>
                    <a:lnTo>
                      <a:pt x="380" y="90"/>
                    </a:lnTo>
                    <a:lnTo>
                      <a:pt x="378" y="95"/>
                    </a:lnTo>
                    <a:lnTo>
                      <a:pt x="367" y="106"/>
                    </a:lnTo>
                    <a:lnTo>
                      <a:pt x="364" y="106"/>
                    </a:lnTo>
                    <a:lnTo>
                      <a:pt x="358" y="119"/>
                    </a:lnTo>
                    <a:lnTo>
                      <a:pt x="356" y="121"/>
                    </a:lnTo>
                    <a:lnTo>
                      <a:pt x="356" y="123"/>
                    </a:lnTo>
                    <a:lnTo>
                      <a:pt x="354" y="123"/>
                    </a:lnTo>
                    <a:lnTo>
                      <a:pt x="354" y="123"/>
                    </a:lnTo>
                    <a:lnTo>
                      <a:pt x="351" y="123"/>
                    </a:lnTo>
                    <a:lnTo>
                      <a:pt x="345" y="121"/>
                    </a:lnTo>
                    <a:lnTo>
                      <a:pt x="340" y="121"/>
                    </a:lnTo>
                    <a:lnTo>
                      <a:pt x="338" y="121"/>
                    </a:lnTo>
                    <a:lnTo>
                      <a:pt x="336" y="121"/>
                    </a:lnTo>
                    <a:lnTo>
                      <a:pt x="334" y="121"/>
                    </a:lnTo>
                    <a:lnTo>
                      <a:pt x="332" y="123"/>
                    </a:lnTo>
                    <a:lnTo>
                      <a:pt x="332" y="130"/>
                    </a:lnTo>
                    <a:lnTo>
                      <a:pt x="332" y="137"/>
                    </a:lnTo>
                    <a:lnTo>
                      <a:pt x="334" y="141"/>
                    </a:lnTo>
                    <a:lnTo>
                      <a:pt x="334" y="143"/>
                    </a:lnTo>
                    <a:lnTo>
                      <a:pt x="325" y="143"/>
                    </a:lnTo>
                    <a:lnTo>
                      <a:pt x="312" y="141"/>
                    </a:lnTo>
                    <a:lnTo>
                      <a:pt x="307" y="141"/>
                    </a:lnTo>
                    <a:lnTo>
                      <a:pt x="307" y="139"/>
                    </a:lnTo>
                    <a:lnTo>
                      <a:pt x="301" y="137"/>
                    </a:lnTo>
                    <a:lnTo>
                      <a:pt x="279" y="147"/>
                    </a:lnTo>
                    <a:lnTo>
                      <a:pt x="270" y="150"/>
                    </a:lnTo>
                    <a:lnTo>
                      <a:pt x="263" y="150"/>
                    </a:lnTo>
                    <a:lnTo>
                      <a:pt x="244" y="152"/>
                    </a:lnTo>
                    <a:lnTo>
                      <a:pt x="224" y="152"/>
                    </a:lnTo>
                    <a:lnTo>
                      <a:pt x="220" y="152"/>
                    </a:lnTo>
                    <a:lnTo>
                      <a:pt x="217" y="154"/>
                    </a:lnTo>
                    <a:lnTo>
                      <a:pt x="217" y="154"/>
                    </a:lnTo>
                    <a:lnTo>
                      <a:pt x="209" y="167"/>
                    </a:lnTo>
                    <a:lnTo>
                      <a:pt x="206" y="172"/>
                    </a:lnTo>
                    <a:lnTo>
                      <a:pt x="206" y="174"/>
                    </a:lnTo>
                    <a:lnTo>
                      <a:pt x="204" y="176"/>
                    </a:lnTo>
                    <a:lnTo>
                      <a:pt x="189" y="183"/>
                    </a:lnTo>
                    <a:lnTo>
                      <a:pt x="187" y="183"/>
                    </a:lnTo>
                    <a:lnTo>
                      <a:pt x="184" y="183"/>
                    </a:lnTo>
                    <a:lnTo>
                      <a:pt x="184" y="180"/>
                    </a:lnTo>
                    <a:lnTo>
                      <a:pt x="184" y="178"/>
                    </a:lnTo>
                    <a:lnTo>
                      <a:pt x="184" y="178"/>
                    </a:lnTo>
                    <a:lnTo>
                      <a:pt x="184" y="169"/>
                    </a:lnTo>
                    <a:lnTo>
                      <a:pt x="184" y="167"/>
                    </a:lnTo>
                    <a:lnTo>
                      <a:pt x="184" y="165"/>
                    </a:lnTo>
                    <a:lnTo>
                      <a:pt x="182" y="165"/>
                    </a:lnTo>
                    <a:lnTo>
                      <a:pt x="182" y="163"/>
                    </a:lnTo>
                    <a:lnTo>
                      <a:pt x="182" y="163"/>
                    </a:lnTo>
                    <a:lnTo>
                      <a:pt x="182" y="163"/>
                    </a:lnTo>
                    <a:lnTo>
                      <a:pt x="180" y="156"/>
                    </a:lnTo>
                    <a:lnTo>
                      <a:pt x="180" y="154"/>
                    </a:lnTo>
                    <a:lnTo>
                      <a:pt x="178" y="152"/>
                    </a:lnTo>
                    <a:lnTo>
                      <a:pt x="178" y="152"/>
                    </a:lnTo>
                    <a:lnTo>
                      <a:pt x="176" y="154"/>
                    </a:lnTo>
                    <a:lnTo>
                      <a:pt x="171" y="156"/>
                    </a:lnTo>
                    <a:lnTo>
                      <a:pt x="167" y="158"/>
                    </a:lnTo>
                    <a:lnTo>
                      <a:pt x="162" y="161"/>
                    </a:lnTo>
                    <a:lnTo>
                      <a:pt x="160" y="161"/>
                    </a:lnTo>
                    <a:lnTo>
                      <a:pt x="158" y="161"/>
                    </a:lnTo>
                    <a:lnTo>
                      <a:pt x="154" y="161"/>
                    </a:lnTo>
                    <a:lnTo>
                      <a:pt x="149" y="161"/>
                    </a:lnTo>
                    <a:lnTo>
                      <a:pt x="147" y="158"/>
                    </a:lnTo>
                    <a:lnTo>
                      <a:pt x="147" y="158"/>
                    </a:lnTo>
                    <a:lnTo>
                      <a:pt x="145" y="156"/>
                    </a:lnTo>
                    <a:lnTo>
                      <a:pt x="138" y="150"/>
                    </a:lnTo>
                    <a:lnTo>
                      <a:pt x="138" y="147"/>
                    </a:lnTo>
                    <a:lnTo>
                      <a:pt x="136" y="147"/>
                    </a:lnTo>
                    <a:lnTo>
                      <a:pt x="136" y="145"/>
                    </a:lnTo>
                    <a:lnTo>
                      <a:pt x="136" y="141"/>
                    </a:lnTo>
                    <a:lnTo>
                      <a:pt x="132" y="139"/>
                    </a:lnTo>
                    <a:lnTo>
                      <a:pt x="125" y="137"/>
                    </a:lnTo>
                    <a:lnTo>
                      <a:pt x="123" y="134"/>
                    </a:lnTo>
                    <a:lnTo>
                      <a:pt x="123" y="132"/>
                    </a:lnTo>
                    <a:lnTo>
                      <a:pt x="121" y="130"/>
                    </a:lnTo>
                    <a:lnTo>
                      <a:pt x="121" y="128"/>
                    </a:lnTo>
                    <a:lnTo>
                      <a:pt x="119" y="123"/>
                    </a:lnTo>
                    <a:lnTo>
                      <a:pt x="114" y="117"/>
                    </a:lnTo>
                    <a:lnTo>
                      <a:pt x="112" y="112"/>
                    </a:lnTo>
                    <a:lnTo>
                      <a:pt x="112" y="110"/>
                    </a:lnTo>
                    <a:lnTo>
                      <a:pt x="112" y="108"/>
                    </a:lnTo>
                    <a:lnTo>
                      <a:pt x="114" y="106"/>
                    </a:lnTo>
                    <a:lnTo>
                      <a:pt x="112" y="104"/>
                    </a:lnTo>
                    <a:lnTo>
                      <a:pt x="112" y="104"/>
                    </a:lnTo>
                    <a:lnTo>
                      <a:pt x="110" y="101"/>
                    </a:lnTo>
                    <a:lnTo>
                      <a:pt x="103" y="101"/>
                    </a:lnTo>
                    <a:lnTo>
                      <a:pt x="88" y="97"/>
                    </a:lnTo>
                    <a:lnTo>
                      <a:pt x="75" y="95"/>
                    </a:lnTo>
                    <a:lnTo>
                      <a:pt x="70" y="93"/>
                    </a:lnTo>
                    <a:lnTo>
                      <a:pt x="68" y="90"/>
                    </a:lnTo>
                    <a:lnTo>
                      <a:pt x="66" y="88"/>
                    </a:lnTo>
                    <a:lnTo>
                      <a:pt x="66" y="88"/>
                    </a:lnTo>
                    <a:lnTo>
                      <a:pt x="66" y="86"/>
                    </a:lnTo>
                    <a:lnTo>
                      <a:pt x="66" y="84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13" y="126"/>
                    </a:lnTo>
                    <a:lnTo>
                      <a:pt x="13" y="128"/>
                    </a:lnTo>
                    <a:lnTo>
                      <a:pt x="11" y="132"/>
                    </a:lnTo>
                    <a:lnTo>
                      <a:pt x="11" y="134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6"/>
                    </a:lnTo>
                    <a:lnTo>
                      <a:pt x="7" y="156"/>
                    </a:lnTo>
                    <a:lnTo>
                      <a:pt x="7" y="154"/>
                    </a:lnTo>
                    <a:lnTo>
                      <a:pt x="11" y="154"/>
                    </a:lnTo>
                    <a:lnTo>
                      <a:pt x="13" y="156"/>
                    </a:lnTo>
                    <a:lnTo>
                      <a:pt x="18" y="158"/>
                    </a:lnTo>
                    <a:lnTo>
                      <a:pt x="37" y="169"/>
                    </a:lnTo>
                    <a:lnTo>
                      <a:pt x="42" y="176"/>
                    </a:lnTo>
                    <a:lnTo>
                      <a:pt x="59" y="183"/>
                    </a:lnTo>
                    <a:lnTo>
                      <a:pt x="72" y="189"/>
                    </a:lnTo>
                    <a:lnTo>
                      <a:pt x="99" y="202"/>
                    </a:lnTo>
                    <a:lnTo>
                      <a:pt x="110" y="205"/>
                    </a:lnTo>
                    <a:lnTo>
                      <a:pt x="114" y="207"/>
                    </a:lnTo>
                    <a:lnTo>
                      <a:pt x="114" y="209"/>
                    </a:lnTo>
                    <a:lnTo>
                      <a:pt x="114" y="211"/>
                    </a:lnTo>
                    <a:lnTo>
                      <a:pt x="116" y="213"/>
                    </a:lnTo>
                    <a:lnTo>
                      <a:pt x="116" y="216"/>
                    </a:lnTo>
                    <a:lnTo>
                      <a:pt x="116" y="220"/>
                    </a:lnTo>
                    <a:lnTo>
                      <a:pt x="119" y="220"/>
                    </a:lnTo>
                    <a:lnTo>
                      <a:pt x="125" y="226"/>
                    </a:lnTo>
                    <a:lnTo>
                      <a:pt x="132" y="229"/>
                    </a:lnTo>
                    <a:lnTo>
                      <a:pt x="138" y="231"/>
                    </a:lnTo>
                    <a:lnTo>
                      <a:pt x="145" y="229"/>
                    </a:lnTo>
                    <a:lnTo>
                      <a:pt x="152" y="231"/>
                    </a:lnTo>
                    <a:lnTo>
                      <a:pt x="154" y="231"/>
                    </a:lnTo>
                    <a:lnTo>
                      <a:pt x="154" y="233"/>
                    </a:lnTo>
                    <a:lnTo>
                      <a:pt x="156" y="235"/>
                    </a:lnTo>
                    <a:lnTo>
                      <a:pt x="158" y="237"/>
                    </a:lnTo>
                    <a:lnTo>
                      <a:pt x="167" y="240"/>
                    </a:lnTo>
                    <a:lnTo>
                      <a:pt x="169" y="240"/>
                    </a:lnTo>
                    <a:lnTo>
                      <a:pt x="187" y="248"/>
                    </a:lnTo>
                    <a:lnTo>
                      <a:pt x="191" y="251"/>
                    </a:lnTo>
                    <a:lnTo>
                      <a:pt x="193" y="255"/>
                    </a:lnTo>
                    <a:lnTo>
                      <a:pt x="195" y="257"/>
                    </a:lnTo>
                    <a:lnTo>
                      <a:pt x="193" y="259"/>
                    </a:lnTo>
                    <a:lnTo>
                      <a:pt x="193" y="262"/>
                    </a:lnTo>
                    <a:lnTo>
                      <a:pt x="200" y="266"/>
                    </a:lnTo>
                    <a:lnTo>
                      <a:pt x="213" y="277"/>
                    </a:lnTo>
                    <a:lnTo>
                      <a:pt x="224" y="284"/>
                    </a:lnTo>
                    <a:lnTo>
                      <a:pt x="228" y="288"/>
                    </a:lnTo>
                    <a:lnTo>
                      <a:pt x="242" y="295"/>
                    </a:lnTo>
                    <a:lnTo>
                      <a:pt x="248" y="297"/>
                    </a:lnTo>
                    <a:lnTo>
                      <a:pt x="250" y="297"/>
                    </a:lnTo>
                    <a:lnTo>
                      <a:pt x="253" y="299"/>
                    </a:lnTo>
                    <a:lnTo>
                      <a:pt x="255" y="301"/>
                    </a:lnTo>
                    <a:lnTo>
                      <a:pt x="255" y="308"/>
                    </a:lnTo>
                    <a:lnTo>
                      <a:pt x="259" y="303"/>
                    </a:lnTo>
                    <a:lnTo>
                      <a:pt x="274" y="305"/>
                    </a:lnTo>
                    <a:lnTo>
                      <a:pt x="296" y="314"/>
                    </a:lnTo>
                    <a:lnTo>
                      <a:pt x="307" y="316"/>
                    </a:lnTo>
                    <a:lnTo>
                      <a:pt x="318" y="321"/>
                    </a:lnTo>
                    <a:lnTo>
                      <a:pt x="323" y="323"/>
                    </a:lnTo>
                    <a:lnTo>
                      <a:pt x="325" y="323"/>
                    </a:lnTo>
                    <a:lnTo>
                      <a:pt x="327" y="325"/>
                    </a:lnTo>
                    <a:lnTo>
                      <a:pt x="329" y="334"/>
                    </a:lnTo>
                    <a:lnTo>
                      <a:pt x="332" y="336"/>
                    </a:lnTo>
                    <a:lnTo>
                      <a:pt x="334" y="334"/>
                    </a:lnTo>
                    <a:lnTo>
                      <a:pt x="336" y="336"/>
                    </a:lnTo>
                    <a:lnTo>
                      <a:pt x="340" y="336"/>
                    </a:lnTo>
                    <a:lnTo>
                      <a:pt x="343" y="338"/>
                    </a:lnTo>
                    <a:lnTo>
                      <a:pt x="349" y="338"/>
                    </a:lnTo>
                    <a:lnTo>
                      <a:pt x="354" y="338"/>
                    </a:lnTo>
                    <a:lnTo>
                      <a:pt x="360" y="345"/>
                    </a:lnTo>
                    <a:lnTo>
                      <a:pt x="369" y="349"/>
                    </a:lnTo>
                    <a:lnTo>
                      <a:pt x="375" y="356"/>
                    </a:lnTo>
                    <a:lnTo>
                      <a:pt x="406" y="367"/>
                    </a:lnTo>
                    <a:lnTo>
                      <a:pt x="426" y="380"/>
                    </a:lnTo>
                    <a:lnTo>
                      <a:pt x="444" y="387"/>
                    </a:lnTo>
                    <a:lnTo>
                      <a:pt x="463" y="387"/>
                    </a:lnTo>
                    <a:lnTo>
                      <a:pt x="474" y="391"/>
                    </a:lnTo>
                    <a:lnTo>
                      <a:pt x="481" y="393"/>
                    </a:lnTo>
                    <a:lnTo>
                      <a:pt x="483" y="393"/>
                    </a:lnTo>
                    <a:lnTo>
                      <a:pt x="487" y="398"/>
                    </a:lnTo>
                    <a:lnTo>
                      <a:pt x="487" y="398"/>
                    </a:lnTo>
                    <a:lnTo>
                      <a:pt x="490" y="398"/>
                    </a:lnTo>
                    <a:lnTo>
                      <a:pt x="492" y="400"/>
                    </a:lnTo>
                    <a:lnTo>
                      <a:pt x="494" y="402"/>
                    </a:lnTo>
                    <a:lnTo>
                      <a:pt x="494" y="402"/>
                    </a:lnTo>
                    <a:lnTo>
                      <a:pt x="496" y="402"/>
                    </a:lnTo>
                    <a:lnTo>
                      <a:pt x="498" y="402"/>
                    </a:lnTo>
                    <a:lnTo>
                      <a:pt x="501" y="404"/>
                    </a:lnTo>
                    <a:lnTo>
                      <a:pt x="505" y="406"/>
                    </a:lnTo>
                    <a:lnTo>
                      <a:pt x="514" y="420"/>
                    </a:lnTo>
                    <a:lnTo>
                      <a:pt x="516" y="422"/>
                    </a:lnTo>
                    <a:lnTo>
                      <a:pt x="516" y="426"/>
                    </a:lnTo>
                    <a:lnTo>
                      <a:pt x="518" y="431"/>
                    </a:lnTo>
                    <a:lnTo>
                      <a:pt x="523" y="433"/>
                    </a:lnTo>
                    <a:lnTo>
                      <a:pt x="531" y="435"/>
                    </a:lnTo>
                    <a:lnTo>
                      <a:pt x="536" y="437"/>
                    </a:lnTo>
                    <a:lnTo>
                      <a:pt x="538" y="439"/>
                    </a:lnTo>
                    <a:lnTo>
                      <a:pt x="538" y="442"/>
                    </a:lnTo>
                    <a:lnTo>
                      <a:pt x="547" y="446"/>
                    </a:lnTo>
                    <a:lnTo>
                      <a:pt x="549" y="448"/>
                    </a:lnTo>
                    <a:lnTo>
                      <a:pt x="549" y="450"/>
                    </a:lnTo>
                    <a:lnTo>
                      <a:pt x="549" y="455"/>
                    </a:lnTo>
                    <a:lnTo>
                      <a:pt x="549" y="457"/>
                    </a:lnTo>
                    <a:lnTo>
                      <a:pt x="551" y="457"/>
                    </a:lnTo>
                    <a:lnTo>
                      <a:pt x="562" y="459"/>
                    </a:lnTo>
                    <a:lnTo>
                      <a:pt x="566" y="459"/>
                    </a:lnTo>
                    <a:lnTo>
                      <a:pt x="571" y="461"/>
                    </a:lnTo>
                    <a:lnTo>
                      <a:pt x="582" y="468"/>
                    </a:lnTo>
                    <a:lnTo>
                      <a:pt x="586" y="472"/>
                    </a:lnTo>
                    <a:lnTo>
                      <a:pt x="595" y="481"/>
                    </a:lnTo>
                    <a:lnTo>
                      <a:pt x="599" y="488"/>
                    </a:lnTo>
                    <a:lnTo>
                      <a:pt x="608" y="490"/>
                    </a:lnTo>
                    <a:lnTo>
                      <a:pt x="639" y="499"/>
                    </a:lnTo>
                    <a:lnTo>
                      <a:pt x="639" y="499"/>
                    </a:lnTo>
                    <a:lnTo>
                      <a:pt x="643" y="501"/>
                    </a:lnTo>
                    <a:lnTo>
                      <a:pt x="646" y="503"/>
                    </a:lnTo>
                    <a:lnTo>
                      <a:pt x="648" y="505"/>
                    </a:lnTo>
                    <a:lnTo>
                      <a:pt x="652" y="505"/>
                    </a:lnTo>
                    <a:lnTo>
                      <a:pt x="659" y="507"/>
                    </a:lnTo>
                    <a:lnTo>
                      <a:pt x="661" y="507"/>
                    </a:lnTo>
                    <a:lnTo>
                      <a:pt x="665" y="512"/>
                    </a:lnTo>
                    <a:lnTo>
                      <a:pt x="667" y="514"/>
                    </a:lnTo>
                    <a:lnTo>
                      <a:pt x="667" y="514"/>
                    </a:lnTo>
                    <a:lnTo>
                      <a:pt x="674" y="510"/>
                    </a:lnTo>
                    <a:lnTo>
                      <a:pt x="676" y="507"/>
                    </a:lnTo>
                    <a:lnTo>
                      <a:pt x="678" y="503"/>
                    </a:lnTo>
                    <a:lnTo>
                      <a:pt x="681" y="496"/>
                    </a:lnTo>
                    <a:lnTo>
                      <a:pt x="683" y="494"/>
                    </a:lnTo>
                    <a:lnTo>
                      <a:pt x="687" y="488"/>
                    </a:lnTo>
                    <a:lnTo>
                      <a:pt x="687" y="485"/>
                    </a:lnTo>
                    <a:lnTo>
                      <a:pt x="689" y="483"/>
                    </a:lnTo>
                    <a:lnTo>
                      <a:pt x="694" y="466"/>
                    </a:lnTo>
                    <a:lnTo>
                      <a:pt x="694" y="466"/>
                    </a:lnTo>
                    <a:lnTo>
                      <a:pt x="696" y="464"/>
                    </a:lnTo>
                    <a:lnTo>
                      <a:pt x="696" y="461"/>
                    </a:lnTo>
                    <a:lnTo>
                      <a:pt x="694" y="459"/>
                    </a:lnTo>
                    <a:lnTo>
                      <a:pt x="694" y="457"/>
                    </a:lnTo>
                    <a:lnTo>
                      <a:pt x="681" y="448"/>
                    </a:lnTo>
                    <a:lnTo>
                      <a:pt x="678" y="444"/>
                    </a:lnTo>
                    <a:lnTo>
                      <a:pt x="676" y="435"/>
                    </a:lnTo>
                    <a:lnTo>
                      <a:pt x="674" y="431"/>
                    </a:lnTo>
                    <a:lnTo>
                      <a:pt x="674" y="426"/>
                    </a:lnTo>
                    <a:lnTo>
                      <a:pt x="674" y="426"/>
                    </a:lnTo>
                    <a:lnTo>
                      <a:pt x="674" y="422"/>
                    </a:lnTo>
                    <a:lnTo>
                      <a:pt x="676" y="420"/>
                    </a:lnTo>
                    <a:lnTo>
                      <a:pt x="678" y="417"/>
                    </a:lnTo>
                    <a:lnTo>
                      <a:pt x="687" y="409"/>
                    </a:lnTo>
                    <a:lnTo>
                      <a:pt x="692" y="406"/>
                    </a:lnTo>
                    <a:lnTo>
                      <a:pt x="698" y="404"/>
                    </a:lnTo>
                    <a:lnTo>
                      <a:pt x="700" y="404"/>
                    </a:lnTo>
                    <a:lnTo>
                      <a:pt x="700" y="402"/>
                    </a:lnTo>
                    <a:lnTo>
                      <a:pt x="700" y="400"/>
                    </a:lnTo>
                    <a:lnTo>
                      <a:pt x="703" y="393"/>
                    </a:lnTo>
                    <a:lnTo>
                      <a:pt x="703" y="391"/>
                    </a:lnTo>
                    <a:lnTo>
                      <a:pt x="700" y="382"/>
                    </a:lnTo>
                    <a:lnTo>
                      <a:pt x="700" y="380"/>
                    </a:lnTo>
                    <a:lnTo>
                      <a:pt x="703" y="378"/>
                    </a:lnTo>
                    <a:lnTo>
                      <a:pt x="707" y="371"/>
                    </a:lnTo>
                    <a:lnTo>
                      <a:pt x="716" y="358"/>
                    </a:lnTo>
                    <a:lnTo>
                      <a:pt x="720" y="356"/>
                    </a:lnTo>
                    <a:lnTo>
                      <a:pt x="722" y="354"/>
                    </a:lnTo>
                    <a:lnTo>
                      <a:pt x="731" y="349"/>
                    </a:lnTo>
                    <a:lnTo>
                      <a:pt x="733" y="349"/>
                    </a:lnTo>
                    <a:lnTo>
                      <a:pt x="740" y="349"/>
                    </a:lnTo>
                    <a:lnTo>
                      <a:pt x="742" y="349"/>
                    </a:lnTo>
                    <a:lnTo>
                      <a:pt x="744" y="347"/>
                    </a:lnTo>
                    <a:lnTo>
                      <a:pt x="747" y="347"/>
                    </a:lnTo>
                    <a:lnTo>
                      <a:pt x="749" y="347"/>
                    </a:lnTo>
                    <a:lnTo>
                      <a:pt x="751" y="349"/>
                    </a:lnTo>
                    <a:lnTo>
                      <a:pt x="753" y="352"/>
                    </a:lnTo>
                    <a:lnTo>
                      <a:pt x="755" y="354"/>
                    </a:lnTo>
                    <a:lnTo>
                      <a:pt x="755" y="354"/>
                    </a:lnTo>
                    <a:lnTo>
                      <a:pt x="758" y="354"/>
                    </a:lnTo>
                    <a:lnTo>
                      <a:pt x="764" y="349"/>
                    </a:lnTo>
                    <a:lnTo>
                      <a:pt x="766" y="349"/>
                    </a:lnTo>
                    <a:lnTo>
                      <a:pt x="766" y="347"/>
                    </a:lnTo>
                    <a:lnTo>
                      <a:pt x="766" y="343"/>
                    </a:lnTo>
                    <a:lnTo>
                      <a:pt x="766" y="341"/>
                    </a:lnTo>
                    <a:lnTo>
                      <a:pt x="764" y="334"/>
                    </a:lnTo>
                    <a:lnTo>
                      <a:pt x="764" y="332"/>
                    </a:lnTo>
                    <a:lnTo>
                      <a:pt x="764" y="330"/>
                    </a:lnTo>
                    <a:lnTo>
                      <a:pt x="766" y="330"/>
                    </a:lnTo>
                    <a:lnTo>
                      <a:pt x="766" y="325"/>
                    </a:lnTo>
                    <a:lnTo>
                      <a:pt x="768" y="325"/>
                    </a:lnTo>
                    <a:lnTo>
                      <a:pt x="775" y="316"/>
                    </a:lnTo>
                    <a:lnTo>
                      <a:pt x="782" y="310"/>
                    </a:lnTo>
                    <a:lnTo>
                      <a:pt x="784" y="299"/>
                    </a:lnTo>
                    <a:lnTo>
                      <a:pt x="786" y="257"/>
                    </a:lnTo>
                    <a:lnTo>
                      <a:pt x="788" y="251"/>
                    </a:lnTo>
                    <a:lnTo>
                      <a:pt x="788" y="246"/>
                    </a:lnTo>
                    <a:lnTo>
                      <a:pt x="786" y="242"/>
                    </a:lnTo>
                    <a:lnTo>
                      <a:pt x="786" y="242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44" name="Freeform 19"/>
              <p:cNvSpPr>
                <a:spLocks/>
              </p:cNvSpPr>
              <p:nvPr/>
            </p:nvSpPr>
            <p:spPr bwMode="auto">
              <a:xfrm>
                <a:off x="5924550" y="4968875"/>
                <a:ext cx="520700" cy="490537"/>
              </a:xfrm>
              <a:custGeom>
                <a:avLst/>
                <a:gdLst>
                  <a:gd name="T0" fmla="*/ 321 w 328"/>
                  <a:gd name="T1" fmla="*/ 127 h 309"/>
                  <a:gd name="T2" fmla="*/ 303 w 328"/>
                  <a:gd name="T3" fmla="*/ 103 h 309"/>
                  <a:gd name="T4" fmla="*/ 292 w 328"/>
                  <a:gd name="T5" fmla="*/ 94 h 309"/>
                  <a:gd name="T6" fmla="*/ 270 w 328"/>
                  <a:gd name="T7" fmla="*/ 88 h 309"/>
                  <a:gd name="T8" fmla="*/ 264 w 328"/>
                  <a:gd name="T9" fmla="*/ 77 h 309"/>
                  <a:gd name="T10" fmla="*/ 251 w 328"/>
                  <a:gd name="T11" fmla="*/ 74 h 309"/>
                  <a:gd name="T12" fmla="*/ 233 w 328"/>
                  <a:gd name="T13" fmla="*/ 70 h 309"/>
                  <a:gd name="T14" fmla="*/ 227 w 328"/>
                  <a:gd name="T15" fmla="*/ 66 h 309"/>
                  <a:gd name="T16" fmla="*/ 187 w 328"/>
                  <a:gd name="T17" fmla="*/ 44 h 309"/>
                  <a:gd name="T18" fmla="*/ 176 w 328"/>
                  <a:gd name="T19" fmla="*/ 39 h 309"/>
                  <a:gd name="T20" fmla="*/ 165 w 328"/>
                  <a:gd name="T21" fmla="*/ 37 h 309"/>
                  <a:gd name="T22" fmla="*/ 154 w 328"/>
                  <a:gd name="T23" fmla="*/ 44 h 309"/>
                  <a:gd name="T24" fmla="*/ 150 w 328"/>
                  <a:gd name="T25" fmla="*/ 44 h 309"/>
                  <a:gd name="T26" fmla="*/ 136 w 328"/>
                  <a:gd name="T27" fmla="*/ 48 h 309"/>
                  <a:gd name="T28" fmla="*/ 128 w 328"/>
                  <a:gd name="T29" fmla="*/ 46 h 309"/>
                  <a:gd name="T30" fmla="*/ 117 w 328"/>
                  <a:gd name="T31" fmla="*/ 41 h 309"/>
                  <a:gd name="T32" fmla="*/ 110 w 328"/>
                  <a:gd name="T33" fmla="*/ 52 h 309"/>
                  <a:gd name="T34" fmla="*/ 97 w 328"/>
                  <a:gd name="T35" fmla="*/ 50 h 309"/>
                  <a:gd name="T36" fmla="*/ 71 w 328"/>
                  <a:gd name="T37" fmla="*/ 46 h 309"/>
                  <a:gd name="T38" fmla="*/ 25 w 328"/>
                  <a:gd name="T39" fmla="*/ 13 h 309"/>
                  <a:gd name="T40" fmla="*/ 14 w 328"/>
                  <a:gd name="T41" fmla="*/ 2 h 309"/>
                  <a:gd name="T42" fmla="*/ 7 w 328"/>
                  <a:gd name="T43" fmla="*/ 4 h 309"/>
                  <a:gd name="T44" fmla="*/ 5 w 328"/>
                  <a:gd name="T45" fmla="*/ 15 h 309"/>
                  <a:gd name="T46" fmla="*/ 0 w 328"/>
                  <a:gd name="T47" fmla="*/ 30 h 309"/>
                  <a:gd name="T48" fmla="*/ 3 w 328"/>
                  <a:gd name="T49" fmla="*/ 46 h 309"/>
                  <a:gd name="T50" fmla="*/ 7 w 328"/>
                  <a:gd name="T51" fmla="*/ 77 h 309"/>
                  <a:gd name="T52" fmla="*/ 16 w 328"/>
                  <a:gd name="T53" fmla="*/ 85 h 309"/>
                  <a:gd name="T54" fmla="*/ 22 w 328"/>
                  <a:gd name="T55" fmla="*/ 90 h 309"/>
                  <a:gd name="T56" fmla="*/ 29 w 328"/>
                  <a:gd name="T57" fmla="*/ 105 h 309"/>
                  <a:gd name="T58" fmla="*/ 40 w 328"/>
                  <a:gd name="T59" fmla="*/ 153 h 309"/>
                  <a:gd name="T60" fmla="*/ 46 w 328"/>
                  <a:gd name="T61" fmla="*/ 180 h 309"/>
                  <a:gd name="T62" fmla="*/ 60 w 328"/>
                  <a:gd name="T63" fmla="*/ 202 h 309"/>
                  <a:gd name="T64" fmla="*/ 57 w 328"/>
                  <a:gd name="T65" fmla="*/ 232 h 309"/>
                  <a:gd name="T66" fmla="*/ 64 w 328"/>
                  <a:gd name="T67" fmla="*/ 263 h 309"/>
                  <a:gd name="T68" fmla="*/ 57 w 328"/>
                  <a:gd name="T69" fmla="*/ 285 h 309"/>
                  <a:gd name="T70" fmla="*/ 60 w 328"/>
                  <a:gd name="T71" fmla="*/ 307 h 309"/>
                  <a:gd name="T72" fmla="*/ 75 w 328"/>
                  <a:gd name="T73" fmla="*/ 307 h 309"/>
                  <a:gd name="T74" fmla="*/ 82 w 328"/>
                  <a:gd name="T75" fmla="*/ 300 h 309"/>
                  <a:gd name="T76" fmla="*/ 88 w 328"/>
                  <a:gd name="T77" fmla="*/ 292 h 309"/>
                  <a:gd name="T78" fmla="*/ 93 w 328"/>
                  <a:gd name="T79" fmla="*/ 287 h 309"/>
                  <a:gd name="T80" fmla="*/ 106 w 328"/>
                  <a:gd name="T81" fmla="*/ 289 h 309"/>
                  <a:gd name="T82" fmla="*/ 123 w 328"/>
                  <a:gd name="T83" fmla="*/ 287 h 309"/>
                  <a:gd name="T84" fmla="*/ 134 w 328"/>
                  <a:gd name="T85" fmla="*/ 283 h 309"/>
                  <a:gd name="T86" fmla="*/ 143 w 328"/>
                  <a:gd name="T87" fmla="*/ 281 h 309"/>
                  <a:gd name="T88" fmla="*/ 150 w 328"/>
                  <a:gd name="T89" fmla="*/ 274 h 309"/>
                  <a:gd name="T90" fmla="*/ 165 w 328"/>
                  <a:gd name="T91" fmla="*/ 281 h 309"/>
                  <a:gd name="T92" fmla="*/ 191 w 328"/>
                  <a:gd name="T93" fmla="*/ 285 h 309"/>
                  <a:gd name="T94" fmla="*/ 207 w 328"/>
                  <a:gd name="T95" fmla="*/ 281 h 309"/>
                  <a:gd name="T96" fmla="*/ 216 w 328"/>
                  <a:gd name="T97" fmla="*/ 283 h 309"/>
                  <a:gd name="T98" fmla="*/ 229 w 328"/>
                  <a:gd name="T99" fmla="*/ 285 h 309"/>
                  <a:gd name="T100" fmla="*/ 253 w 328"/>
                  <a:gd name="T101" fmla="*/ 283 h 309"/>
                  <a:gd name="T102" fmla="*/ 253 w 328"/>
                  <a:gd name="T103" fmla="*/ 267 h 309"/>
                  <a:gd name="T104" fmla="*/ 251 w 328"/>
                  <a:gd name="T105" fmla="*/ 256 h 309"/>
                  <a:gd name="T106" fmla="*/ 257 w 328"/>
                  <a:gd name="T107" fmla="*/ 250 h 309"/>
                  <a:gd name="T108" fmla="*/ 270 w 328"/>
                  <a:gd name="T109" fmla="*/ 243 h 309"/>
                  <a:gd name="T110" fmla="*/ 275 w 328"/>
                  <a:gd name="T111" fmla="*/ 237 h 309"/>
                  <a:gd name="T112" fmla="*/ 292 w 328"/>
                  <a:gd name="T113" fmla="*/ 232 h 309"/>
                  <a:gd name="T114" fmla="*/ 306 w 328"/>
                  <a:gd name="T115" fmla="*/ 213 h 309"/>
                  <a:gd name="T116" fmla="*/ 319 w 328"/>
                  <a:gd name="T117" fmla="*/ 202 h 309"/>
                  <a:gd name="T118" fmla="*/ 328 w 328"/>
                  <a:gd name="T119" fmla="*/ 173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28" h="309">
                    <a:moveTo>
                      <a:pt x="328" y="140"/>
                    </a:moveTo>
                    <a:lnTo>
                      <a:pt x="325" y="136"/>
                    </a:lnTo>
                    <a:lnTo>
                      <a:pt x="323" y="129"/>
                    </a:lnTo>
                    <a:lnTo>
                      <a:pt x="321" y="127"/>
                    </a:lnTo>
                    <a:lnTo>
                      <a:pt x="319" y="120"/>
                    </a:lnTo>
                    <a:lnTo>
                      <a:pt x="317" y="116"/>
                    </a:lnTo>
                    <a:lnTo>
                      <a:pt x="312" y="112"/>
                    </a:lnTo>
                    <a:lnTo>
                      <a:pt x="303" y="103"/>
                    </a:lnTo>
                    <a:lnTo>
                      <a:pt x="301" y="101"/>
                    </a:lnTo>
                    <a:lnTo>
                      <a:pt x="299" y="101"/>
                    </a:lnTo>
                    <a:lnTo>
                      <a:pt x="295" y="96"/>
                    </a:lnTo>
                    <a:lnTo>
                      <a:pt x="292" y="94"/>
                    </a:lnTo>
                    <a:lnTo>
                      <a:pt x="284" y="94"/>
                    </a:lnTo>
                    <a:lnTo>
                      <a:pt x="281" y="94"/>
                    </a:lnTo>
                    <a:lnTo>
                      <a:pt x="275" y="90"/>
                    </a:lnTo>
                    <a:lnTo>
                      <a:pt x="270" y="88"/>
                    </a:lnTo>
                    <a:lnTo>
                      <a:pt x="268" y="85"/>
                    </a:lnTo>
                    <a:lnTo>
                      <a:pt x="270" y="83"/>
                    </a:lnTo>
                    <a:lnTo>
                      <a:pt x="266" y="79"/>
                    </a:lnTo>
                    <a:lnTo>
                      <a:pt x="264" y="77"/>
                    </a:lnTo>
                    <a:lnTo>
                      <a:pt x="262" y="74"/>
                    </a:lnTo>
                    <a:lnTo>
                      <a:pt x="253" y="74"/>
                    </a:lnTo>
                    <a:lnTo>
                      <a:pt x="251" y="74"/>
                    </a:lnTo>
                    <a:lnTo>
                      <a:pt x="251" y="74"/>
                    </a:lnTo>
                    <a:lnTo>
                      <a:pt x="248" y="72"/>
                    </a:lnTo>
                    <a:lnTo>
                      <a:pt x="248" y="72"/>
                    </a:lnTo>
                    <a:lnTo>
                      <a:pt x="242" y="70"/>
                    </a:lnTo>
                    <a:lnTo>
                      <a:pt x="233" y="70"/>
                    </a:lnTo>
                    <a:lnTo>
                      <a:pt x="231" y="68"/>
                    </a:lnTo>
                    <a:lnTo>
                      <a:pt x="229" y="66"/>
                    </a:lnTo>
                    <a:lnTo>
                      <a:pt x="229" y="66"/>
                    </a:lnTo>
                    <a:lnTo>
                      <a:pt x="227" y="66"/>
                    </a:lnTo>
                    <a:lnTo>
                      <a:pt x="213" y="57"/>
                    </a:lnTo>
                    <a:lnTo>
                      <a:pt x="200" y="48"/>
                    </a:lnTo>
                    <a:lnTo>
                      <a:pt x="194" y="44"/>
                    </a:lnTo>
                    <a:lnTo>
                      <a:pt x="187" y="44"/>
                    </a:lnTo>
                    <a:lnTo>
                      <a:pt x="180" y="44"/>
                    </a:lnTo>
                    <a:lnTo>
                      <a:pt x="178" y="44"/>
                    </a:lnTo>
                    <a:lnTo>
                      <a:pt x="178" y="41"/>
                    </a:lnTo>
                    <a:lnTo>
                      <a:pt x="176" y="39"/>
                    </a:lnTo>
                    <a:lnTo>
                      <a:pt x="176" y="37"/>
                    </a:lnTo>
                    <a:lnTo>
                      <a:pt x="176" y="37"/>
                    </a:lnTo>
                    <a:lnTo>
                      <a:pt x="172" y="37"/>
                    </a:lnTo>
                    <a:lnTo>
                      <a:pt x="165" y="37"/>
                    </a:lnTo>
                    <a:lnTo>
                      <a:pt x="163" y="39"/>
                    </a:lnTo>
                    <a:lnTo>
                      <a:pt x="156" y="44"/>
                    </a:lnTo>
                    <a:lnTo>
                      <a:pt x="156" y="44"/>
                    </a:lnTo>
                    <a:lnTo>
                      <a:pt x="154" y="44"/>
                    </a:lnTo>
                    <a:lnTo>
                      <a:pt x="154" y="44"/>
                    </a:lnTo>
                    <a:lnTo>
                      <a:pt x="152" y="41"/>
                    </a:lnTo>
                    <a:lnTo>
                      <a:pt x="152" y="41"/>
                    </a:lnTo>
                    <a:lnTo>
                      <a:pt x="150" y="44"/>
                    </a:lnTo>
                    <a:lnTo>
                      <a:pt x="147" y="44"/>
                    </a:lnTo>
                    <a:lnTo>
                      <a:pt x="143" y="46"/>
                    </a:lnTo>
                    <a:lnTo>
                      <a:pt x="141" y="48"/>
                    </a:lnTo>
                    <a:lnTo>
                      <a:pt x="136" y="48"/>
                    </a:lnTo>
                    <a:lnTo>
                      <a:pt x="134" y="44"/>
                    </a:lnTo>
                    <a:lnTo>
                      <a:pt x="130" y="44"/>
                    </a:lnTo>
                    <a:lnTo>
                      <a:pt x="130" y="44"/>
                    </a:lnTo>
                    <a:lnTo>
                      <a:pt x="128" y="46"/>
                    </a:lnTo>
                    <a:lnTo>
                      <a:pt x="126" y="46"/>
                    </a:lnTo>
                    <a:lnTo>
                      <a:pt x="126" y="46"/>
                    </a:lnTo>
                    <a:lnTo>
                      <a:pt x="123" y="44"/>
                    </a:lnTo>
                    <a:lnTo>
                      <a:pt x="117" y="41"/>
                    </a:lnTo>
                    <a:lnTo>
                      <a:pt x="117" y="44"/>
                    </a:lnTo>
                    <a:lnTo>
                      <a:pt x="115" y="50"/>
                    </a:lnTo>
                    <a:lnTo>
                      <a:pt x="112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04" y="50"/>
                    </a:lnTo>
                    <a:lnTo>
                      <a:pt x="99" y="50"/>
                    </a:lnTo>
                    <a:lnTo>
                      <a:pt x="97" y="50"/>
                    </a:lnTo>
                    <a:lnTo>
                      <a:pt x="95" y="50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71" y="46"/>
                    </a:lnTo>
                    <a:lnTo>
                      <a:pt x="66" y="44"/>
                    </a:lnTo>
                    <a:lnTo>
                      <a:pt x="60" y="35"/>
                    </a:lnTo>
                    <a:lnTo>
                      <a:pt x="55" y="33"/>
                    </a:lnTo>
                    <a:lnTo>
                      <a:pt x="25" y="13"/>
                    </a:lnTo>
                    <a:lnTo>
                      <a:pt x="20" y="9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5" y="9"/>
                    </a:lnTo>
                    <a:lnTo>
                      <a:pt x="5" y="13"/>
                    </a:lnTo>
                    <a:lnTo>
                      <a:pt x="3" y="13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5" y="24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3"/>
                    </a:lnTo>
                    <a:lnTo>
                      <a:pt x="0" y="39"/>
                    </a:lnTo>
                    <a:lnTo>
                      <a:pt x="0" y="41"/>
                    </a:lnTo>
                    <a:lnTo>
                      <a:pt x="3" y="46"/>
                    </a:lnTo>
                    <a:lnTo>
                      <a:pt x="3" y="52"/>
                    </a:lnTo>
                    <a:lnTo>
                      <a:pt x="5" y="59"/>
                    </a:lnTo>
                    <a:lnTo>
                      <a:pt x="7" y="72"/>
                    </a:lnTo>
                    <a:lnTo>
                      <a:pt x="7" y="77"/>
                    </a:lnTo>
                    <a:lnTo>
                      <a:pt x="9" y="81"/>
                    </a:lnTo>
                    <a:lnTo>
                      <a:pt x="11" y="83"/>
                    </a:lnTo>
                    <a:lnTo>
                      <a:pt x="14" y="85"/>
                    </a:lnTo>
                    <a:lnTo>
                      <a:pt x="16" y="85"/>
                    </a:lnTo>
                    <a:lnTo>
                      <a:pt x="18" y="85"/>
                    </a:lnTo>
                    <a:lnTo>
                      <a:pt x="18" y="88"/>
                    </a:lnTo>
                    <a:lnTo>
                      <a:pt x="20" y="88"/>
                    </a:lnTo>
                    <a:lnTo>
                      <a:pt x="22" y="90"/>
                    </a:lnTo>
                    <a:lnTo>
                      <a:pt x="25" y="96"/>
                    </a:lnTo>
                    <a:lnTo>
                      <a:pt x="29" y="101"/>
                    </a:lnTo>
                    <a:lnTo>
                      <a:pt x="29" y="105"/>
                    </a:lnTo>
                    <a:lnTo>
                      <a:pt x="29" y="105"/>
                    </a:lnTo>
                    <a:lnTo>
                      <a:pt x="27" y="105"/>
                    </a:lnTo>
                    <a:lnTo>
                      <a:pt x="18" y="107"/>
                    </a:lnTo>
                    <a:lnTo>
                      <a:pt x="20" y="112"/>
                    </a:lnTo>
                    <a:lnTo>
                      <a:pt x="40" y="153"/>
                    </a:lnTo>
                    <a:lnTo>
                      <a:pt x="42" y="167"/>
                    </a:lnTo>
                    <a:lnTo>
                      <a:pt x="44" y="173"/>
                    </a:lnTo>
                    <a:lnTo>
                      <a:pt x="46" y="177"/>
                    </a:lnTo>
                    <a:lnTo>
                      <a:pt x="46" y="180"/>
                    </a:lnTo>
                    <a:lnTo>
                      <a:pt x="51" y="186"/>
                    </a:lnTo>
                    <a:lnTo>
                      <a:pt x="57" y="195"/>
                    </a:lnTo>
                    <a:lnTo>
                      <a:pt x="57" y="199"/>
                    </a:lnTo>
                    <a:lnTo>
                      <a:pt x="60" y="202"/>
                    </a:lnTo>
                    <a:lnTo>
                      <a:pt x="60" y="204"/>
                    </a:lnTo>
                    <a:lnTo>
                      <a:pt x="60" y="213"/>
                    </a:lnTo>
                    <a:lnTo>
                      <a:pt x="60" y="219"/>
                    </a:lnTo>
                    <a:lnTo>
                      <a:pt x="57" y="232"/>
                    </a:lnTo>
                    <a:lnTo>
                      <a:pt x="57" y="246"/>
                    </a:lnTo>
                    <a:lnTo>
                      <a:pt x="57" y="248"/>
                    </a:lnTo>
                    <a:lnTo>
                      <a:pt x="62" y="256"/>
                    </a:lnTo>
                    <a:lnTo>
                      <a:pt x="64" y="263"/>
                    </a:lnTo>
                    <a:lnTo>
                      <a:pt x="66" y="267"/>
                    </a:lnTo>
                    <a:lnTo>
                      <a:pt x="62" y="283"/>
                    </a:lnTo>
                    <a:lnTo>
                      <a:pt x="60" y="285"/>
                    </a:lnTo>
                    <a:lnTo>
                      <a:pt x="57" y="285"/>
                    </a:lnTo>
                    <a:lnTo>
                      <a:pt x="53" y="285"/>
                    </a:lnTo>
                    <a:lnTo>
                      <a:pt x="51" y="285"/>
                    </a:lnTo>
                    <a:lnTo>
                      <a:pt x="51" y="287"/>
                    </a:lnTo>
                    <a:lnTo>
                      <a:pt x="60" y="307"/>
                    </a:lnTo>
                    <a:lnTo>
                      <a:pt x="62" y="309"/>
                    </a:lnTo>
                    <a:lnTo>
                      <a:pt x="64" y="309"/>
                    </a:lnTo>
                    <a:lnTo>
                      <a:pt x="71" y="307"/>
                    </a:lnTo>
                    <a:lnTo>
                      <a:pt x="75" y="307"/>
                    </a:lnTo>
                    <a:lnTo>
                      <a:pt x="77" y="307"/>
                    </a:lnTo>
                    <a:lnTo>
                      <a:pt x="79" y="305"/>
                    </a:lnTo>
                    <a:lnTo>
                      <a:pt x="79" y="305"/>
                    </a:lnTo>
                    <a:lnTo>
                      <a:pt x="82" y="300"/>
                    </a:lnTo>
                    <a:lnTo>
                      <a:pt x="84" y="298"/>
                    </a:lnTo>
                    <a:lnTo>
                      <a:pt x="86" y="296"/>
                    </a:lnTo>
                    <a:lnTo>
                      <a:pt x="88" y="294"/>
                    </a:lnTo>
                    <a:lnTo>
                      <a:pt x="88" y="292"/>
                    </a:lnTo>
                    <a:lnTo>
                      <a:pt x="90" y="289"/>
                    </a:lnTo>
                    <a:lnTo>
                      <a:pt x="90" y="287"/>
                    </a:lnTo>
                    <a:lnTo>
                      <a:pt x="90" y="287"/>
                    </a:lnTo>
                    <a:lnTo>
                      <a:pt x="93" y="287"/>
                    </a:lnTo>
                    <a:lnTo>
                      <a:pt x="95" y="287"/>
                    </a:lnTo>
                    <a:lnTo>
                      <a:pt x="99" y="289"/>
                    </a:lnTo>
                    <a:lnTo>
                      <a:pt x="101" y="289"/>
                    </a:lnTo>
                    <a:lnTo>
                      <a:pt x="106" y="289"/>
                    </a:lnTo>
                    <a:lnTo>
                      <a:pt x="106" y="289"/>
                    </a:lnTo>
                    <a:lnTo>
                      <a:pt x="110" y="289"/>
                    </a:lnTo>
                    <a:lnTo>
                      <a:pt x="115" y="289"/>
                    </a:lnTo>
                    <a:lnTo>
                      <a:pt x="123" y="287"/>
                    </a:lnTo>
                    <a:lnTo>
                      <a:pt x="128" y="285"/>
                    </a:lnTo>
                    <a:lnTo>
                      <a:pt x="130" y="285"/>
                    </a:lnTo>
                    <a:lnTo>
                      <a:pt x="132" y="285"/>
                    </a:lnTo>
                    <a:lnTo>
                      <a:pt x="134" y="283"/>
                    </a:lnTo>
                    <a:lnTo>
                      <a:pt x="136" y="281"/>
                    </a:lnTo>
                    <a:lnTo>
                      <a:pt x="139" y="281"/>
                    </a:lnTo>
                    <a:lnTo>
                      <a:pt x="141" y="281"/>
                    </a:lnTo>
                    <a:lnTo>
                      <a:pt x="143" y="281"/>
                    </a:lnTo>
                    <a:lnTo>
                      <a:pt x="145" y="281"/>
                    </a:lnTo>
                    <a:lnTo>
                      <a:pt x="147" y="278"/>
                    </a:lnTo>
                    <a:lnTo>
                      <a:pt x="150" y="278"/>
                    </a:lnTo>
                    <a:lnTo>
                      <a:pt x="150" y="274"/>
                    </a:lnTo>
                    <a:lnTo>
                      <a:pt x="152" y="272"/>
                    </a:lnTo>
                    <a:lnTo>
                      <a:pt x="158" y="276"/>
                    </a:lnTo>
                    <a:lnTo>
                      <a:pt x="161" y="278"/>
                    </a:lnTo>
                    <a:lnTo>
                      <a:pt x="165" y="281"/>
                    </a:lnTo>
                    <a:lnTo>
                      <a:pt x="172" y="285"/>
                    </a:lnTo>
                    <a:lnTo>
                      <a:pt x="174" y="287"/>
                    </a:lnTo>
                    <a:lnTo>
                      <a:pt x="187" y="294"/>
                    </a:lnTo>
                    <a:lnTo>
                      <a:pt x="191" y="285"/>
                    </a:lnTo>
                    <a:lnTo>
                      <a:pt x="196" y="281"/>
                    </a:lnTo>
                    <a:lnTo>
                      <a:pt x="200" y="278"/>
                    </a:lnTo>
                    <a:lnTo>
                      <a:pt x="202" y="278"/>
                    </a:lnTo>
                    <a:lnTo>
                      <a:pt x="207" y="281"/>
                    </a:lnTo>
                    <a:lnTo>
                      <a:pt x="207" y="281"/>
                    </a:lnTo>
                    <a:lnTo>
                      <a:pt x="209" y="283"/>
                    </a:lnTo>
                    <a:lnTo>
                      <a:pt x="211" y="283"/>
                    </a:lnTo>
                    <a:lnTo>
                      <a:pt x="216" y="283"/>
                    </a:lnTo>
                    <a:lnTo>
                      <a:pt x="220" y="283"/>
                    </a:lnTo>
                    <a:lnTo>
                      <a:pt x="224" y="283"/>
                    </a:lnTo>
                    <a:lnTo>
                      <a:pt x="227" y="285"/>
                    </a:lnTo>
                    <a:lnTo>
                      <a:pt x="229" y="285"/>
                    </a:lnTo>
                    <a:lnTo>
                      <a:pt x="231" y="285"/>
                    </a:lnTo>
                    <a:lnTo>
                      <a:pt x="233" y="287"/>
                    </a:lnTo>
                    <a:lnTo>
                      <a:pt x="237" y="285"/>
                    </a:lnTo>
                    <a:lnTo>
                      <a:pt x="253" y="283"/>
                    </a:lnTo>
                    <a:lnTo>
                      <a:pt x="255" y="276"/>
                    </a:lnTo>
                    <a:lnTo>
                      <a:pt x="255" y="272"/>
                    </a:lnTo>
                    <a:lnTo>
                      <a:pt x="255" y="270"/>
                    </a:lnTo>
                    <a:lnTo>
                      <a:pt x="253" y="267"/>
                    </a:lnTo>
                    <a:lnTo>
                      <a:pt x="251" y="263"/>
                    </a:lnTo>
                    <a:lnTo>
                      <a:pt x="251" y="261"/>
                    </a:lnTo>
                    <a:lnTo>
                      <a:pt x="251" y="259"/>
                    </a:lnTo>
                    <a:lnTo>
                      <a:pt x="251" y="256"/>
                    </a:lnTo>
                    <a:lnTo>
                      <a:pt x="251" y="256"/>
                    </a:lnTo>
                    <a:lnTo>
                      <a:pt x="253" y="254"/>
                    </a:lnTo>
                    <a:lnTo>
                      <a:pt x="255" y="252"/>
                    </a:lnTo>
                    <a:lnTo>
                      <a:pt x="257" y="250"/>
                    </a:lnTo>
                    <a:lnTo>
                      <a:pt x="259" y="250"/>
                    </a:lnTo>
                    <a:lnTo>
                      <a:pt x="264" y="248"/>
                    </a:lnTo>
                    <a:lnTo>
                      <a:pt x="266" y="246"/>
                    </a:lnTo>
                    <a:lnTo>
                      <a:pt x="270" y="243"/>
                    </a:lnTo>
                    <a:lnTo>
                      <a:pt x="270" y="241"/>
                    </a:lnTo>
                    <a:lnTo>
                      <a:pt x="273" y="239"/>
                    </a:lnTo>
                    <a:lnTo>
                      <a:pt x="275" y="239"/>
                    </a:lnTo>
                    <a:lnTo>
                      <a:pt x="275" y="237"/>
                    </a:lnTo>
                    <a:lnTo>
                      <a:pt x="279" y="237"/>
                    </a:lnTo>
                    <a:lnTo>
                      <a:pt x="284" y="235"/>
                    </a:lnTo>
                    <a:lnTo>
                      <a:pt x="286" y="235"/>
                    </a:lnTo>
                    <a:lnTo>
                      <a:pt x="292" y="232"/>
                    </a:lnTo>
                    <a:lnTo>
                      <a:pt x="295" y="230"/>
                    </a:lnTo>
                    <a:lnTo>
                      <a:pt x="299" y="221"/>
                    </a:lnTo>
                    <a:lnTo>
                      <a:pt x="301" y="217"/>
                    </a:lnTo>
                    <a:lnTo>
                      <a:pt x="306" y="213"/>
                    </a:lnTo>
                    <a:lnTo>
                      <a:pt x="310" y="208"/>
                    </a:lnTo>
                    <a:lnTo>
                      <a:pt x="310" y="206"/>
                    </a:lnTo>
                    <a:lnTo>
                      <a:pt x="312" y="204"/>
                    </a:lnTo>
                    <a:lnTo>
                      <a:pt x="319" y="202"/>
                    </a:lnTo>
                    <a:lnTo>
                      <a:pt x="319" y="199"/>
                    </a:lnTo>
                    <a:lnTo>
                      <a:pt x="321" y="197"/>
                    </a:lnTo>
                    <a:lnTo>
                      <a:pt x="323" y="195"/>
                    </a:lnTo>
                    <a:lnTo>
                      <a:pt x="328" y="173"/>
                    </a:lnTo>
                    <a:lnTo>
                      <a:pt x="328" y="140"/>
                    </a:lnTo>
                    <a:lnTo>
                      <a:pt x="328" y="140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</p:grpSp>
        <p:grpSp>
          <p:nvGrpSpPr>
            <p:cNvPr id="23" name="62 Grupo"/>
            <p:cNvGrpSpPr/>
            <p:nvPr/>
          </p:nvGrpSpPr>
          <p:grpSpPr>
            <a:xfrm>
              <a:off x="2569311" y="2224637"/>
              <a:ext cx="1355726" cy="2187575"/>
              <a:chOff x="3714750" y="2041525"/>
              <a:chExt cx="1355726" cy="2187575"/>
            </a:xfrm>
            <a:solidFill>
              <a:schemeClr val="accent5"/>
            </a:solidFill>
          </p:grpSpPr>
          <p:sp>
            <p:nvSpPr>
              <p:cNvPr id="31" name="Freeform 20"/>
              <p:cNvSpPr>
                <a:spLocks/>
              </p:cNvSpPr>
              <p:nvPr/>
            </p:nvSpPr>
            <p:spPr bwMode="auto">
              <a:xfrm>
                <a:off x="3795713" y="2041525"/>
                <a:ext cx="265113" cy="241300"/>
              </a:xfrm>
              <a:custGeom>
                <a:avLst/>
                <a:gdLst>
                  <a:gd name="T0" fmla="*/ 165 w 167"/>
                  <a:gd name="T1" fmla="*/ 88 h 152"/>
                  <a:gd name="T2" fmla="*/ 162 w 167"/>
                  <a:gd name="T3" fmla="*/ 84 h 152"/>
                  <a:gd name="T4" fmla="*/ 162 w 167"/>
                  <a:gd name="T5" fmla="*/ 79 h 152"/>
                  <a:gd name="T6" fmla="*/ 156 w 167"/>
                  <a:gd name="T7" fmla="*/ 70 h 152"/>
                  <a:gd name="T8" fmla="*/ 156 w 167"/>
                  <a:gd name="T9" fmla="*/ 64 h 152"/>
                  <a:gd name="T10" fmla="*/ 158 w 167"/>
                  <a:gd name="T11" fmla="*/ 62 h 152"/>
                  <a:gd name="T12" fmla="*/ 156 w 167"/>
                  <a:gd name="T13" fmla="*/ 57 h 152"/>
                  <a:gd name="T14" fmla="*/ 156 w 167"/>
                  <a:gd name="T15" fmla="*/ 53 h 152"/>
                  <a:gd name="T16" fmla="*/ 158 w 167"/>
                  <a:gd name="T17" fmla="*/ 49 h 152"/>
                  <a:gd name="T18" fmla="*/ 158 w 167"/>
                  <a:gd name="T19" fmla="*/ 44 h 152"/>
                  <a:gd name="T20" fmla="*/ 156 w 167"/>
                  <a:gd name="T21" fmla="*/ 38 h 152"/>
                  <a:gd name="T22" fmla="*/ 154 w 167"/>
                  <a:gd name="T23" fmla="*/ 35 h 152"/>
                  <a:gd name="T24" fmla="*/ 151 w 167"/>
                  <a:gd name="T25" fmla="*/ 33 h 152"/>
                  <a:gd name="T26" fmla="*/ 154 w 167"/>
                  <a:gd name="T27" fmla="*/ 27 h 152"/>
                  <a:gd name="T28" fmla="*/ 154 w 167"/>
                  <a:gd name="T29" fmla="*/ 22 h 152"/>
                  <a:gd name="T30" fmla="*/ 151 w 167"/>
                  <a:gd name="T31" fmla="*/ 20 h 152"/>
                  <a:gd name="T32" fmla="*/ 147 w 167"/>
                  <a:gd name="T33" fmla="*/ 18 h 152"/>
                  <a:gd name="T34" fmla="*/ 147 w 167"/>
                  <a:gd name="T35" fmla="*/ 9 h 152"/>
                  <a:gd name="T36" fmla="*/ 145 w 167"/>
                  <a:gd name="T37" fmla="*/ 5 h 152"/>
                  <a:gd name="T38" fmla="*/ 136 w 167"/>
                  <a:gd name="T39" fmla="*/ 0 h 152"/>
                  <a:gd name="T40" fmla="*/ 134 w 167"/>
                  <a:gd name="T41" fmla="*/ 2 h 152"/>
                  <a:gd name="T42" fmla="*/ 132 w 167"/>
                  <a:gd name="T43" fmla="*/ 7 h 152"/>
                  <a:gd name="T44" fmla="*/ 129 w 167"/>
                  <a:gd name="T45" fmla="*/ 13 h 152"/>
                  <a:gd name="T46" fmla="*/ 123 w 167"/>
                  <a:gd name="T47" fmla="*/ 18 h 152"/>
                  <a:gd name="T48" fmla="*/ 105 w 167"/>
                  <a:gd name="T49" fmla="*/ 18 h 152"/>
                  <a:gd name="T50" fmla="*/ 101 w 167"/>
                  <a:gd name="T51" fmla="*/ 20 h 152"/>
                  <a:gd name="T52" fmla="*/ 99 w 167"/>
                  <a:gd name="T53" fmla="*/ 20 h 152"/>
                  <a:gd name="T54" fmla="*/ 90 w 167"/>
                  <a:gd name="T55" fmla="*/ 35 h 152"/>
                  <a:gd name="T56" fmla="*/ 55 w 167"/>
                  <a:gd name="T57" fmla="*/ 59 h 152"/>
                  <a:gd name="T58" fmla="*/ 42 w 167"/>
                  <a:gd name="T59" fmla="*/ 70 h 152"/>
                  <a:gd name="T60" fmla="*/ 37 w 167"/>
                  <a:gd name="T61" fmla="*/ 81 h 152"/>
                  <a:gd name="T62" fmla="*/ 37 w 167"/>
                  <a:gd name="T63" fmla="*/ 88 h 152"/>
                  <a:gd name="T64" fmla="*/ 26 w 167"/>
                  <a:gd name="T65" fmla="*/ 97 h 152"/>
                  <a:gd name="T66" fmla="*/ 13 w 167"/>
                  <a:gd name="T67" fmla="*/ 108 h 152"/>
                  <a:gd name="T68" fmla="*/ 0 w 167"/>
                  <a:gd name="T69" fmla="*/ 128 h 152"/>
                  <a:gd name="T70" fmla="*/ 0 w 167"/>
                  <a:gd name="T71" fmla="*/ 128 h 152"/>
                  <a:gd name="T72" fmla="*/ 15 w 167"/>
                  <a:gd name="T73" fmla="*/ 141 h 152"/>
                  <a:gd name="T74" fmla="*/ 39 w 167"/>
                  <a:gd name="T75" fmla="*/ 143 h 152"/>
                  <a:gd name="T76" fmla="*/ 50 w 167"/>
                  <a:gd name="T77" fmla="*/ 145 h 152"/>
                  <a:gd name="T78" fmla="*/ 72 w 167"/>
                  <a:gd name="T79" fmla="*/ 152 h 152"/>
                  <a:gd name="T80" fmla="*/ 74 w 167"/>
                  <a:gd name="T81" fmla="*/ 152 h 152"/>
                  <a:gd name="T82" fmla="*/ 79 w 167"/>
                  <a:gd name="T83" fmla="*/ 145 h 152"/>
                  <a:gd name="T84" fmla="*/ 103 w 167"/>
                  <a:gd name="T85" fmla="*/ 125 h 152"/>
                  <a:gd name="T86" fmla="*/ 103 w 167"/>
                  <a:gd name="T87" fmla="*/ 121 h 152"/>
                  <a:gd name="T88" fmla="*/ 107 w 167"/>
                  <a:gd name="T89" fmla="*/ 112 h 152"/>
                  <a:gd name="T90" fmla="*/ 114 w 167"/>
                  <a:gd name="T91" fmla="*/ 110 h 152"/>
                  <a:gd name="T92" fmla="*/ 123 w 167"/>
                  <a:gd name="T93" fmla="*/ 110 h 152"/>
                  <a:gd name="T94" fmla="*/ 134 w 167"/>
                  <a:gd name="T95" fmla="*/ 114 h 152"/>
                  <a:gd name="T96" fmla="*/ 140 w 167"/>
                  <a:gd name="T97" fmla="*/ 114 h 152"/>
                  <a:gd name="T98" fmla="*/ 147 w 167"/>
                  <a:gd name="T99" fmla="*/ 106 h 152"/>
                  <a:gd name="T100" fmla="*/ 165 w 167"/>
                  <a:gd name="T101" fmla="*/ 95 h 152"/>
                  <a:gd name="T102" fmla="*/ 167 w 167"/>
                  <a:gd name="T103" fmla="*/ 90 h 152"/>
                  <a:gd name="T104" fmla="*/ 167 w 167"/>
                  <a:gd name="T105" fmla="*/ 88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7" h="152">
                    <a:moveTo>
                      <a:pt x="167" y="88"/>
                    </a:moveTo>
                    <a:lnTo>
                      <a:pt x="165" y="88"/>
                    </a:lnTo>
                    <a:lnTo>
                      <a:pt x="162" y="86"/>
                    </a:lnTo>
                    <a:lnTo>
                      <a:pt x="162" y="84"/>
                    </a:lnTo>
                    <a:lnTo>
                      <a:pt x="162" y="81"/>
                    </a:lnTo>
                    <a:lnTo>
                      <a:pt x="162" y="79"/>
                    </a:lnTo>
                    <a:lnTo>
                      <a:pt x="160" y="75"/>
                    </a:lnTo>
                    <a:lnTo>
                      <a:pt x="156" y="70"/>
                    </a:lnTo>
                    <a:lnTo>
                      <a:pt x="156" y="66"/>
                    </a:lnTo>
                    <a:lnTo>
                      <a:pt x="156" y="64"/>
                    </a:lnTo>
                    <a:lnTo>
                      <a:pt x="156" y="64"/>
                    </a:lnTo>
                    <a:lnTo>
                      <a:pt x="158" y="62"/>
                    </a:lnTo>
                    <a:lnTo>
                      <a:pt x="158" y="59"/>
                    </a:lnTo>
                    <a:lnTo>
                      <a:pt x="156" y="57"/>
                    </a:lnTo>
                    <a:lnTo>
                      <a:pt x="156" y="55"/>
                    </a:lnTo>
                    <a:lnTo>
                      <a:pt x="156" y="53"/>
                    </a:lnTo>
                    <a:lnTo>
                      <a:pt x="156" y="51"/>
                    </a:lnTo>
                    <a:lnTo>
                      <a:pt x="158" y="49"/>
                    </a:lnTo>
                    <a:lnTo>
                      <a:pt x="158" y="46"/>
                    </a:lnTo>
                    <a:lnTo>
                      <a:pt x="158" y="44"/>
                    </a:lnTo>
                    <a:lnTo>
                      <a:pt x="156" y="40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4" y="35"/>
                    </a:lnTo>
                    <a:lnTo>
                      <a:pt x="151" y="35"/>
                    </a:lnTo>
                    <a:lnTo>
                      <a:pt x="151" y="33"/>
                    </a:lnTo>
                    <a:lnTo>
                      <a:pt x="151" y="33"/>
                    </a:lnTo>
                    <a:lnTo>
                      <a:pt x="154" y="27"/>
                    </a:lnTo>
                    <a:lnTo>
                      <a:pt x="154" y="24"/>
                    </a:lnTo>
                    <a:lnTo>
                      <a:pt x="154" y="22"/>
                    </a:lnTo>
                    <a:lnTo>
                      <a:pt x="151" y="20"/>
                    </a:lnTo>
                    <a:lnTo>
                      <a:pt x="151" y="20"/>
                    </a:lnTo>
                    <a:lnTo>
                      <a:pt x="149" y="18"/>
                    </a:lnTo>
                    <a:lnTo>
                      <a:pt x="147" y="18"/>
                    </a:lnTo>
                    <a:lnTo>
                      <a:pt x="147" y="13"/>
                    </a:lnTo>
                    <a:lnTo>
                      <a:pt x="147" y="9"/>
                    </a:lnTo>
                    <a:lnTo>
                      <a:pt x="149" y="7"/>
                    </a:lnTo>
                    <a:lnTo>
                      <a:pt x="145" y="5"/>
                    </a:lnTo>
                    <a:lnTo>
                      <a:pt x="138" y="2"/>
                    </a:lnTo>
                    <a:lnTo>
                      <a:pt x="136" y="0"/>
                    </a:lnTo>
                    <a:lnTo>
                      <a:pt x="134" y="0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2" y="7"/>
                    </a:lnTo>
                    <a:lnTo>
                      <a:pt x="129" y="9"/>
                    </a:lnTo>
                    <a:lnTo>
                      <a:pt x="129" y="13"/>
                    </a:lnTo>
                    <a:lnTo>
                      <a:pt x="125" y="16"/>
                    </a:lnTo>
                    <a:lnTo>
                      <a:pt x="123" y="18"/>
                    </a:lnTo>
                    <a:lnTo>
                      <a:pt x="118" y="18"/>
                    </a:lnTo>
                    <a:lnTo>
                      <a:pt x="105" y="18"/>
                    </a:lnTo>
                    <a:lnTo>
                      <a:pt x="103" y="18"/>
                    </a:lnTo>
                    <a:lnTo>
                      <a:pt x="101" y="20"/>
                    </a:lnTo>
                    <a:lnTo>
                      <a:pt x="99" y="20"/>
                    </a:lnTo>
                    <a:lnTo>
                      <a:pt x="99" y="20"/>
                    </a:lnTo>
                    <a:lnTo>
                      <a:pt x="96" y="24"/>
                    </a:lnTo>
                    <a:lnTo>
                      <a:pt x="90" y="35"/>
                    </a:lnTo>
                    <a:lnTo>
                      <a:pt x="83" y="42"/>
                    </a:lnTo>
                    <a:lnTo>
                      <a:pt x="55" y="59"/>
                    </a:lnTo>
                    <a:lnTo>
                      <a:pt x="48" y="64"/>
                    </a:lnTo>
                    <a:lnTo>
                      <a:pt x="42" y="70"/>
                    </a:lnTo>
                    <a:lnTo>
                      <a:pt x="39" y="77"/>
                    </a:lnTo>
                    <a:lnTo>
                      <a:pt x="37" y="81"/>
                    </a:lnTo>
                    <a:lnTo>
                      <a:pt x="37" y="86"/>
                    </a:lnTo>
                    <a:lnTo>
                      <a:pt x="37" y="88"/>
                    </a:lnTo>
                    <a:lnTo>
                      <a:pt x="33" y="92"/>
                    </a:lnTo>
                    <a:lnTo>
                      <a:pt x="26" y="97"/>
                    </a:lnTo>
                    <a:lnTo>
                      <a:pt x="20" y="101"/>
                    </a:lnTo>
                    <a:lnTo>
                      <a:pt x="13" y="108"/>
                    </a:lnTo>
                    <a:lnTo>
                      <a:pt x="2" y="123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13" y="141"/>
                    </a:lnTo>
                    <a:lnTo>
                      <a:pt x="15" y="141"/>
                    </a:lnTo>
                    <a:lnTo>
                      <a:pt x="24" y="145"/>
                    </a:lnTo>
                    <a:lnTo>
                      <a:pt x="39" y="143"/>
                    </a:lnTo>
                    <a:lnTo>
                      <a:pt x="46" y="143"/>
                    </a:lnTo>
                    <a:lnTo>
                      <a:pt x="50" y="145"/>
                    </a:lnTo>
                    <a:lnTo>
                      <a:pt x="70" y="152"/>
                    </a:lnTo>
                    <a:lnTo>
                      <a:pt x="72" y="152"/>
                    </a:lnTo>
                    <a:lnTo>
                      <a:pt x="72" y="152"/>
                    </a:lnTo>
                    <a:lnTo>
                      <a:pt x="74" y="152"/>
                    </a:lnTo>
                    <a:lnTo>
                      <a:pt x="74" y="149"/>
                    </a:lnTo>
                    <a:lnTo>
                      <a:pt x="79" y="145"/>
                    </a:lnTo>
                    <a:lnTo>
                      <a:pt x="103" y="125"/>
                    </a:lnTo>
                    <a:lnTo>
                      <a:pt x="103" y="125"/>
                    </a:lnTo>
                    <a:lnTo>
                      <a:pt x="103" y="125"/>
                    </a:lnTo>
                    <a:lnTo>
                      <a:pt x="103" y="121"/>
                    </a:lnTo>
                    <a:lnTo>
                      <a:pt x="105" y="114"/>
                    </a:lnTo>
                    <a:lnTo>
                      <a:pt x="107" y="112"/>
                    </a:lnTo>
                    <a:lnTo>
                      <a:pt x="112" y="110"/>
                    </a:lnTo>
                    <a:lnTo>
                      <a:pt x="114" y="110"/>
                    </a:lnTo>
                    <a:lnTo>
                      <a:pt x="118" y="110"/>
                    </a:lnTo>
                    <a:lnTo>
                      <a:pt x="123" y="110"/>
                    </a:lnTo>
                    <a:lnTo>
                      <a:pt x="125" y="110"/>
                    </a:lnTo>
                    <a:lnTo>
                      <a:pt x="134" y="114"/>
                    </a:lnTo>
                    <a:lnTo>
                      <a:pt x="136" y="117"/>
                    </a:lnTo>
                    <a:lnTo>
                      <a:pt x="140" y="114"/>
                    </a:lnTo>
                    <a:lnTo>
                      <a:pt x="145" y="110"/>
                    </a:lnTo>
                    <a:lnTo>
                      <a:pt x="147" y="106"/>
                    </a:lnTo>
                    <a:lnTo>
                      <a:pt x="149" y="101"/>
                    </a:lnTo>
                    <a:lnTo>
                      <a:pt x="165" y="95"/>
                    </a:lnTo>
                    <a:lnTo>
                      <a:pt x="167" y="92"/>
                    </a:lnTo>
                    <a:lnTo>
                      <a:pt x="167" y="90"/>
                    </a:lnTo>
                    <a:lnTo>
                      <a:pt x="167" y="90"/>
                    </a:lnTo>
                    <a:lnTo>
                      <a:pt x="167" y="88"/>
                    </a:lnTo>
                    <a:lnTo>
                      <a:pt x="167" y="88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32" name="Freeform 21"/>
              <p:cNvSpPr>
                <a:spLocks noEditPoints="1"/>
              </p:cNvSpPr>
              <p:nvPr/>
            </p:nvSpPr>
            <p:spPr bwMode="auto">
              <a:xfrm>
                <a:off x="3714750" y="2239963"/>
                <a:ext cx="620713" cy="714375"/>
              </a:xfrm>
              <a:custGeom>
                <a:avLst/>
                <a:gdLst>
                  <a:gd name="T0" fmla="*/ 93 w 391"/>
                  <a:gd name="T1" fmla="*/ 433 h 450"/>
                  <a:gd name="T2" fmla="*/ 88 w 391"/>
                  <a:gd name="T3" fmla="*/ 446 h 450"/>
                  <a:gd name="T4" fmla="*/ 93 w 391"/>
                  <a:gd name="T5" fmla="*/ 444 h 450"/>
                  <a:gd name="T6" fmla="*/ 371 w 391"/>
                  <a:gd name="T7" fmla="*/ 156 h 450"/>
                  <a:gd name="T8" fmla="*/ 360 w 391"/>
                  <a:gd name="T9" fmla="*/ 145 h 450"/>
                  <a:gd name="T10" fmla="*/ 349 w 391"/>
                  <a:gd name="T11" fmla="*/ 132 h 450"/>
                  <a:gd name="T12" fmla="*/ 341 w 391"/>
                  <a:gd name="T13" fmla="*/ 88 h 450"/>
                  <a:gd name="T14" fmla="*/ 327 w 391"/>
                  <a:gd name="T15" fmla="*/ 82 h 450"/>
                  <a:gd name="T16" fmla="*/ 279 w 391"/>
                  <a:gd name="T17" fmla="*/ 77 h 450"/>
                  <a:gd name="T18" fmla="*/ 253 w 391"/>
                  <a:gd name="T19" fmla="*/ 60 h 450"/>
                  <a:gd name="T20" fmla="*/ 226 w 391"/>
                  <a:gd name="T21" fmla="*/ 44 h 450"/>
                  <a:gd name="T22" fmla="*/ 211 w 391"/>
                  <a:gd name="T23" fmla="*/ 44 h 450"/>
                  <a:gd name="T24" fmla="*/ 187 w 391"/>
                  <a:gd name="T25" fmla="*/ 71 h 450"/>
                  <a:gd name="T26" fmla="*/ 161 w 391"/>
                  <a:gd name="T27" fmla="*/ 71 h 450"/>
                  <a:gd name="T28" fmla="*/ 176 w 391"/>
                  <a:gd name="T29" fmla="*/ 27 h 450"/>
                  <a:gd name="T30" fmla="*/ 158 w 391"/>
                  <a:gd name="T31" fmla="*/ 11 h 450"/>
                  <a:gd name="T32" fmla="*/ 130 w 391"/>
                  <a:gd name="T33" fmla="*/ 20 h 450"/>
                  <a:gd name="T34" fmla="*/ 101 w 391"/>
                  <a:gd name="T35" fmla="*/ 20 h 450"/>
                  <a:gd name="T36" fmla="*/ 51 w 391"/>
                  <a:gd name="T37" fmla="*/ 3 h 450"/>
                  <a:gd name="T38" fmla="*/ 42 w 391"/>
                  <a:gd name="T39" fmla="*/ 7 h 450"/>
                  <a:gd name="T40" fmla="*/ 11 w 391"/>
                  <a:gd name="T41" fmla="*/ 38 h 450"/>
                  <a:gd name="T42" fmla="*/ 7 w 391"/>
                  <a:gd name="T43" fmla="*/ 71 h 450"/>
                  <a:gd name="T44" fmla="*/ 5 w 391"/>
                  <a:gd name="T45" fmla="*/ 84 h 450"/>
                  <a:gd name="T46" fmla="*/ 3 w 391"/>
                  <a:gd name="T47" fmla="*/ 110 h 450"/>
                  <a:gd name="T48" fmla="*/ 31 w 391"/>
                  <a:gd name="T49" fmla="*/ 152 h 450"/>
                  <a:gd name="T50" fmla="*/ 46 w 391"/>
                  <a:gd name="T51" fmla="*/ 189 h 450"/>
                  <a:gd name="T52" fmla="*/ 31 w 391"/>
                  <a:gd name="T53" fmla="*/ 193 h 450"/>
                  <a:gd name="T54" fmla="*/ 31 w 391"/>
                  <a:gd name="T55" fmla="*/ 209 h 450"/>
                  <a:gd name="T56" fmla="*/ 38 w 391"/>
                  <a:gd name="T57" fmla="*/ 231 h 450"/>
                  <a:gd name="T58" fmla="*/ 75 w 391"/>
                  <a:gd name="T59" fmla="*/ 261 h 450"/>
                  <a:gd name="T60" fmla="*/ 68 w 391"/>
                  <a:gd name="T61" fmla="*/ 332 h 450"/>
                  <a:gd name="T62" fmla="*/ 46 w 391"/>
                  <a:gd name="T63" fmla="*/ 325 h 450"/>
                  <a:gd name="T64" fmla="*/ 35 w 391"/>
                  <a:gd name="T65" fmla="*/ 341 h 450"/>
                  <a:gd name="T66" fmla="*/ 77 w 391"/>
                  <a:gd name="T67" fmla="*/ 395 h 450"/>
                  <a:gd name="T68" fmla="*/ 141 w 391"/>
                  <a:gd name="T69" fmla="*/ 420 h 450"/>
                  <a:gd name="T70" fmla="*/ 187 w 391"/>
                  <a:gd name="T71" fmla="*/ 354 h 450"/>
                  <a:gd name="T72" fmla="*/ 259 w 391"/>
                  <a:gd name="T73" fmla="*/ 325 h 450"/>
                  <a:gd name="T74" fmla="*/ 259 w 391"/>
                  <a:gd name="T75" fmla="*/ 277 h 450"/>
                  <a:gd name="T76" fmla="*/ 288 w 391"/>
                  <a:gd name="T77" fmla="*/ 305 h 450"/>
                  <a:gd name="T78" fmla="*/ 295 w 391"/>
                  <a:gd name="T79" fmla="*/ 316 h 450"/>
                  <a:gd name="T80" fmla="*/ 290 w 391"/>
                  <a:gd name="T81" fmla="*/ 327 h 450"/>
                  <a:gd name="T82" fmla="*/ 303 w 391"/>
                  <a:gd name="T83" fmla="*/ 334 h 450"/>
                  <a:gd name="T84" fmla="*/ 317 w 391"/>
                  <a:gd name="T85" fmla="*/ 349 h 450"/>
                  <a:gd name="T86" fmla="*/ 334 w 391"/>
                  <a:gd name="T87" fmla="*/ 347 h 450"/>
                  <a:gd name="T88" fmla="*/ 354 w 391"/>
                  <a:gd name="T89" fmla="*/ 356 h 450"/>
                  <a:gd name="T90" fmla="*/ 367 w 391"/>
                  <a:gd name="T91" fmla="*/ 336 h 450"/>
                  <a:gd name="T92" fmla="*/ 360 w 391"/>
                  <a:gd name="T93" fmla="*/ 327 h 450"/>
                  <a:gd name="T94" fmla="*/ 356 w 391"/>
                  <a:gd name="T95" fmla="*/ 310 h 450"/>
                  <a:gd name="T96" fmla="*/ 358 w 391"/>
                  <a:gd name="T97" fmla="*/ 279 h 450"/>
                  <a:gd name="T98" fmla="*/ 363 w 391"/>
                  <a:gd name="T99" fmla="*/ 266 h 450"/>
                  <a:gd name="T100" fmla="*/ 374 w 391"/>
                  <a:gd name="T101" fmla="*/ 264 h 450"/>
                  <a:gd name="T102" fmla="*/ 367 w 391"/>
                  <a:gd name="T103" fmla="*/ 229 h 450"/>
                  <a:gd name="T104" fmla="*/ 363 w 391"/>
                  <a:gd name="T105" fmla="*/ 202 h 450"/>
                  <a:gd name="T106" fmla="*/ 382 w 391"/>
                  <a:gd name="T107" fmla="*/ 182 h 450"/>
                  <a:gd name="T108" fmla="*/ 382 w 391"/>
                  <a:gd name="T109" fmla="*/ 167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91" h="450">
                    <a:moveTo>
                      <a:pt x="93" y="444"/>
                    </a:moveTo>
                    <a:lnTo>
                      <a:pt x="93" y="441"/>
                    </a:lnTo>
                    <a:lnTo>
                      <a:pt x="90" y="439"/>
                    </a:lnTo>
                    <a:lnTo>
                      <a:pt x="90" y="437"/>
                    </a:lnTo>
                    <a:lnTo>
                      <a:pt x="90" y="433"/>
                    </a:lnTo>
                    <a:lnTo>
                      <a:pt x="93" y="433"/>
                    </a:lnTo>
                    <a:lnTo>
                      <a:pt x="90" y="430"/>
                    </a:lnTo>
                    <a:lnTo>
                      <a:pt x="88" y="437"/>
                    </a:lnTo>
                    <a:lnTo>
                      <a:pt x="88" y="439"/>
                    </a:lnTo>
                    <a:lnTo>
                      <a:pt x="86" y="441"/>
                    </a:lnTo>
                    <a:lnTo>
                      <a:pt x="88" y="444"/>
                    </a:lnTo>
                    <a:lnTo>
                      <a:pt x="88" y="446"/>
                    </a:lnTo>
                    <a:lnTo>
                      <a:pt x="88" y="448"/>
                    </a:lnTo>
                    <a:lnTo>
                      <a:pt x="88" y="450"/>
                    </a:lnTo>
                    <a:lnTo>
                      <a:pt x="90" y="450"/>
                    </a:lnTo>
                    <a:lnTo>
                      <a:pt x="93" y="450"/>
                    </a:lnTo>
                    <a:lnTo>
                      <a:pt x="93" y="446"/>
                    </a:lnTo>
                    <a:lnTo>
                      <a:pt x="93" y="444"/>
                    </a:lnTo>
                    <a:lnTo>
                      <a:pt x="93" y="444"/>
                    </a:lnTo>
                    <a:close/>
                    <a:moveTo>
                      <a:pt x="382" y="167"/>
                    </a:moveTo>
                    <a:lnTo>
                      <a:pt x="378" y="167"/>
                    </a:lnTo>
                    <a:lnTo>
                      <a:pt x="376" y="163"/>
                    </a:lnTo>
                    <a:lnTo>
                      <a:pt x="374" y="161"/>
                    </a:lnTo>
                    <a:lnTo>
                      <a:pt x="371" y="156"/>
                    </a:lnTo>
                    <a:lnTo>
                      <a:pt x="369" y="156"/>
                    </a:lnTo>
                    <a:lnTo>
                      <a:pt x="365" y="154"/>
                    </a:lnTo>
                    <a:lnTo>
                      <a:pt x="365" y="152"/>
                    </a:lnTo>
                    <a:lnTo>
                      <a:pt x="363" y="152"/>
                    </a:lnTo>
                    <a:lnTo>
                      <a:pt x="363" y="147"/>
                    </a:lnTo>
                    <a:lnTo>
                      <a:pt x="360" y="145"/>
                    </a:lnTo>
                    <a:lnTo>
                      <a:pt x="358" y="143"/>
                    </a:lnTo>
                    <a:lnTo>
                      <a:pt x="354" y="141"/>
                    </a:lnTo>
                    <a:lnTo>
                      <a:pt x="352" y="139"/>
                    </a:lnTo>
                    <a:lnTo>
                      <a:pt x="349" y="134"/>
                    </a:lnTo>
                    <a:lnTo>
                      <a:pt x="349" y="132"/>
                    </a:lnTo>
                    <a:lnTo>
                      <a:pt x="349" y="132"/>
                    </a:lnTo>
                    <a:lnTo>
                      <a:pt x="343" y="121"/>
                    </a:lnTo>
                    <a:lnTo>
                      <a:pt x="341" y="110"/>
                    </a:lnTo>
                    <a:lnTo>
                      <a:pt x="336" y="103"/>
                    </a:lnTo>
                    <a:lnTo>
                      <a:pt x="336" y="99"/>
                    </a:lnTo>
                    <a:lnTo>
                      <a:pt x="341" y="90"/>
                    </a:lnTo>
                    <a:lnTo>
                      <a:pt x="341" y="88"/>
                    </a:lnTo>
                    <a:lnTo>
                      <a:pt x="341" y="86"/>
                    </a:lnTo>
                    <a:lnTo>
                      <a:pt x="336" y="84"/>
                    </a:lnTo>
                    <a:lnTo>
                      <a:pt x="332" y="84"/>
                    </a:lnTo>
                    <a:lnTo>
                      <a:pt x="330" y="84"/>
                    </a:lnTo>
                    <a:lnTo>
                      <a:pt x="327" y="82"/>
                    </a:lnTo>
                    <a:lnTo>
                      <a:pt x="327" y="82"/>
                    </a:lnTo>
                    <a:lnTo>
                      <a:pt x="317" y="73"/>
                    </a:lnTo>
                    <a:lnTo>
                      <a:pt x="312" y="68"/>
                    </a:lnTo>
                    <a:lnTo>
                      <a:pt x="306" y="71"/>
                    </a:lnTo>
                    <a:lnTo>
                      <a:pt x="299" y="75"/>
                    </a:lnTo>
                    <a:lnTo>
                      <a:pt x="286" y="77"/>
                    </a:lnTo>
                    <a:lnTo>
                      <a:pt x="279" y="77"/>
                    </a:lnTo>
                    <a:lnTo>
                      <a:pt x="275" y="73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0"/>
                    </a:lnTo>
                    <a:lnTo>
                      <a:pt x="257" y="60"/>
                    </a:lnTo>
                    <a:lnTo>
                      <a:pt x="253" y="60"/>
                    </a:lnTo>
                    <a:lnTo>
                      <a:pt x="246" y="57"/>
                    </a:lnTo>
                    <a:lnTo>
                      <a:pt x="244" y="55"/>
                    </a:lnTo>
                    <a:lnTo>
                      <a:pt x="237" y="49"/>
                    </a:lnTo>
                    <a:lnTo>
                      <a:pt x="233" y="44"/>
                    </a:lnTo>
                    <a:lnTo>
                      <a:pt x="231" y="44"/>
                    </a:lnTo>
                    <a:lnTo>
                      <a:pt x="226" y="44"/>
                    </a:lnTo>
                    <a:lnTo>
                      <a:pt x="224" y="42"/>
                    </a:lnTo>
                    <a:lnTo>
                      <a:pt x="222" y="40"/>
                    </a:lnTo>
                    <a:lnTo>
                      <a:pt x="222" y="40"/>
                    </a:lnTo>
                    <a:lnTo>
                      <a:pt x="213" y="42"/>
                    </a:lnTo>
                    <a:lnTo>
                      <a:pt x="213" y="42"/>
                    </a:lnTo>
                    <a:lnTo>
                      <a:pt x="211" y="44"/>
                    </a:lnTo>
                    <a:lnTo>
                      <a:pt x="209" y="44"/>
                    </a:lnTo>
                    <a:lnTo>
                      <a:pt x="207" y="46"/>
                    </a:lnTo>
                    <a:lnTo>
                      <a:pt x="205" y="53"/>
                    </a:lnTo>
                    <a:lnTo>
                      <a:pt x="205" y="57"/>
                    </a:lnTo>
                    <a:lnTo>
                      <a:pt x="200" y="60"/>
                    </a:lnTo>
                    <a:lnTo>
                      <a:pt x="187" y="71"/>
                    </a:lnTo>
                    <a:lnTo>
                      <a:pt x="178" y="75"/>
                    </a:lnTo>
                    <a:lnTo>
                      <a:pt x="178" y="77"/>
                    </a:lnTo>
                    <a:lnTo>
                      <a:pt x="176" y="77"/>
                    </a:lnTo>
                    <a:lnTo>
                      <a:pt x="172" y="77"/>
                    </a:lnTo>
                    <a:lnTo>
                      <a:pt x="169" y="75"/>
                    </a:lnTo>
                    <a:lnTo>
                      <a:pt x="161" y="71"/>
                    </a:lnTo>
                    <a:lnTo>
                      <a:pt x="158" y="68"/>
                    </a:lnTo>
                    <a:lnTo>
                      <a:pt x="156" y="64"/>
                    </a:lnTo>
                    <a:lnTo>
                      <a:pt x="158" y="62"/>
                    </a:lnTo>
                    <a:lnTo>
                      <a:pt x="183" y="29"/>
                    </a:lnTo>
                    <a:lnTo>
                      <a:pt x="185" y="24"/>
                    </a:lnTo>
                    <a:lnTo>
                      <a:pt x="176" y="27"/>
                    </a:lnTo>
                    <a:lnTo>
                      <a:pt x="167" y="29"/>
                    </a:lnTo>
                    <a:lnTo>
                      <a:pt x="161" y="27"/>
                    </a:lnTo>
                    <a:lnTo>
                      <a:pt x="156" y="20"/>
                    </a:lnTo>
                    <a:lnTo>
                      <a:pt x="156" y="18"/>
                    </a:lnTo>
                    <a:lnTo>
                      <a:pt x="158" y="14"/>
                    </a:lnTo>
                    <a:lnTo>
                      <a:pt x="158" y="11"/>
                    </a:lnTo>
                    <a:lnTo>
                      <a:pt x="156" y="9"/>
                    </a:lnTo>
                    <a:lnTo>
                      <a:pt x="154" y="5"/>
                    </a:lnTo>
                    <a:lnTo>
                      <a:pt x="152" y="3"/>
                    </a:lnTo>
                    <a:lnTo>
                      <a:pt x="154" y="0"/>
                    </a:lnTo>
                    <a:lnTo>
                      <a:pt x="154" y="0"/>
                    </a:lnTo>
                    <a:lnTo>
                      <a:pt x="130" y="20"/>
                    </a:lnTo>
                    <a:lnTo>
                      <a:pt x="125" y="24"/>
                    </a:lnTo>
                    <a:lnTo>
                      <a:pt x="125" y="27"/>
                    </a:lnTo>
                    <a:lnTo>
                      <a:pt x="123" y="27"/>
                    </a:lnTo>
                    <a:lnTo>
                      <a:pt x="123" y="27"/>
                    </a:lnTo>
                    <a:lnTo>
                      <a:pt x="121" y="27"/>
                    </a:lnTo>
                    <a:lnTo>
                      <a:pt x="101" y="20"/>
                    </a:lnTo>
                    <a:lnTo>
                      <a:pt x="97" y="18"/>
                    </a:lnTo>
                    <a:lnTo>
                      <a:pt x="90" y="18"/>
                    </a:lnTo>
                    <a:lnTo>
                      <a:pt x="75" y="20"/>
                    </a:lnTo>
                    <a:lnTo>
                      <a:pt x="66" y="16"/>
                    </a:lnTo>
                    <a:lnTo>
                      <a:pt x="64" y="16"/>
                    </a:lnTo>
                    <a:lnTo>
                      <a:pt x="51" y="3"/>
                    </a:lnTo>
                    <a:lnTo>
                      <a:pt x="51" y="3"/>
                    </a:lnTo>
                    <a:lnTo>
                      <a:pt x="51" y="3"/>
                    </a:lnTo>
                    <a:lnTo>
                      <a:pt x="51" y="3"/>
                    </a:lnTo>
                    <a:lnTo>
                      <a:pt x="49" y="5"/>
                    </a:lnTo>
                    <a:lnTo>
                      <a:pt x="46" y="7"/>
                    </a:lnTo>
                    <a:lnTo>
                      <a:pt x="42" y="7"/>
                    </a:lnTo>
                    <a:lnTo>
                      <a:pt x="40" y="11"/>
                    </a:lnTo>
                    <a:lnTo>
                      <a:pt x="35" y="16"/>
                    </a:lnTo>
                    <a:lnTo>
                      <a:pt x="31" y="20"/>
                    </a:lnTo>
                    <a:lnTo>
                      <a:pt x="16" y="31"/>
                    </a:lnTo>
                    <a:lnTo>
                      <a:pt x="14" y="35"/>
                    </a:lnTo>
                    <a:lnTo>
                      <a:pt x="11" y="38"/>
                    </a:lnTo>
                    <a:lnTo>
                      <a:pt x="9" y="42"/>
                    </a:lnTo>
                    <a:lnTo>
                      <a:pt x="7" y="46"/>
                    </a:lnTo>
                    <a:lnTo>
                      <a:pt x="11" y="57"/>
                    </a:lnTo>
                    <a:lnTo>
                      <a:pt x="11" y="62"/>
                    </a:lnTo>
                    <a:lnTo>
                      <a:pt x="7" y="68"/>
                    </a:lnTo>
                    <a:lnTo>
                      <a:pt x="7" y="71"/>
                    </a:lnTo>
                    <a:lnTo>
                      <a:pt x="5" y="71"/>
                    </a:lnTo>
                    <a:lnTo>
                      <a:pt x="5" y="73"/>
                    </a:lnTo>
                    <a:lnTo>
                      <a:pt x="3" y="73"/>
                    </a:lnTo>
                    <a:lnTo>
                      <a:pt x="0" y="77"/>
                    </a:lnTo>
                    <a:lnTo>
                      <a:pt x="3" y="79"/>
                    </a:lnTo>
                    <a:lnTo>
                      <a:pt x="5" y="84"/>
                    </a:lnTo>
                    <a:lnTo>
                      <a:pt x="5" y="88"/>
                    </a:lnTo>
                    <a:lnTo>
                      <a:pt x="5" y="90"/>
                    </a:lnTo>
                    <a:lnTo>
                      <a:pt x="5" y="99"/>
                    </a:lnTo>
                    <a:lnTo>
                      <a:pt x="5" y="103"/>
                    </a:lnTo>
                    <a:lnTo>
                      <a:pt x="5" y="108"/>
                    </a:lnTo>
                    <a:lnTo>
                      <a:pt x="3" y="110"/>
                    </a:lnTo>
                    <a:lnTo>
                      <a:pt x="0" y="112"/>
                    </a:lnTo>
                    <a:lnTo>
                      <a:pt x="0" y="114"/>
                    </a:lnTo>
                    <a:lnTo>
                      <a:pt x="7" y="121"/>
                    </a:lnTo>
                    <a:lnTo>
                      <a:pt x="20" y="139"/>
                    </a:lnTo>
                    <a:lnTo>
                      <a:pt x="27" y="147"/>
                    </a:lnTo>
                    <a:lnTo>
                      <a:pt x="31" y="152"/>
                    </a:lnTo>
                    <a:lnTo>
                      <a:pt x="35" y="158"/>
                    </a:lnTo>
                    <a:lnTo>
                      <a:pt x="40" y="163"/>
                    </a:lnTo>
                    <a:lnTo>
                      <a:pt x="46" y="169"/>
                    </a:lnTo>
                    <a:lnTo>
                      <a:pt x="51" y="178"/>
                    </a:lnTo>
                    <a:lnTo>
                      <a:pt x="51" y="185"/>
                    </a:lnTo>
                    <a:lnTo>
                      <a:pt x="46" y="189"/>
                    </a:lnTo>
                    <a:lnTo>
                      <a:pt x="42" y="189"/>
                    </a:lnTo>
                    <a:lnTo>
                      <a:pt x="38" y="187"/>
                    </a:lnTo>
                    <a:lnTo>
                      <a:pt x="35" y="187"/>
                    </a:lnTo>
                    <a:lnTo>
                      <a:pt x="33" y="187"/>
                    </a:lnTo>
                    <a:lnTo>
                      <a:pt x="31" y="191"/>
                    </a:lnTo>
                    <a:lnTo>
                      <a:pt x="31" y="193"/>
                    </a:lnTo>
                    <a:lnTo>
                      <a:pt x="33" y="198"/>
                    </a:lnTo>
                    <a:lnTo>
                      <a:pt x="29" y="198"/>
                    </a:lnTo>
                    <a:lnTo>
                      <a:pt x="29" y="200"/>
                    </a:lnTo>
                    <a:lnTo>
                      <a:pt x="31" y="202"/>
                    </a:lnTo>
                    <a:lnTo>
                      <a:pt x="31" y="204"/>
                    </a:lnTo>
                    <a:lnTo>
                      <a:pt x="31" y="209"/>
                    </a:lnTo>
                    <a:lnTo>
                      <a:pt x="29" y="209"/>
                    </a:lnTo>
                    <a:lnTo>
                      <a:pt x="27" y="211"/>
                    </a:lnTo>
                    <a:lnTo>
                      <a:pt x="27" y="213"/>
                    </a:lnTo>
                    <a:lnTo>
                      <a:pt x="29" y="218"/>
                    </a:lnTo>
                    <a:lnTo>
                      <a:pt x="33" y="224"/>
                    </a:lnTo>
                    <a:lnTo>
                      <a:pt x="38" y="231"/>
                    </a:lnTo>
                    <a:lnTo>
                      <a:pt x="42" y="233"/>
                    </a:lnTo>
                    <a:lnTo>
                      <a:pt x="44" y="233"/>
                    </a:lnTo>
                    <a:lnTo>
                      <a:pt x="49" y="233"/>
                    </a:lnTo>
                    <a:lnTo>
                      <a:pt x="53" y="237"/>
                    </a:lnTo>
                    <a:lnTo>
                      <a:pt x="71" y="255"/>
                    </a:lnTo>
                    <a:lnTo>
                      <a:pt x="75" y="261"/>
                    </a:lnTo>
                    <a:lnTo>
                      <a:pt x="84" y="281"/>
                    </a:lnTo>
                    <a:lnTo>
                      <a:pt x="90" y="294"/>
                    </a:lnTo>
                    <a:lnTo>
                      <a:pt x="88" y="312"/>
                    </a:lnTo>
                    <a:lnTo>
                      <a:pt x="82" y="325"/>
                    </a:lnTo>
                    <a:lnTo>
                      <a:pt x="73" y="334"/>
                    </a:lnTo>
                    <a:lnTo>
                      <a:pt x="68" y="332"/>
                    </a:lnTo>
                    <a:lnTo>
                      <a:pt x="62" y="330"/>
                    </a:lnTo>
                    <a:lnTo>
                      <a:pt x="55" y="327"/>
                    </a:lnTo>
                    <a:lnTo>
                      <a:pt x="51" y="321"/>
                    </a:lnTo>
                    <a:lnTo>
                      <a:pt x="49" y="321"/>
                    </a:lnTo>
                    <a:lnTo>
                      <a:pt x="46" y="323"/>
                    </a:lnTo>
                    <a:lnTo>
                      <a:pt x="46" y="325"/>
                    </a:lnTo>
                    <a:lnTo>
                      <a:pt x="44" y="330"/>
                    </a:lnTo>
                    <a:lnTo>
                      <a:pt x="40" y="332"/>
                    </a:lnTo>
                    <a:lnTo>
                      <a:pt x="40" y="332"/>
                    </a:lnTo>
                    <a:lnTo>
                      <a:pt x="38" y="336"/>
                    </a:lnTo>
                    <a:lnTo>
                      <a:pt x="35" y="338"/>
                    </a:lnTo>
                    <a:lnTo>
                      <a:pt x="35" y="341"/>
                    </a:lnTo>
                    <a:lnTo>
                      <a:pt x="35" y="349"/>
                    </a:lnTo>
                    <a:lnTo>
                      <a:pt x="35" y="356"/>
                    </a:lnTo>
                    <a:lnTo>
                      <a:pt x="38" y="367"/>
                    </a:lnTo>
                    <a:lnTo>
                      <a:pt x="44" y="373"/>
                    </a:lnTo>
                    <a:lnTo>
                      <a:pt x="60" y="387"/>
                    </a:lnTo>
                    <a:lnTo>
                      <a:pt x="77" y="395"/>
                    </a:lnTo>
                    <a:lnTo>
                      <a:pt x="90" y="406"/>
                    </a:lnTo>
                    <a:lnTo>
                      <a:pt x="101" y="417"/>
                    </a:lnTo>
                    <a:lnTo>
                      <a:pt x="112" y="422"/>
                    </a:lnTo>
                    <a:lnTo>
                      <a:pt x="132" y="430"/>
                    </a:lnTo>
                    <a:lnTo>
                      <a:pt x="136" y="428"/>
                    </a:lnTo>
                    <a:lnTo>
                      <a:pt x="141" y="420"/>
                    </a:lnTo>
                    <a:lnTo>
                      <a:pt x="158" y="395"/>
                    </a:lnTo>
                    <a:lnTo>
                      <a:pt x="158" y="393"/>
                    </a:lnTo>
                    <a:lnTo>
                      <a:pt x="161" y="387"/>
                    </a:lnTo>
                    <a:lnTo>
                      <a:pt x="163" y="384"/>
                    </a:lnTo>
                    <a:lnTo>
                      <a:pt x="165" y="380"/>
                    </a:lnTo>
                    <a:lnTo>
                      <a:pt x="187" y="354"/>
                    </a:lnTo>
                    <a:lnTo>
                      <a:pt x="189" y="351"/>
                    </a:lnTo>
                    <a:lnTo>
                      <a:pt x="191" y="349"/>
                    </a:lnTo>
                    <a:lnTo>
                      <a:pt x="251" y="334"/>
                    </a:lnTo>
                    <a:lnTo>
                      <a:pt x="257" y="330"/>
                    </a:lnTo>
                    <a:lnTo>
                      <a:pt x="257" y="327"/>
                    </a:lnTo>
                    <a:lnTo>
                      <a:pt x="259" y="325"/>
                    </a:lnTo>
                    <a:lnTo>
                      <a:pt x="259" y="319"/>
                    </a:lnTo>
                    <a:lnTo>
                      <a:pt x="259" y="299"/>
                    </a:lnTo>
                    <a:lnTo>
                      <a:pt x="255" y="281"/>
                    </a:lnTo>
                    <a:lnTo>
                      <a:pt x="257" y="277"/>
                    </a:lnTo>
                    <a:lnTo>
                      <a:pt x="257" y="277"/>
                    </a:lnTo>
                    <a:lnTo>
                      <a:pt x="259" y="277"/>
                    </a:lnTo>
                    <a:lnTo>
                      <a:pt x="264" y="279"/>
                    </a:lnTo>
                    <a:lnTo>
                      <a:pt x="273" y="288"/>
                    </a:lnTo>
                    <a:lnTo>
                      <a:pt x="284" y="297"/>
                    </a:lnTo>
                    <a:lnTo>
                      <a:pt x="286" y="299"/>
                    </a:lnTo>
                    <a:lnTo>
                      <a:pt x="288" y="301"/>
                    </a:lnTo>
                    <a:lnTo>
                      <a:pt x="288" y="305"/>
                    </a:lnTo>
                    <a:lnTo>
                      <a:pt x="290" y="305"/>
                    </a:lnTo>
                    <a:lnTo>
                      <a:pt x="290" y="308"/>
                    </a:lnTo>
                    <a:lnTo>
                      <a:pt x="295" y="312"/>
                    </a:lnTo>
                    <a:lnTo>
                      <a:pt x="295" y="314"/>
                    </a:lnTo>
                    <a:lnTo>
                      <a:pt x="295" y="314"/>
                    </a:lnTo>
                    <a:lnTo>
                      <a:pt x="295" y="316"/>
                    </a:lnTo>
                    <a:lnTo>
                      <a:pt x="295" y="319"/>
                    </a:lnTo>
                    <a:lnTo>
                      <a:pt x="292" y="321"/>
                    </a:lnTo>
                    <a:lnTo>
                      <a:pt x="292" y="323"/>
                    </a:lnTo>
                    <a:lnTo>
                      <a:pt x="290" y="325"/>
                    </a:lnTo>
                    <a:lnTo>
                      <a:pt x="290" y="327"/>
                    </a:lnTo>
                    <a:lnTo>
                      <a:pt x="290" y="327"/>
                    </a:lnTo>
                    <a:lnTo>
                      <a:pt x="290" y="330"/>
                    </a:lnTo>
                    <a:lnTo>
                      <a:pt x="292" y="332"/>
                    </a:lnTo>
                    <a:lnTo>
                      <a:pt x="295" y="332"/>
                    </a:lnTo>
                    <a:lnTo>
                      <a:pt x="297" y="334"/>
                    </a:lnTo>
                    <a:lnTo>
                      <a:pt x="301" y="334"/>
                    </a:lnTo>
                    <a:lnTo>
                      <a:pt x="303" y="334"/>
                    </a:lnTo>
                    <a:lnTo>
                      <a:pt x="306" y="336"/>
                    </a:lnTo>
                    <a:lnTo>
                      <a:pt x="310" y="338"/>
                    </a:lnTo>
                    <a:lnTo>
                      <a:pt x="310" y="341"/>
                    </a:lnTo>
                    <a:lnTo>
                      <a:pt x="312" y="343"/>
                    </a:lnTo>
                    <a:lnTo>
                      <a:pt x="314" y="347"/>
                    </a:lnTo>
                    <a:lnTo>
                      <a:pt x="317" y="349"/>
                    </a:lnTo>
                    <a:lnTo>
                      <a:pt x="319" y="349"/>
                    </a:lnTo>
                    <a:lnTo>
                      <a:pt x="321" y="349"/>
                    </a:lnTo>
                    <a:lnTo>
                      <a:pt x="323" y="349"/>
                    </a:lnTo>
                    <a:lnTo>
                      <a:pt x="327" y="349"/>
                    </a:lnTo>
                    <a:lnTo>
                      <a:pt x="332" y="349"/>
                    </a:lnTo>
                    <a:lnTo>
                      <a:pt x="334" y="347"/>
                    </a:lnTo>
                    <a:lnTo>
                      <a:pt x="336" y="347"/>
                    </a:lnTo>
                    <a:lnTo>
                      <a:pt x="343" y="351"/>
                    </a:lnTo>
                    <a:lnTo>
                      <a:pt x="345" y="351"/>
                    </a:lnTo>
                    <a:lnTo>
                      <a:pt x="347" y="354"/>
                    </a:lnTo>
                    <a:lnTo>
                      <a:pt x="349" y="358"/>
                    </a:lnTo>
                    <a:lnTo>
                      <a:pt x="354" y="356"/>
                    </a:lnTo>
                    <a:lnTo>
                      <a:pt x="360" y="349"/>
                    </a:lnTo>
                    <a:lnTo>
                      <a:pt x="363" y="349"/>
                    </a:lnTo>
                    <a:lnTo>
                      <a:pt x="365" y="347"/>
                    </a:lnTo>
                    <a:lnTo>
                      <a:pt x="367" y="347"/>
                    </a:lnTo>
                    <a:lnTo>
                      <a:pt x="369" y="343"/>
                    </a:lnTo>
                    <a:lnTo>
                      <a:pt x="367" y="336"/>
                    </a:lnTo>
                    <a:lnTo>
                      <a:pt x="365" y="334"/>
                    </a:lnTo>
                    <a:lnTo>
                      <a:pt x="363" y="332"/>
                    </a:lnTo>
                    <a:lnTo>
                      <a:pt x="363" y="332"/>
                    </a:lnTo>
                    <a:lnTo>
                      <a:pt x="360" y="330"/>
                    </a:lnTo>
                    <a:lnTo>
                      <a:pt x="360" y="330"/>
                    </a:lnTo>
                    <a:lnTo>
                      <a:pt x="360" y="327"/>
                    </a:lnTo>
                    <a:lnTo>
                      <a:pt x="360" y="327"/>
                    </a:lnTo>
                    <a:lnTo>
                      <a:pt x="360" y="323"/>
                    </a:lnTo>
                    <a:lnTo>
                      <a:pt x="360" y="321"/>
                    </a:lnTo>
                    <a:lnTo>
                      <a:pt x="356" y="314"/>
                    </a:lnTo>
                    <a:lnTo>
                      <a:pt x="356" y="312"/>
                    </a:lnTo>
                    <a:lnTo>
                      <a:pt x="356" y="310"/>
                    </a:lnTo>
                    <a:lnTo>
                      <a:pt x="358" y="297"/>
                    </a:lnTo>
                    <a:lnTo>
                      <a:pt x="360" y="288"/>
                    </a:lnTo>
                    <a:lnTo>
                      <a:pt x="360" y="283"/>
                    </a:lnTo>
                    <a:lnTo>
                      <a:pt x="360" y="283"/>
                    </a:lnTo>
                    <a:lnTo>
                      <a:pt x="360" y="281"/>
                    </a:lnTo>
                    <a:lnTo>
                      <a:pt x="358" y="279"/>
                    </a:lnTo>
                    <a:lnTo>
                      <a:pt x="358" y="277"/>
                    </a:lnTo>
                    <a:lnTo>
                      <a:pt x="358" y="275"/>
                    </a:lnTo>
                    <a:lnTo>
                      <a:pt x="358" y="275"/>
                    </a:lnTo>
                    <a:lnTo>
                      <a:pt x="358" y="272"/>
                    </a:lnTo>
                    <a:lnTo>
                      <a:pt x="363" y="268"/>
                    </a:lnTo>
                    <a:lnTo>
                      <a:pt x="363" y="266"/>
                    </a:lnTo>
                    <a:lnTo>
                      <a:pt x="365" y="266"/>
                    </a:lnTo>
                    <a:lnTo>
                      <a:pt x="367" y="266"/>
                    </a:lnTo>
                    <a:lnTo>
                      <a:pt x="369" y="266"/>
                    </a:lnTo>
                    <a:lnTo>
                      <a:pt x="371" y="268"/>
                    </a:lnTo>
                    <a:lnTo>
                      <a:pt x="374" y="268"/>
                    </a:lnTo>
                    <a:lnTo>
                      <a:pt x="374" y="264"/>
                    </a:lnTo>
                    <a:lnTo>
                      <a:pt x="374" y="237"/>
                    </a:lnTo>
                    <a:lnTo>
                      <a:pt x="371" y="235"/>
                    </a:lnTo>
                    <a:lnTo>
                      <a:pt x="369" y="235"/>
                    </a:lnTo>
                    <a:lnTo>
                      <a:pt x="369" y="233"/>
                    </a:lnTo>
                    <a:lnTo>
                      <a:pt x="367" y="233"/>
                    </a:lnTo>
                    <a:lnTo>
                      <a:pt x="367" y="229"/>
                    </a:lnTo>
                    <a:lnTo>
                      <a:pt x="367" y="224"/>
                    </a:lnTo>
                    <a:lnTo>
                      <a:pt x="367" y="222"/>
                    </a:lnTo>
                    <a:lnTo>
                      <a:pt x="367" y="220"/>
                    </a:lnTo>
                    <a:lnTo>
                      <a:pt x="363" y="209"/>
                    </a:lnTo>
                    <a:lnTo>
                      <a:pt x="363" y="207"/>
                    </a:lnTo>
                    <a:lnTo>
                      <a:pt x="363" y="202"/>
                    </a:lnTo>
                    <a:lnTo>
                      <a:pt x="369" y="198"/>
                    </a:lnTo>
                    <a:lnTo>
                      <a:pt x="371" y="196"/>
                    </a:lnTo>
                    <a:lnTo>
                      <a:pt x="374" y="191"/>
                    </a:lnTo>
                    <a:lnTo>
                      <a:pt x="376" y="185"/>
                    </a:lnTo>
                    <a:lnTo>
                      <a:pt x="380" y="182"/>
                    </a:lnTo>
                    <a:lnTo>
                      <a:pt x="382" y="182"/>
                    </a:lnTo>
                    <a:lnTo>
                      <a:pt x="382" y="182"/>
                    </a:lnTo>
                    <a:lnTo>
                      <a:pt x="385" y="180"/>
                    </a:lnTo>
                    <a:lnTo>
                      <a:pt x="385" y="174"/>
                    </a:lnTo>
                    <a:lnTo>
                      <a:pt x="387" y="172"/>
                    </a:lnTo>
                    <a:lnTo>
                      <a:pt x="391" y="167"/>
                    </a:lnTo>
                    <a:lnTo>
                      <a:pt x="382" y="167"/>
                    </a:lnTo>
                    <a:lnTo>
                      <a:pt x="382" y="167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33" name="Freeform 22"/>
              <p:cNvSpPr>
                <a:spLocks/>
              </p:cNvSpPr>
              <p:nvPr/>
            </p:nvSpPr>
            <p:spPr bwMode="auto">
              <a:xfrm>
                <a:off x="3924300" y="2679700"/>
                <a:ext cx="431800" cy="477837"/>
              </a:xfrm>
              <a:custGeom>
                <a:avLst/>
                <a:gdLst>
                  <a:gd name="T0" fmla="*/ 270 w 272"/>
                  <a:gd name="T1" fmla="*/ 217 h 301"/>
                  <a:gd name="T2" fmla="*/ 255 w 272"/>
                  <a:gd name="T3" fmla="*/ 211 h 301"/>
                  <a:gd name="T4" fmla="*/ 242 w 272"/>
                  <a:gd name="T5" fmla="*/ 208 h 301"/>
                  <a:gd name="T6" fmla="*/ 233 w 272"/>
                  <a:gd name="T7" fmla="*/ 189 h 301"/>
                  <a:gd name="T8" fmla="*/ 228 w 272"/>
                  <a:gd name="T9" fmla="*/ 184 h 301"/>
                  <a:gd name="T10" fmla="*/ 222 w 272"/>
                  <a:gd name="T11" fmla="*/ 184 h 301"/>
                  <a:gd name="T12" fmla="*/ 217 w 272"/>
                  <a:gd name="T13" fmla="*/ 173 h 301"/>
                  <a:gd name="T14" fmla="*/ 220 w 272"/>
                  <a:gd name="T15" fmla="*/ 164 h 301"/>
                  <a:gd name="T16" fmla="*/ 215 w 272"/>
                  <a:gd name="T17" fmla="*/ 156 h 301"/>
                  <a:gd name="T18" fmla="*/ 220 w 272"/>
                  <a:gd name="T19" fmla="*/ 149 h 301"/>
                  <a:gd name="T20" fmla="*/ 226 w 272"/>
                  <a:gd name="T21" fmla="*/ 143 h 301"/>
                  <a:gd name="T22" fmla="*/ 248 w 272"/>
                  <a:gd name="T23" fmla="*/ 136 h 301"/>
                  <a:gd name="T24" fmla="*/ 257 w 272"/>
                  <a:gd name="T25" fmla="*/ 121 h 301"/>
                  <a:gd name="T26" fmla="*/ 250 w 272"/>
                  <a:gd name="T27" fmla="*/ 118 h 301"/>
                  <a:gd name="T28" fmla="*/ 248 w 272"/>
                  <a:gd name="T29" fmla="*/ 112 h 301"/>
                  <a:gd name="T30" fmla="*/ 259 w 272"/>
                  <a:gd name="T31" fmla="*/ 99 h 301"/>
                  <a:gd name="T32" fmla="*/ 261 w 272"/>
                  <a:gd name="T33" fmla="*/ 92 h 301"/>
                  <a:gd name="T34" fmla="*/ 259 w 272"/>
                  <a:gd name="T35" fmla="*/ 88 h 301"/>
                  <a:gd name="T36" fmla="*/ 248 w 272"/>
                  <a:gd name="T37" fmla="*/ 83 h 301"/>
                  <a:gd name="T38" fmla="*/ 246 w 272"/>
                  <a:gd name="T39" fmla="*/ 81 h 301"/>
                  <a:gd name="T40" fmla="*/ 239 w 272"/>
                  <a:gd name="T41" fmla="*/ 83 h 301"/>
                  <a:gd name="T42" fmla="*/ 233 w 272"/>
                  <a:gd name="T43" fmla="*/ 83 h 301"/>
                  <a:gd name="T44" fmla="*/ 231 w 272"/>
                  <a:gd name="T45" fmla="*/ 81 h 301"/>
                  <a:gd name="T46" fmla="*/ 224 w 272"/>
                  <a:gd name="T47" fmla="*/ 83 h 301"/>
                  <a:gd name="T48" fmla="*/ 215 w 272"/>
                  <a:gd name="T49" fmla="*/ 77 h 301"/>
                  <a:gd name="T50" fmla="*/ 204 w 272"/>
                  <a:gd name="T51" fmla="*/ 70 h 301"/>
                  <a:gd name="T52" fmla="*/ 195 w 272"/>
                  <a:gd name="T53" fmla="*/ 72 h 301"/>
                  <a:gd name="T54" fmla="*/ 187 w 272"/>
                  <a:gd name="T55" fmla="*/ 72 h 301"/>
                  <a:gd name="T56" fmla="*/ 180 w 272"/>
                  <a:gd name="T57" fmla="*/ 66 h 301"/>
                  <a:gd name="T58" fmla="*/ 174 w 272"/>
                  <a:gd name="T59" fmla="*/ 59 h 301"/>
                  <a:gd name="T60" fmla="*/ 165 w 272"/>
                  <a:gd name="T61" fmla="*/ 57 h 301"/>
                  <a:gd name="T62" fmla="*/ 158 w 272"/>
                  <a:gd name="T63" fmla="*/ 53 h 301"/>
                  <a:gd name="T64" fmla="*/ 158 w 272"/>
                  <a:gd name="T65" fmla="*/ 48 h 301"/>
                  <a:gd name="T66" fmla="*/ 163 w 272"/>
                  <a:gd name="T67" fmla="*/ 42 h 301"/>
                  <a:gd name="T68" fmla="*/ 163 w 272"/>
                  <a:gd name="T69" fmla="*/ 37 h 301"/>
                  <a:gd name="T70" fmla="*/ 158 w 272"/>
                  <a:gd name="T71" fmla="*/ 28 h 301"/>
                  <a:gd name="T72" fmla="*/ 154 w 272"/>
                  <a:gd name="T73" fmla="*/ 22 h 301"/>
                  <a:gd name="T74" fmla="*/ 132 w 272"/>
                  <a:gd name="T75" fmla="*/ 2 h 301"/>
                  <a:gd name="T76" fmla="*/ 125 w 272"/>
                  <a:gd name="T77" fmla="*/ 0 h 301"/>
                  <a:gd name="T78" fmla="*/ 127 w 272"/>
                  <a:gd name="T79" fmla="*/ 42 h 301"/>
                  <a:gd name="T80" fmla="*/ 125 w 272"/>
                  <a:gd name="T81" fmla="*/ 53 h 301"/>
                  <a:gd name="T82" fmla="*/ 57 w 272"/>
                  <a:gd name="T83" fmla="*/ 74 h 301"/>
                  <a:gd name="T84" fmla="*/ 31 w 272"/>
                  <a:gd name="T85" fmla="*/ 107 h 301"/>
                  <a:gd name="T86" fmla="*/ 26 w 272"/>
                  <a:gd name="T87" fmla="*/ 118 h 301"/>
                  <a:gd name="T88" fmla="*/ 0 w 272"/>
                  <a:gd name="T89" fmla="*/ 153 h 301"/>
                  <a:gd name="T90" fmla="*/ 86 w 272"/>
                  <a:gd name="T91" fmla="*/ 200 h 301"/>
                  <a:gd name="T92" fmla="*/ 119 w 272"/>
                  <a:gd name="T93" fmla="*/ 226 h 301"/>
                  <a:gd name="T94" fmla="*/ 127 w 272"/>
                  <a:gd name="T95" fmla="*/ 243 h 301"/>
                  <a:gd name="T96" fmla="*/ 141 w 272"/>
                  <a:gd name="T97" fmla="*/ 261 h 301"/>
                  <a:gd name="T98" fmla="*/ 174 w 272"/>
                  <a:gd name="T99" fmla="*/ 296 h 301"/>
                  <a:gd name="T100" fmla="*/ 178 w 272"/>
                  <a:gd name="T101" fmla="*/ 296 h 301"/>
                  <a:gd name="T102" fmla="*/ 213 w 272"/>
                  <a:gd name="T103" fmla="*/ 263 h 301"/>
                  <a:gd name="T104" fmla="*/ 237 w 272"/>
                  <a:gd name="T105" fmla="*/ 272 h 301"/>
                  <a:gd name="T106" fmla="*/ 242 w 272"/>
                  <a:gd name="T107" fmla="*/ 270 h 301"/>
                  <a:gd name="T108" fmla="*/ 244 w 272"/>
                  <a:gd name="T109" fmla="*/ 252 h 301"/>
                  <a:gd name="T110" fmla="*/ 248 w 272"/>
                  <a:gd name="T111" fmla="*/ 246 h 301"/>
                  <a:gd name="T112" fmla="*/ 264 w 272"/>
                  <a:gd name="T113" fmla="*/ 232 h 301"/>
                  <a:gd name="T114" fmla="*/ 270 w 272"/>
                  <a:gd name="T115" fmla="*/ 228 h 301"/>
                  <a:gd name="T116" fmla="*/ 272 w 272"/>
                  <a:gd name="T117" fmla="*/ 222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301">
                    <a:moveTo>
                      <a:pt x="272" y="219"/>
                    </a:moveTo>
                    <a:lnTo>
                      <a:pt x="272" y="217"/>
                    </a:lnTo>
                    <a:lnTo>
                      <a:pt x="270" y="217"/>
                    </a:lnTo>
                    <a:lnTo>
                      <a:pt x="268" y="215"/>
                    </a:lnTo>
                    <a:lnTo>
                      <a:pt x="259" y="213"/>
                    </a:lnTo>
                    <a:lnTo>
                      <a:pt x="255" y="211"/>
                    </a:lnTo>
                    <a:lnTo>
                      <a:pt x="250" y="211"/>
                    </a:lnTo>
                    <a:lnTo>
                      <a:pt x="246" y="211"/>
                    </a:lnTo>
                    <a:lnTo>
                      <a:pt x="242" y="208"/>
                    </a:lnTo>
                    <a:lnTo>
                      <a:pt x="239" y="206"/>
                    </a:lnTo>
                    <a:lnTo>
                      <a:pt x="237" y="200"/>
                    </a:lnTo>
                    <a:lnTo>
                      <a:pt x="233" y="189"/>
                    </a:lnTo>
                    <a:lnTo>
                      <a:pt x="233" y="186"/>
                    </a:lnTo>
                    <a:lnTo>
                      <a:pt x="231" y="184"/>
                    </a:lnTo>
                    <a:lnTo>
                      <a:pt x="228" y="184"/>
                    </a:lnTo>
                    <a:lnTo>
                      <a:pt x="226" y="184"/>
                    </a:lnTo>
                    <a:lnTo>
                      <a:pt x="224" y="184"/>
                    </a:lnTo>
                    <a:lnTo>
                      <a:pt x="222" y="184"/>
                    </a:lnTo>
                    <a:lnTo>
                      <a:pt x="220" y="182"/>
                    </a:lnTo>
                    <a:lnTo>
                      <a:pt x="220" y="180"/>
                    </a:lnTo>
                    <a:lnTo>
                      <a:pt x="217" y="173"/>
                    </a:lnTo>
                    <a:lnTo>
                      <a:pt x="220" y="167"/>
                    </a:lnTo>
                    <a:lnTo>
                      <a:pt x="220" y="167"/>
                    </a:lnTo>
                    <a:lnTo>
                      <a:pt x="220" y="164"/>
                    </a:lnTo>
                    <a:lnTo>
                      <a:pt x="220" y="162"/>
                    </a:lnTo>
                    <a:lnTo>
                      <a:pt x="217" y="158"/>
                    </a:lnTo>
                    <a:lnTo>
                      <a:pt x="215" y="156"/>
                    </a:lnTo>
                    <a:lnTo>
                      <a:pt x="215" y="153"/>
                    </a:lnTo>
                    <a:lnTo>
                      <a:pt x="217" y="151"/>
                    </a:lnTo>
                    <a:lnTo>
                      <a:pt x="220" y="149"/>
                    </a:lnTo>
                    <a:lnTo>
                      <a:pt x="220" y="147"/>
                    </a:lnTo>
                    <a:lnTo>
                      <a:pt x="224" y="143"/>
                    </a:lnTo>
                    <a:lnTo>
                      <a:pt x="226" y="143"/>
                    </a:lnTo>
                    <a:lnTo>
                      <a:pt x="228" y="140"/>
                    </a:lnTo>
                    <a:lnTo>
                      <a:pt x="233" y="138"/>
                    </a:lnTo>
                    <a:lnTo>
                      <a:pt x="248" y="136"/>
                    </a:lnTo>
                    <a:lnTo>
                      <a:pt x="255" y="129"/>
                    </a:lnTo>
                    <a:lnTo>
                      <a:pt x="255" y="123"/>
                    </a:lnTo>
                    <a:lnTo>
                      <a:pt x="257" y="121"/>
                    </a:lnTo>
                    <a:lnTo>
                      <a:pt x="255" y="121"/>
                    </a:lnTo>
                    <a:lnTo>
                      <a:pt x="253" y="118"/>
                    </a:lnTo>
                    <a:lnTo>
                      <a:pt x="250" y="118"/>
                    </a:lnTo>
                    <a:lnTo>
                      <a:pt x="248" y="116"/>
                    </a:lnTo>
                    <a:lnTo>
                      <a:pt x="248" y="114"/>
                    </a:lnTo>
                    <a:lnTo>
                      <a:pt x="248" y="112"/>
                    </a:lnTo>
                    <a:lnTo>
                      <a:pt x="248" y="110"/>
                    </a:lnTo>
                    <a:lnTo>
                      <a:pt x="248" y="107"/>
                    </a:lnTo>
                    <a:lnTo>
                      <a:pt x="259" y="99"/>
                    </a:lnTo>
                    <a:lnTo>
                      <a:pt x="261" y="96"/>
                    </a:lnTo>
                    <a:lnTo>
                      <a:pt x="261" y="94"/>
                    </a:lnTo>
                    <a:lnTo>
                      <a:pt x="261" y="92"/>
                    </a:lnTo>
                    <a:lnTo>
                      <a:pt x="261" y="90"/>
                    </a:lnTo>
                    <a:lnTo>
                      <a:pt x="261" y="90"/>
                    </a:lnTo>
                    <a:lnTo>
                      <a:pt x="259" y="88"/>
                    </a:lnTo>
                    <a:lnTo>
                      <a:pt x="257" y="85"/>
                    </a:lnTo>
                    <a:lnTo>
                      <a:pt x="253" y="85"/>
                    </a:lnTo>
                    <a:lnTo>
                      <a:pt x="248" y="83"/>
                    </a:lnTo>
                    <a:lnTo>
                      <a:pt x="248" y="83"/>
                    </a:lnTo>
                    <a:lnTo>
                      <a:pt x="246" y="81"/>
                    </a:lnTo>
                    <a:lnTo>
                      <a:pt x="246" y="81"/>
                    </a:lnTo>
                    <a:lnTo>
                      <a:pt x="244" y="81"/>
                    </a:lnTo>
                    <a:lnTo>
                      <a:pt x="242" y="81"/>
                    </a:lnTo>
                    <a:lnTo>
                      <a:pt x="239" y="83"/>
                    </a:lnTo>
                    <a:lnTo>
                      <a:pt x="235" y="85"/>
                    </a:lnTo>
                    <a:lnTo>
                      <a:pt x="233" y="85"/>
                    </a:lnTo>
                    <a:lnTo>
                      <a:pt x="233" y="83"/>
                    </a:lnTo>
                    <a:lnTo>
                      <a:pt x="233" y="83"/>
                    </a:lnTo>
                    <a:lnTo>
                      <a:pt x="233" y="81"/>
                    </a:lnTo>
                    <a:lnTo>
                      <a:pt x="231" y="81"/>
                    </a:lnTo>
                    <a:lnTo>
                      <a:pt x="226" y="81"/>
                    </a:lnTo>
                    <a:lnTo>
                      <a:pt x="224" y="83"/>
                    </a:lnTo>
                    <a:lnTo>
                      <a:pt x="224" y="83"/>
                    </a:lnTo>
                    <a:lnTo>
                      <a:pt x="222" y="83"/>
                    </a:lnTo>
                    <a:lnTo>
                      <a:pt x="217" y="81"/>
                    </a:lnTo>
                    <a:lnTo>
                      <a:pt x="215" y="77"/>
                    </a:lnTo>
                    <a:lnTo>
                      <a:pt x="213" y="74"/>
                    </a:lnTo>
                    <a:lnTo>
                      <a:pt x="211" y="74"/>
                    </a:lnTo>
                    <a:lnTo>
                      <a:pt x="204" y="70"/>
                    </a:lnTo>
                    <a:lnTo>
                      <a:pt x="202" y="70"/>
                    </a:lnTo>
                    <a:lnTo>
                      <a:pt x="200" y="72"/>
                    </a:lnTo>
                    <a:lnTo>
                      <a:pt x="195" y="72"/>
                    </a:lnTo>
                    <a:lnTo>
                      <a:pt x="191" y="72"/>
                    </a:lnTo>
                    <a:lnTo>
                      <a:pt x="189" y="72"/>
                    </a:lnTo>
                    <a:lnTo>
                      <a:pt x="187" y="72"/>
                    </a:lnTo>
                    <a:lnTo>
                      <a:pt x="185" y="72"/>
                    </a:lnTo>
                    <a:lnTo>
                      <a:pt x="182" y="70"/>
                    </a:lnTo>
                    <a:lnTo>
                      <a:pt x="180" y="66"/>
                    </a:lnTo>
                    <a:lnTo>
                      <a:pt x="178" y="64"/>
                    </a:lnTo>
                    <a:lnTo>
                      <a:pt x="178" y="61"/>
                    </a:lnTo>
                    <a:lnTo>
                      <a:pt x="174" y="59"/>
                    </a:lnTo>
                    <a:lnTo>
                      <a:pt x="171" y="57"/>
                    </a:lnTo>
                    <a:lnTo>
                      <a:pt x="169" y="57"/>
                    </a:lnTo>
                    <a:lnTo>
                      <a:pt x="165" y="57"/>
                    </a:lnTo>
                    <a:lnTo>
                      <a:pt x="163" y="55"/>
                    </a:lnTo>
                    <a:lnTo>
                      <a:pt x="160" y="55"/>
                    </a:lnTo>
                    <a:lnTo>
                      <a:pt x="158" y="53"/>
                    </a:lnTo>
                    <a:lnTo>
                      <a:pt x="158" y="50"/>
                    </a:lnTo>
                    <a:lnTo>
                      <a:pt x="158" y="50"/>
                    </a:lnTo>
                    <a:lnTo>
                      <a:pt x="158" y="48"/>
                    </a:lnTo>
                    <a:lnTo>
                      <a:pt x="160" y="46"/>
                    </a:lnTo>
                    <a:lnTo>
                      <a:pt x="160" y="44"/>
                    </a:lnTo>
                    <a:lnTo>
                      <a:pt x="163" y="42"/>
                    </a:lnTo>
                    <a:lnTo>
                      <a:pt x="163" y="39"/>
                    </a:lnTo>
                    <a:lnTo>
                      <a:pt x="163" y="37"/>
                    </a:lnTo>
                    <a:lnTo>
                      <a:pt x="163" y="37"/>
                    </a:lnTo>
                    <a:lnTo>
                      <a:pt x="163" y="35"/>
                    </a:lnTo>
                    <a:lnTo>
                      <a:pt x="158" y="31"/>
                    </a:lnTo>
                    <a:lnTo>
                      <a:pt x="158" y="28"/>
                    </a:lnTo>
                    <a:lnTo>
                      <a:pt x="156" y="28"/>
                    </a:lnTo>
                    <a:lnTo>
                      <a:pt x="156" y="24"/>
                    </a:lnTo>
                    <a:lnTo>
                      <a:pt x="154" y="22"/>
                    </a:lnTo>
                    <a:lnTo>
                      <a:pt x="152" y="20"/>
                    </a:lnTo>
                    <a:lnTo>
                      <a:pt x="141" y="11"/>
                    </a:lnTo>
                    <a:lnTo>
                      <a:pt x="132" y="2"/>
                    </a:lnTo>
                    <a:lnTo>
                      <a:pt x="127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3" y="4"/>
                    </a:lnTo>
                    <a:lnTo>
                      <a:pt x="127" y="22"/>
                    </a:lnTo>
                    <a:lnTo>
                      <a:pt x="127" y="42"/>
                    </a:lnTo>
                    <a:lnTo>
                      <a:pt x="127" y="48"/>
                    </a:lnTo>
                    <a:lnTo>
                      <a:pt x="125" y="50"/>
                    </a:lnTo>
                    <a:lnTo>
                      <a:pt x="125" y="53"/>
                    </a:lnTo>
                    <a:lnTo>
                      <a:pt x="119" y="57"/>
                    </a:lnTo>
                    <a:lnTo>
                      <a:pt x="59" y="72"/>
                    </a:lnTo>
                    <a:lnTo>
                      <a:pt x="57" y="74"/>
                    </a:lnTo>
                    <a:lnTo>
                      <a:pt x="55" y="77"/>
                    </a:lnTo>
                    <a:lnTo>
                      <a:pt x="33" y="103"/>
                    </a:lnTo>
                    <a:lnTo>
                      <a:pt x="31" y="107"/>
                    </a:lnTo>
                    <a:lnTo>
                      <a:pt x="29" y="110"/>
                    </a:lnTo>
                    <a:lnTo>
                      <a:pt x="26" y="116"/>
                    </a:lnTo>
                    <a:lnTo>
                      <a:pt x="26" y="118"/>
                    </a:lnTo>
                    <a:lnTo>
                      <a:pt x="9" y="143"/>
                    </a:lnTo>
                    <a:lnTo>
                      <a:pt x="4" y="151"/>
                    </a:lnTo>
                    <a:lnTo>
                      <a:pt x="0" y="153"/>
                    </a:lnTo>
                    <a:lnTo>
                      <a:pt x="31" y="171"/>
                    </a:lnTo>
                    <a:lnTo>
                      <a:pt x="62" y="186"/>
                    </a:lnTo>
                    <a:lnTo>
                      <a:pt x="86" y="200"/>
                    </a:lnTo>
                    <a:lnTo>
                      <a:pt x="94" y="206"/>
                    </a:lnTo>
                    <a:lnTo>
                      <a:pt x="116" y="222"/>
                    </a:lnTo>
                    <a:lnTo>
                      <a:pt x="119" y="226"/>
                    </a:lnTo>
                    <a:lnTo>
                      <a:pt x="123" y="230"/>
                    </a:lnTo>
                    <a:lnTo>
                      <a:pt x="125" y="237"/>
                    </a:lnTo>
                    <a:lnTo>
                      <a:pt x="127" y="243"/>
                    </a:lnTo>
                    <a:lnTo>
                      <a:pt x="130" y="248"/>
                    </a:lnTo>
                    <a:lnTo>
                      <a:pt x="138" y="257"/>
                    </a:lnTo>
                    <a:lnTo>
                      <a:pt x="141" y="261"/>
                    </a:lnTo>
                    <a:lnTo>
                      <a:pt x="152" y="272"/>
                    </a:lnTo>
                    <a:lnTo>
                      <a:pt x="171" y="292"/>
                    </a:lnTo>
                    <a:lnTo>
                      <a:pt x="174" y="296"/>
                    </a:lnTo>
                    <a:lnTo>
                      <a:pt x="174" y="301"/>
                    </a:lnTo>
                    <a:lnTo>
                      <a:pt x="174" y="301"/>
                    </a:lnTo>
                    <a:lnTo>
                      <a:pt x="178" y="296"/>
                    </a:lnTo>
                    <a:lnTo>
                      <a:pt x="209" y="265"/>
                    </a:lnTo>
                    <a:lnTo>
                      <a:pt x="211" y="263"/>
                    </a:lnTo>
                    <a:lnTo>
                      <a:pt x="213" y="263"/>
                    </a:lnTo>
                    <a:lnTo>
                      <a:pt x="215" y="263"/>
                    </a:lnTo>
                    <a:lnTo>
                      <a:pt x="233" y="268"/>
                    </a:lnTo>
                    <a:lnTo>
                      <a:pt x="237" y="272"/>
                    </a:lnTo>
                    <a:lnTo>
                      <a:pt x="239" y="272"/>
                    </a:lnTo>
                    <a:lnTo>
                      <a:pt x="242" y="272"/>
                    </a:lnTo>
                    <a:lnTo>
                      <a:pt x="242" y="270"/>
                    </a:lnTo>
                    <a:lnTo>
                      <a:pt x="244" y="270"/>
                    </a:lnTo>
                    <a:lnTo>
                      <a:pt x="244" y="268"/>
                    </a:lnTo>
                    <a:lnTo>
                      <a:pt x="244" y="252"/>
                    </a:lnTo>
                    <a:lnTo>
                      <a:pt x="244" y="250"/>
                    </a:lnTo>
                    <a:lnTo>
                      <a:pt x="246" y="248"/>
                    </a:lnTo>
                    <a:lnTo>
                      <a:pt x="248" y="246"/>
                    </a:lnTo>
                    <a:lnTo>
                      <a:pt x="253" y="243"/>
                    </a:lnTo>
                    <a:lnTo>
                      <a:pt x="257" y="241"/>
                    </a:lnTo>
                    <a:lnTo>
                      <a:pt x="264" y="232"/>
                    </a:lnTo>
                    <a:lnTo>
                      <a:pt x="266" y="230"/>
                    </a:lnTo>
                    <a:lnTo>
                      <a:pt x="268" y="230"/>
                    </a:lnTo>
                    <a:lnTo>
                      <a:pt x="270" y="228"/>
                    </a:lnTo>
                    <a:lnTo>
                      <a:pt x="272" y="226"/>
                    </a:lnTo>
                    <a:lnTo>
                      <a:pt x="272" y="224"/>
                    </a:lnTo>
                    <a:lnTo>
                      <a:pt x="272" y="222"/>
                    </a:lnTo>
                    <a:lnTo>
                      <a:pt x="272" y="219"/>
                    </a:lnTo>
                    <a:lnTo>
                      <a:pt x="272" y="219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34" name="Freeform 23"/>
              <p:cNvSpPr>
                <a:spLocks/>
              </p:cNvSpPr>
              <p:nvPr/>
            </p:nvSpPr>
            <p:spPr bwMode="auto">
              <a:xfrm>
                <a:off x="4200525" y="3097213"/>
                <a:ext cx="835025" cy="595312"/>
              </a:xfrm>
              <a:custGeom>
                <a:avLst/>
                <a:gdLst>
                  <a:gd name="T0" fmla="*/ 505 w 526"/>
                  <a:gd name="T1" fmla="*/ 226 h 375"/>
                  <a:gd name="T2" fmla="*/ 454 w 526"/>
                  <a:gd name="T3" fmla="*/ 209 h 375"/>
                  <a:gd name="T4" fmla="*/ 432 w 526"/>
                  <a:gd name="T5" fmla="*/ 207 h 375"/>
                  <a:gd name="T6" fmla="*/ 425 w 526"/>
                  <a:gd name="T7" fmla="*/ 193 h 375"/>
                  <a:gd name="T8" fmla="*/ 425 w 526"/>
                  <a:gd name="T9" fmla="*/ 176 h 375"/>
                  <a:gd name="T10" fmla="*/ 412 w 526"/>
                  <a:gd name="T11" fmla="*/ 132 h 375"/>
                  <a:gd name="T12" fmla="*/ 404 w 526"/>
                  <a:gd name="T13" fmla="*/ 97 h 375"/>
                  <a:gd name="T14" fmla="*/ 388 w 526"/>
                  <a:gd name="T15" fmla="*/ 51 h 375"/>
                  <a:gd name="T16" fmla="*/ 368 w 526"/>
                  <a:gd name="T17" fmla="*/ 16 h 375"/>
                  <a:gd name="T18" fmla="*/ 338 w 526"/>
                  <a:gd name="T19" fmla="*/ 5 h 375"/>
                  <a:gd name="T20" fmla="*/ 320 w 526"/>
                  <a:gd name="T21" fmla="*/ 16 h 375"/>
                  <a:gd name="T22" fmla="*/ 333 w 526"/>
                  <a:gd name="T23" fmla="*/ 46 h 375"/>
                  <a:gd name="T24" fmla="*/ 338 w 526"/>
                  <a:gd name="T25" fmla="*/ 55 h 375"/>
                  <a:gd name="T26" fmla="*/ 342 w 526"/>
                  <a:gd name="T27" fmla="*/ 66 h 375"/>
                  <a:gd name="T28" fmla="*/ 360 w 526"/>
                  <a:gd name="T29" fmla="*/ 95 h 375"/>
                  <a:gd name="T30" fmla="*/ 329 w 526"/>
                  <a:gd name="T31" fmla="*/ 103 h 375"/>
                  <a:gd name="T32" fmla="*/ 327 w 526"/>
                  <a:gd name="T33" fmla="*/ 132 h 375"/>
                  <a:gd name="T34" fmla="*/ 298 w 526"/>
                  <a:gd name="T35" fmla="*/ 138 h 375"/>
                  <a:gd name="T36" fmla="*/ 272 w 526"/>
                  <a:gd name="T37" fmla="*/ 147 h 375"/>
                  <a:gd name="T38" fmla="*/ 259 w 526"/>
                  <a:gd name="T39" fmla="*/ 141 h 375"/>
                  <a:gd name="T40" fmla="*/ 243 w 526"/>
                  <a:gd name="T41" fmla="*/ 130 h 375"/>
                  <a:gd name="T42" fmla="*/ 206 w 526"/>
                  <a:gd name="T43" fmla="*/ 114 h 375"/>
                  <a:gd name="T44" fmla="*/ 184 w 526"/>
                  <a:gd name="T45" fmla="*/ 117 h 375"/>
                  <a:gd name="T46" fmla="*/ 155 w 526"/>
                  <a:gd name="T47" fmla="*/ 119 h 375"/>
                  <a:gd name="T48" fmla="*/ 138 w 526"/>
                  <a:gd name="T49" fmla="*/ 123 h 375"/>
                  <a:gd name="T50" fmla="*/ 133 w 526"/>
                  <a:gd name="T51" fmla="*/ 134 h 375"/>
                  <a:gd name="T52" fmla="*/ 116 w 526"/>
                  <a:gd name="T53" fmla="*/ 132 h 375"/>
                  <a:gd name="T54" fmla="*/ 118 w 526"/>
                  <a:gd name="T55" fmla="*/ 114 h 375"/>
                  <a:gd name="T56" fmla="*/ 96 w 526"/>
                  <a:gd name="T57" fmla="*/ 86 h 375"/>
                  <a:gd name="T58" fmla="*/ 59 w 526"/>
                  <a:gd name="T59" fmla="*/ 73 h 375"/>
                  <a:gd name="T60" fmla="*/ 65 w 526"/>
                  <a:gd name="T61" fmla="*/ 53 h 375"/>
                  <a:gd name="T62" fmla="*/ 59 w 526"/>
                  <a:gd name="T63" fmla="*/ 5 h 375"/>
                  <a:gd name="T64" fmla="*/ 0 w 526"/>
                  <a:gd name="T65" fmla="*/ 42 h 375"/>
                  <a:gd name="T66" fmla="*/ 21 w 526"/>
                  <a:gd name="T67" fmla="*/ 79 h 375"/>
                  <a:gd name="T68" fmla="*/ 39 w 526"/>
                  <a:gd name="T69" fmla="*/ 119 h 375"/>
                  <a:gd name="T70" fmla="*/ 43 w 526"/>
                  <a:gd name="T71" fmla="*/ 143 h 375"/>
                  <a:gd name="T72" fmla="*/ 105 w 526"/>
                  <a:gd name="T73" fmla="*/ 207 h 375"/>
                  <a:gd name="T74" fmla="*/ 147 w 526"/>
                  <a:gd name="T75" fmla="*/ 266 h 375"/>
                  <a:gd name="T76" fmla="*/ 142 w 526"/>
                  <a:gd name="T77" fmla="*/ 279 h 375"/>
                  <a:gd name="T78" fmla="*/ 175 w 526"/>
                  <a:gd name="T79" fmla="*/ 316 h 375"/>
                  <a:gd name="T80" fmla="*/ 173 w 526"/>
                  <a:gd name="T81" fmla="*/ 338 h 375"/>
                  <a:gd name="T82" fmla="*/ 193 w 526"/>
                  <a:gd name="T83" fmla="*/ 371 h 375"/>
                  <a:gd name="T84" fmla="*/ 204 w 526"/>
                  <a:gd name="T85" fmla="*/ 349 h 375"/>
                  <a:gd name="T86" fmla="*/ 265 w 526"/>
                  <a:gd name="T87" fmla="*/ 318 h 375"/>
                  <a:gd name="T88" fmla="*/ 270 w 526"/>
                  <a:gd name="T89" fmla="*/ 296 h 375"/>
                  <a:gd name="T90" fmla="*/ 285 w 526"/>
                  <a:gd name="T91" fmla="*/ 268 h 375"/>
                  <a:gd name="T92" fmla="*/ 322 w 526"/>
                  <a:gd name="T93" fmla="*/ 226 h 375"/>
                  <a:gd name="T94" fmla="*/ 338 w 526"/>
                  <a:gd name="T95" fmla="*/ 207 h 375"/>
                  <a:gd name="T96" fmla="*/ 366 w 526"/>
                  <a:gd name="T97" fmla="*/ 204 h 375"/>
                  <a:gd name="T98" fmla="*/ 384 w 526"/>
                  <a:gd name="T99" fmla="*/ 211 h 375"/>
                  <a:gd name="T100" fmla="*/ 406 w 526"/>
                  <a:gd name="T101" fmla="*/ 237 h 375"/>
                  <a:gd name="T102" fmla="*/ 441 w 526"/>
                  <a:gd name="T103" fmla="*/ 288 h 375"/>
                  <a:gd name="T104" fmla="*/ 489 w 526"/>
                  <a:gd name="T105" fmla="*/ 288 h 375"/>
                  <a:gd name="T106" fmla="*/ 500 w 526"/>
                  <a:gd name="T107" fmla="*/ 307 h 375"/>
                  <a:gd name="T108" fmla="*/ 522 w 526"/>
                  <a:gd name="T109" fmla="*/ 310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26" h="375">
                    <a:moveTo>
                      <a:pt x="524" y="296"/>
                    </a:moveTo>
                    <a:lnTo>
                      <a:pt x="524" y="294"/>
                    </a:lnTo>
                    <a:lnTo>
                      <a:pt x="522" y="292"/>
                    </a:lnTo>
                    <a:lnTo>
                      <a:pt x="518" y="248"/>
                    </a:lnTo>
                    <a:lnTo>
                      <a:pt x="518" y="244"/>
                    </a:lnTo>
                    <a:lnTo>
                      <a:pt x="518" y="242"/>
                    </a:lnTo>
                    <a:lnTo>
                      <a:pt x="505" y="226"/>
                    </a:lnTo>
                    <a:lnTo>
                      <a:pt x="502" y="226"/>
                    </a:lnTo>
                    <a:lnTo>
                      <a:pt x="496" y="222"/>
                    </a:lnTo>
                    <a:lnTo>
                      <a:pt x="491" y="220"/>
                    </a:lnTo>
                    <a:lnTo>
                      <a:pt x="483" y="217"/>
                    </a:lnTo>
                    <a:lnTo>
                      <a:pt x="476" y="213"/>
                    </a:lnTo>
                    <a:lnTo>
                      <a:pt x="456" y="209"/>
                    </a:lnTo>
                    <a:lnTo>
                      <a:pt x="454" y="209"/>
                    </a:lnTo>
                    <a:lnTo>
                      <a:pt x="450" y="209"/>
                    </a:lnTo>
                    <a:lnTo>
                      <a:pt x="447" y="211"/>
                    </a:lnTo>
                    <a:lnTo>
                      <a:pt x="445" y="211"/>
                    </a:lnTo>
                    <a:lnTo>
                      <a:pt x="441" y="211"/>
                    </a:lnTo>
                    <a:lnTo>
                      <a:pt x="436" y="209"/>
                    </a:lnTo>
                    <a:lnTo>
                      <a:pt x="434" y="209"/>
                    </a:lnTo>
                    <a:lnTo>
                      <a:pt x="432" y="207"/>
                    </a:lnTo>
                    <a:lnTo>
                      <a:pt x="432" y="204"/>
                    </a:lnTo>
                    <a:lnTo>
                      <a:pt x="430" y="202"/>
                    </a:lnTo>
                    <a:lnTo>
                      <a:pt x="428" y="198"/>
                    </a:lnTo>
                    <a:lnTo>
                      <a:pt x="425" y="198"/>
                    </a:lnTo>
                    <a:lnTo>
                      <a:pt x="425" y="196"/>
                    </a:lnTo>
                    <a:lnTo>
                      <a:pt x="425" y="196"/>
                    </a:lnTo>
                    <a:lnTo>
                      <a:pt x="425" y="193"/>
                    </a:lnTo>
                    <a:lnTo>
                      <a:pt x="425" y="193"/>
                    </a:lnTo>
                    <a:lnTo>
                      <a:pt x="428" y="191"/>
                    </a:lnTo>
                    <a:lnTo>
                      <a:pt x="428" y="189"/>
                    </a:lnTo>
                    <a:lnTo>
                      <a:pt x="428" y="187"/>
                    </a:lnTo>
                    <a:lnTo>
                      <a:pt x="428" y="182"/>
                    </a:lnTo>
                    <a:lnTo>
                      <a:pt x="428" y="180"/>
                    </a:lnTo>
                    <a:lnTo>
                      <a:pt x="425" y="176"/>
                    </a:lnTo>
                    <a:lnTo>
                      <a:pt x="419" y="165"/>
                    </a:lnTo>
                    <a:lnTo>
                      <a:pt x="415" y="158"/>
                    </a:lnTo>
                    <a:lnTo>
                      <a:pt x="415" y="154"/>
                    </a:lnTo>
                    <a:lnTo>
                      <a:pt x="412" y="152"/>
                    </a:lnTo>
                    <a:lnTo>
                      <a:pt x="412" y="143"/>
                    </a:lnTo>
                    <a:lnTo>
                      <a:pt x="412" y="136"/>
                    </a:lnTo>
                    <a:lnTo>
                      <a:pt x="412" y="132"/>
                    </a:lnTo>
                    <a:lnTo>
                      <a:pt x="417" y="121"/>
                    </a:lnTo>
                    <a:lnTo>
                      <a:pt x="417" y="119"/>
                    </a:lnTo>
                    <a:lnTo>
                      <a:pt x="417" y="114"/>
                    </a:lnTo>
                    <a:lnTo>
                      <a:pt x="415" y="112"/>
                    </a:lnTo>
                    <a:lnTo>
                      <a:pt x="410" y="106"/>
                    </a:lnTo>
                    <a:lnTo>
                      <a:pt x="404" y="99"/>
                    </a:lnTo>
                    <a:lnTo>
                      <a:pt x="404" y="97"/>
                    </a:lnTo>
                    <a:lnTo>
                      <a:pt x="397" y="92"/>
                    </a:lnTo>
                    <a:lnTo>
                      <a:pt x="395" y="90"/>
                    </a:lnTo>
                    <a:lnTo>
                      <a:pt x="390" y="84"/>
                    </a:lnTo>
                    <a:lnTo>
                      <a:pt x="384" y="70"/>
                    </a:lnTo>
                    <a:lnTo>
                      <a:pt x="384" y="66"/>
                    </a:lnTo>
                    <a:lnTo>
                      <a:pt x="384" y="62"/>
                    </a:lnTo>
                    <a:lnTo>
                      <a:pt x="388" y="51"/>
                    </a:lnTo>
                    <a:lnTo>
                      <a:pt x="388" y="48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6" y="40"/>
                    </a:lnTo>
                    <a:lnTo>
                      <a:pt x="375" y="33"/>
                    </a:lnTo>
                    <a:lnTo>
                      <a:pt x="373" y="31"/>
                    </a:lnTo>
                    <a:lnTo>
                      <a:pt x="368" y="16"/>
                    </a:lnTo>
                    <a:lnTo>
                      <a:pt x="366" y="11"/>
                    </a:lnTo>
                    <a:lnTo>
                      <a:pt x="364" y="9"/>
                    </a:lnTo>
                    <a:lnTo>
                      <a:pt x="362" y="7"/>
                    </a:lnTo>
                    <a:lnTo>
                      <a:pt x="351" y="9"/>
                    </a:lnTo>
                    <a:lnTo>
                      <a:pt x="346" y="7"/>
                    </a:lnTo>
                    <a:lnTo>
                      <a:pt x="342" y="7"/>
                    </a:lnTo>
                    <a:lnTo>
                      <a:pt x="338" y="5"/>
                    </a:lnTo>
                    <a:lnTo>
                      <a:pt x="335" y="5"/>
                    </a:lnTo>
                    <a:lnTo>
                      <a:pt x="331" y="7"/>
                    </a:lnTo>
                    <a:lnTo>
                      <a:pt x="327" y="7"/>
                    </a:lnTo>
                    <a:lnTo>
                      <a:pt x="320" y="9"/>
                    </a:lnTo>
                    <a:lnTo>
                      <a:pt x="316" y="11"/>
                    </a:lnTo>
                    <a:lnTo>
                      <a:pt x="318" y="13"/>
                    </a:lnTo>
                    <a:lnTo>
                      <a:pt x="320" y="16"/>
                    </a:lnTo>
                    <a:lnTo>
                      <a:pt x="322" y="22"/>
                    </a:lnTo>
                    <a:lnTo>
                      <a:pt x="324" y="35"/>
                    </a:lnTo>
                    <a:lnTo>
                      <a:pt x="327" y="38"/>
                    </a:lnTo>
                    <a:lnTo>
                      <a:pt x="329" y="40"/>
                    </a:lnTo>
                    <a:lnTo>
                      <a:pt x="329" y="40"/>
                    </a:lnTo>
                    <a:lnTo>
                      <a:pt x="331" y="42"/>
                    </a:lnTo>
                    <a:lnTo>
                      <a:pt x="333" y="46"/>
                    </a:lnTo>
                    <a:lnTo>
                      <a:pt x="333" y="46"/>
                    </a:lnTo>
                    <a:lnTo>
                      <a:pt x="333" y="48"/>
                    </a:lnTo>
                    <a:lnTo>
                      <a:pt x="335" y="48"/>
                    </a:lnTo>
                    <a:lnTo>
                      <a:pt x="338" y="48"/>
                    </a:lnTo>
                    <a:lnTo>
                      <a:pt x="338" y="51"/>
                    </a:lnTo>
                    <a:lnTo>
                      <a:pt x="338" y="53"/>
                    </a:lnTo>
                    <a:lnTo>
                      <a:pt x="338" y="55"/>
                    </a:lnTo>
                    <a:lnTo>
                      <a:pt x="338" y="59"/>
                    </a:lnTo>
                    <a:lnTo>
                      <a:pt x="338" y="59"/>
                    </a:lnTo>
                    <a:lnTo>
                      <a:pt x="340" y="62"/>
                    </a:lnTo>
                    <a:lnTo>
                      <a:pt x="340" y="62"/>
                    </a:lnTo>
                    <a:lnTo>
                      <a:pt x="342" y="62"/>
                    </a:lnTo>
                    <a:lnTo>
                      <a:pt x="342" y="64"/>
                    </a:lnTo>
                    <a:lnTo>
                      <a:pt x="342" y="66"/>
                    </a:lnTo>
                    <a:lnTo>
                      <a:pt x="342" y="70"/>
                    </a:lnTo>
                    <a:lnTo>
                      <a:pt x="344" y="79"/>
                    </a:lnTo>
                    <a:lnTo>
                      <a:pt x="349" y="81"/>
                    </a:lnTo>
                    <a:lnTo>
                      <a:pt x="353" y="86"/>
                    </a:lnTo>
                    <a:lnTo>
                      <a:pt x="357" y="88"/>
                    </a:lnTo>
                    <a:lnTo>
                      <a:pt x="357" y="92"/>
                    </a:lnTo>
                    <a:lnTo>
                      <a:pt x="360" y="95"/>
                    </a:lnTo>
                    <a:lnTo>
                      <a:pt x="355" y="95"/>
                    </a:lnTo>
                    <a:lnTo>
                      <a:pt x="353" y="95"/>
                    </a:lnTo>
                    <a:lnTo>
                      <a:pt x="346" y="95"/>
                    </a:lnTo>
                    <a:lnTo>
                      <a:pt x="344" y="95"/>
                    </a:lnTo>
                    <a:lnTo>
                      <a:pt x="342" y="97"/>
                    </a:lnTo>
                    <a:lnTo>
                      <a:pt x="340" y="97"/>
                    </a:lnTo>
                    <a:lnTo>
                      <a:pt x="329" y="103"/>
                    </a:lnTo>
                    <a:lnTo>
                      <a:pt x="329" y="106"/>
                    </a:lnTo>
                    <a:lnTo>
                      <a:pt x="329" y="108"/>
                    </a:lnTo>
                    <a:lnTo>
                      <a:pt x="329" y="112"/>
                    </a:lnTo>
                    <a:lnTo>
                      <a:pt x="331" y="114"/>
                    </a:lnTo>
                    <a:lnTo>
                      <a:pt x="331" y="121"/>
                    </a:lnTo>
                    <a:lnTo>
                      <a:pt x="329" y="125"/>
                    </a:lnTo>
                    <a:lnTo>
                      <a:pt x="327" y="132"/>
                    </a:lnTo>
                    <a:lnTo>
                      <a:pt x="324" y="134"/>
                    </a:lnTo>
                    <a:lnTo>
                      <a:pt x="322" y="134"/>
                    </a:lnTo>
                    <a:lnTo>
                      <a:pt x="316" y="134"/>
                    </a:lnTo>
                    <a:lnTo>
                      <a:pt x="314" y="134"/>
                    </a:lnTo>
                    <a:lnTo>
                      <a:pt x="303" y="138"/>
                    </a:lnTo>
                    <a:lnTo>
                      <a:pt x="300" y="138"/>
                    </a:lnTo>
                    <a:lnTo>
                      <a:pt x="298" y="138"/>
                    </a:lnTo>
                    <a:lnTo>
                      <a:pt x="296" y="136"/>
                    </a:lnTo>
                    <a:lnTo>
                      <a:pt x="294" y="134"/>
                    </a:lnTo>
                    <a:lnTo>
                      <a:pt x="294" y="132"/>
                    </a:lnTo>
                    <a:lnTo>
                      <a:pt x="292" y="132"/>
                    </a:lnTo>
                    <a:lnTo>
                      <a:pt x="287" y="134"/>
                    </a:lnTo>
                    <a:lnTo>
                      <a:pt x="281" y="143"/>
                    </a:lnTo>
                    <a:lnTo>
                      <a:pt x="272" y="147"/>
                    </a:lnTo>
                    <a:lnTo>
                      <a:pt x="270" y="149"/>
                    </a:lnTo>
                    <a:lnTo>
                      <a:pt x="265" y="149"/>
                    </a:lnTo>
                    <a:lnTo>
                      <a:pt x="263" y="152"/>
                    </a:lnTo>
                    <a:lnTo>
                      <a:pt x="259" y="152"/>
                    </a:lnTo>
                    <a:lnTo>
                      <a:pt x="259" y="149"/>
                    </a:lnTo>
                    <a:lnTo>
                      <a:pt x="259" y="143"/>
                    </a:lnTo>
                    <a:lnTo>
                      <a:pt x="259" y="141"/>
                    </a:lnTo>
                    <a:lnTo>
                      <a:pt x="256" y="138"/>
                    </a:lnTo>
                    <a:lnTo>
                      <a:pt x="254" y="138"/>
                    </a:lnTo>
                    <a:lnTo>
                      <a:pt x="252" y="136"/>
                    </a:lnTo>
                    <a:lnTo>
                      <a:pt x="248" y="136"/>
                    </a:lnTo>
                    <a:lnTo>
                      <a:pt x="245" y="134"/>
                    </a:lnTo>
                    <a:lnTo>
                      <a:pt x="243" y="132"/>
                    </a:lnTo>
                    <a:lnTo>
                      <a:pt x="243" y="130"/>
                    </a:lnTo>
                    <a:lnTo>
                      <a:pt x="241" y="130"/>
                    </a:lnTo>
                    <a:lnTo>
                      <a:pt x="239" y="128"/>
                    </a:lnTo>
                    <a:lnTo>
                      <a:pt x="230" y="130"/>
                    </a:lnTo>
                    <a:lnTo>
                      <a:pt x="223" y="128"/>
                    </a:lnTo>
                    <a:lnTo>
                      <a:pt x="219" y="125"/>
                    </a:lnTo>
                    <a:lnTo>
                      <a:pt x="213" y="121"/>
                    </a:lnTo>
                    <a:lnTo>
                      <a:pt x="206" y="114"/>
                    </a:lnTo>
                    <a:lnTo>
                      <a:pt x="204" y="114"/>
                    </a:lnTo>
                    <a:lnTo>
                      <a:pt x="199" y="114"/>
                    </a:lnTo>
                    <a:lnTo>
                      <a:pt x="193" y="114"/>
                    </a:lnTo>
                    <a:lnTo>
                      <a:pt x="191" y="114"/>
                    </a:lnTo>
                    <a:lnTo>
                      <a:pt x="188" y="117"/>
                    </a:lnTo>
                    <a:lnTo>
                      <a:pt x="184" y="117"/>
                    </a:lnTo>
                    <a:lnTo>
                      <a:pt x="184" y="117"/>
                    </a:lnTo>
                    <a:lnTo>
                      <a:pt x="182" y="117"/>
                    </a:lnTo>
                    <a:lnTo>
                      <a:pt x="177" y="114"/>
                    </a:lnTo>
                    <a:lnTo>
                      <a:pt x="171" y="112"/>
                    </a:lnTo>
                    <a:lnTo>
                      <a:pt x="169" y="112"/>
                    </a:lnTo>
                    <a:lnTo>
                      <a:pt x="169" y="112"/>
                    </a:lnTo>
                    <a:lnTo>
                      <a:pt x="162" y="114"/>
                    </a:lnTo>
                    <a:lnTo>
                      <a:pt x="155" y="119"/>
                    </a:lnTo>
                    <a:lnTo>
                      <a:pt x="153" y="119"/>
                    </a:lnTo>
                    <a:lnTo>
                      <a:pt x="147" y="119"/>
                    </a:lnTo>
                    <a:lnTo>
                      <a:pt x="147" y="119"/>
                    </a:lnTo>
                    <a:lnTo>
                      <a:pt x="147" y="119"/>
                    </a:lnTo>
                    <a:lnTo>
                      <a:pt x="142" y="119"/>
                    </a:lnTo>
                    <a:lnTo>
                      <a:pt x="140" y="121"/>
                    </a:lnTo>
                    <a:lnTo>
                      <a:pt x="138" y="123"/>
                    </a:lnTo>
                    <a:lnTo>
                      <a:pt x="136" y="125"/>
                    </a:lnTo>
                    <a:lnTo>
                      <a:pt x="136" y="125"/>
                    </a:lnTo>
                    <a:lnTo>
                      <a:pt x="136" y="128"/>
                    </a:lnTo>
                    <a:lnTo>
                      <a:pt x="136" y="130"/>
                    </a:lnTo>
                    <a:lnTo>
                      <a:pt x="133" y="132"/>
                    </a:lnTo>
                    <a:lnTo>
                      <a:pt x="133" y="132"/>
                    </a:lnTo>
                    <a:lnTo>
                      <a:pt x="133" y="134"/>
                    </a:lnTo>
                    <a:lnTo>
                      <a:pt x="133" y="134"/>
                    </a:lnTo>
                    <a:lnTo>
                      <a:pt x="131" y="134"/>
                    </a:lnTo>
                    <a:lnTo>
                      <a:pt x="131" y="134"/>
                    </a:lnTo>
                    <a:lnTo>
                      <a:pt x="129" y="138"/>
                    </a:lnTo>
                    <a:lnTo>
                      <a:pt x="127" y="138"/>
                    </a:lnTo>
                    <a:lnTo>
                      <a:pt x="127" y="138"/>
                    </a:lnTo>
                    <a:lnTo>
                      <a:pt x="116" y="132"/>
                    </a:lnTo>
                    <a:lnTo>
                      <a:pt x="116" y="130"/>
                    </a:lnTo>
                    <a:lnTo>
                      <a:pt x="116" y="128"/>
                    </a:lnTo>
                    <a:lnTo>
                      <a:pt x="116" y="125"/>
                    </a:lnTo>
                    <a:lnTo>
                      <a:pt x="118" y="119"/>
                    </a:lnTo>
                    <a:lnTo>
                      <a:pt x="118" y="119"/>
                    </a:lnTo>
                    <a:lnTo>
                      <a:pt x="118" y="117"/>
                    </a:lnTo>
                    <a:lnTo>
                      <a:pt x="118" y="114"/>
                    </a:lnTo>
                    <a:lnTo>
                      <a:pt x="116" y="112"/>
                    </a:lnTo>
                    <a:lnTo>
                      <a:pt x="112" y="103"/>
                    </a:lnTo>
                    <a:lnTo>
                      <a:pt x="112" y="101"/>
                    </a:lnTo>
                    <a:lnTo>
                      <a:pt x="112" y="99"/>
                    </a:lnTo>
                    <a:lnTo>
                      <a:pt x="109" y="97"/>
                    </a:lnTo>
                    <a:lnTo>
                      <a:pt x="105" y="95"/>
                    </a:lnTo>
                    <a:lnTo>
                      <a:pt x="96" y="86"/>
                    </a:lnTo>
                    <a:lnTo>
                      <a:pt x="92" y="84"/>
                    </a:lnTo>
                    <a:lnTo>
                      <a:pt x="85" y="81"/>
                    </a:lnTo>
                    <a:lnTo>
                      <a:pt x="83" y="81"/>
                    </a:lnTo>
                    <a:lnTo>
                      <a:pt x="70" y="77"/>
                    </a:lnTo>
                    <a:lnTo>
                      <a:pt x="63" y="75"/>
                    </a:lnTo>
                    <a:lnTo>
                      <a:pt x="59" y="73"/>
                    </a:lnTo>
                    <a:lnTo>
                      <a:pt x="59" y="73"/>
                    </a:lnTo>
                    <a:lnTo>
                      <a:pt x="57" y="70"/>
                    </a:lnTo>
                    <a:lnTo>
                      <a:pt x="57" y="68"/>
                    </a:lnTo>
                    <a:lnTo>
                      <a:pt x="59" y="64"/>
                    </a:lnTo>
                    <a:lnTo>
                      <a:pt x="59" y="62"/>
                    </a:lnTo>
                    <a:lnTo>
                      <a:pt x="61" y="59"/>
                    </a:lnTo>
                    <a:lnTo>
                      <a:pt x="63" y="55"/>
                    </a:lnTo>
                    <a:lnTo>
                      <a:pt x="65" y="53"/>
                    </a:lnTo>
                    <a:lnTo>
                      <a:pt x="65" y="51"/>
                    </a:lnTo>
                    <a:lnTo>
                      <a:pt x="65" y="48"/>
                    </a:lnTo>
                    <a:lnTo>
                      <a:pt x="65" y="44"/>
                    </a:lnTo>
                    <a:lnTo>
                      <a:pt x="65" y="44"/>
                    </a:lnTo>
                    <a:lnTo>
                      <a:pt x="61" y="38"/>
                    </a:lnTo>
                    <a:lnTo>
                      <a:pt x="63" y="9"/>
                    </a:lnTo>
                    <a:lnTo>
                      <a:pt x="59" y="5"/>
                    </a:lnTo>
                    <a:lnTo>
                      <a:pt x="41" y="0"/>
                    </a:lnTo>
                    <a:lnTo>
                      <a:pt x="39" y="0"/>
                    </a:lnTo>
                    <a:lnTo>
                      <a:pt x="37" y="0"/>
                    </a:lnTo>
                    <a:lnTo>
                      <a:pt x="35" y="2"/>
                    </a:lnTo>
                    <a:lnTo>
                      <a:pt x="4" y="33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4"/>
                    </a:lnTo>
                    <a:lnTo>
                      <a:pt x="8" y="51"/>
                    </a:lnTo>
                    <a:lnTo>
                      <a:pt x="15" y="57"/>
                    </a:lnTo>
                    <a:lnTo>
                      <a:pt x="17" y="66"/>
                    </a:lnTo>
                    <a:lnTo>
                      <a:pt x="17" y="70"/>
                    </a:lnTo>
                    <a:lnTo>
                      <a:pt x="19" y="75"/>
                    </a:lnTo>
                    <a:lnTo>
                      <a:pt x="21" y="79"/>
                    </a:lnTo>
                    <a:lnTo>
                      <a:pt x="21" y="84"/>
                    </a:lnTo>
                    <a:lnTo>
                      <a:pt x="19" y="86"/>
                    </a:lnTo>
                    <a:lnTo>
                      <a:pt x="19" y="86"/>
                    </a:lnTo>
                    <a:lnTo>
                      <a:pt x="19" y="90"/>
                    </a:lnTo>
                    <a:lnTo>
                      <a:pt x="19" y="95"/>
                    </a:lnTo>
                    <a:lnTo>
                      <a:pt x="26" y="101"/>
                    </a:lnTo>
                    <a:lnTo>
                      <a:pt x="39" y="119"/>
                    </a:lnTo>
                    <a:lnTo>
                      <a:pt x="46" y="130"/>
                    </a:lnTo>
                    <a:lnTo>
                      <a:pt x="48" y="134"/>
                    </a:lnTo>
                    <a:lnTo>
                      <a:pt x="48" y="138"/>
                    </a:lnTo>
                    <a:lnTo>
                      <a:pt x="46" y="141"/>
                    </a:lnTo>
                    <a:lnTo>
                      <a:pt x="43" y="141"/>
                    </a:lnTo>
                    <a:lnTo>
                      <a:pt x="41" y="143"/>
                    </a:lnTo>
                    <a:lnTo>
                      <a:pt x="43" y="143"/>
                    </a:lnTo>
                    <a:lnTo>
                      <a:pt x="46" y="145"/>
                    </a:lnTo>
                    <a:lnTo>
                      <a:pt x="54" y="156"/>
                    </a:lnTo>
                    <a:lnTo>
                      <a:pt x="57" y="165"/>
                    </a:lnTo>
                    <a:lnTo>
                      <a:pt x="63" y="174"/>
                    </a:lnTo>
                    <a:lnTo>
                      <a:pt x="72" y="185"/>
                    </a:lnTo>
                    <a:lnTo>
                      <a:pt x="94" y="200"/>
                    </a:lnTo>
                    <a:lnTo>
                      <a:pt x="105" y="207"/>
                    </a:lnTo>
                    <a:lnTo>
                      <a:pt x="105" y="211"/>
                    </a:lnTo>
                    <a:lnTo>
                      <a:pt x="125" y="228"/>
                    </a:lnTo>
                    <a:lnTo>
                      <a:pt x="131" y="235"/>
                    </a:lnTo>
                    <a:lnTo>
                      <a:pt x="131" y="239"/>
                    </a:lnTo>
                    <a:lnTo>
                      <a:pt x="136" y="244"/>
                    </a:lnTo>
                    <a:lnTo>
                      <a:pt x="136" y="248"/>
                    </a:lnTo>
                    <a:lnTo>
                      <a:pt x="147" y="266"/>
                    </a:lnTo>
                    <a:lnTo>
                      <a:pt x="147" y="270"/>
                    </a:lnTo>
                    <a:lnTo>
                      <a:pt x="147" y="275"/>
                    </a:lnTo>
                    <a:lnTo>
                      <a:pt x="144" y="275"/>
                    </a:lnTo>
                    <a:lnTo>
                      <a:pt x="142" y="275"/>
                    </a:lnTo>
                    <a:lnTo>
                      <a:pt x="140" y="275"/>
                    </a:lnTo>
                    <a:lnTo>
                      <a:pt x="140" y="277"/>
                    </a:lnTo>
                    <a:lnTo>
                      <a:pt x="142" y="279"/>
                    </a:lnTo>
                    <a:lnTo>
                      <a:pt x="144" y="281"/>
                    </a:lnTo>
                    <a:lnTo>
                      <a:pt x="151" y="283"/>
                    </a:lnTo>
                    <a:lnTo>
                      <a:pt x="155" y="288"/>
                    </a:lnTo>
                    <a:lnTo>
                      <a:pt x="162" y="294"/>
                    </a:lnTo>
                    <a:lnTo>
                      <a:pt x="169" y="301"/>
                    </a:lnTo>
                    <a:lnTo>
                      <a:pt x="173" y="310"/>
                    </a:lnTo>
                    <a:lnTo>
                      <a:pt x="175" y="316"/>
                    </a:lnTo>
                    <a:lnTo>
                      <a:pt x="175" y="321"/>
                    </a:lnTo>
                    <a:lnTo>
                      <a:pt x="175" y="325"/>
                    </a:lnTo>
                    <a:lnTo>
                      <a:pt x="177" y="329"/>
                    </a:lnTo>
                    <a:lnTo>
                      <a:pt x="175" y="334"/>
                    </a:lnTo>
                    <a:lnTo>
                      <a:pt x="173" y="336"/>
                    </a:lnTo>
                    <a:lnTo>
                      <a:pt x="173" y="338"/>
                    </a:lnTo>
                    <a:lnTo>
                      <a:pt x="173" y="338"/>
                    </a:lnTo>
                    <a:lnTo>
                      <a:pt x="173" y="340"/>
                    </a:lnTo>
                    <a:lnTo>
                      <a:pt x="182" y="351"/>
                    </a:lnTo>
                    <a:lnTo>
                      <a:pt x="184" y="358"/>
                    </a:lnTo>
                    <a:lnTo>
                      <a:pt x="188" y="360"/>
                    </a:lnTo>
                    <a:lnTo>
                      <a:pt x="188" y="365"/>
                    </a:lnTo>
                    <a:lnTo>
                      <a:pt x="191" y="367"/>
                    </a:lnTo>
                    <a:lnTo>
                      <a:pt x="193" y="371"/>
                    </a:lnTo>
                    <a:lnTo>
                      <a:pt x="193" y="375"/>
                    </a:lnTo>
                    <a:lnTo>
                      <a:pt x="193" y="375"/>
                    </a:lnTo>
                    <a:lnTo>
                      <a:pt x="197" y="375"/>
                    </a:lnTo>
                    <a:lnTo>
                      <a:pt x="199" y="373"/>
                    </a:lnTo>
                    <a:lnTo>
                      <a:pt x="199" y="373"/>
                    </a:lnTo>
                    <a:lnTo>
                      <a:pt x="202" y="367"/>
                    </a:lnTo>
                    <a:lnTo>
                      <a:pt x="204" y="349"/>
                    </a:lnTo>
                    <a:lnTo>
                      <a:pt x="208" y="343"/>
                    </a:lnTo>
                    <a:lnTo>
                      <a:pt x="215" y="336"/>
                    </a:lnTo>
                    <a:lnTo>
                      <a:pt x="241" y="327"/>
                    </a:lnTo>
                    <a:lnTo>
                      <a:pt x="250" y="321"/>
                    </a:lnTo>
                    <a:lnTo>
                      <a:pt x="254" y="321"/>
                    </a:lnTo>
                    <a:lnTo>
                      <a:pt x="261" y="318"/>
                    </a:lnTo>
                    <a:lnTo>
                      <a:pt x="265" y="318"/>
                    </a:lnTo>
                    <a:lnTo>
                      <a:pt x="265" y="318"/>
                    </a:lnTo>
                    <a:lnTo>
                      <a:pt x="267" y="318"/>
                    </a:lnTo>
                    <a:lnTo>
                      <a:pt x="272" y="307"/>
                    </a:lnTo>
                    <a:lnTo>
                      <a:pt x="272" y="303"/>
                    </a:lnTo>
                    <a:lnTo>
                      <a:pt x="270" y="301"/>
                    </a:lnTo>
                    <a:lnTo>
                      <a:pt x="270" y="299"/>
                    </a:lnTo>
                    <a:lnTo>
                      <a:pt x="270" y="296"/>
                    </a:lnTo>
                    <a:lnTo>
                      <a:pt x="272" y="294"/>
                    </a:lnTo>
                    <a:lnTo>
                      <a:pt x="278" y="288"/>
                    </a:lnTo>
                    <a:lnTo>
                      <a:pt x="285" y="277"/>
                    </a:lnTo>
                    <a:lnTo>
                      <a:pt x="285" y="275"/>
                    </a:lnTo>
                    <a:lnTo>
                      <a:pt x="285" y="272"/>
                    </a:lnTo>
                    <a:lnTo>
                      <a:pt x="285" y="270"/>
                    </a:lnTo>
                    <a:lnTo>
                      <a:pt x="285" y="268"/>
                    </a:lnTo>
                    <a:lnTo>
                      <a:pt x="287" y="268"/>
                    </a:lnTo>
                    <a:lnTo>
                      <a:pt x="289" y="261"/>
                    </a:lnTo>
                    <a:lnTo>
                      <a:pt x="292" y="259"/>
                    </a:lnTo>
                    <a:lnTo>
                      <a:pt x="292" y="257"/>
                    </a:lnTo>
                    <a:lnTo>
                      <a:pt x="292" y="255"/>
                    </a:lnTo>
                    <a:lnTo>
                      <a:pt x="294" y="253"/>
                    </a:lnTo>
                    <a:lnTo>
                      <a:pt x="322" y="226"/>
                    </a:lnTo>
                    <a:lnTo>
                      <a:pt x="324" y="224"/>
                    </a:lnTo>
                    <a:lnTo>
                      <a:pt x="327" y="220"/>
                    </a:lnTo>
                    <a:lnTo>
                      <a:pt x="331" y="211"/>
                    </a:lnTo>
                    <a:lnTo>
                      <a:pt x="331" y="209"/>
                    </a:lnTo>
                    <a:lnTo>
                      <a:pt x="333" y="207"/>
                    </a:lnTo>
                    <a:lnTo>
                      <a:pt x="335" y="207"/>
                    </a:lnTo>
                    <a:lnTo>
                      <a:pt x="338" y="207"/>
                    </a:lnTo>
                    <a:lnTo>
                      <a:pt x="340" y="209"/>
                    </a:lnTo>
                    <a:lnTo>
                      <a:pt x="344" y="209"/>
                    </a:lnTo>
                    <a:lnTo>
                      <a:pt x="351" y="209"/>
                    </a:lnTo>
                    <a:lnTo>
                      <a:pt x="353" y="209"/>
                    </a:lnTo>
                    <a:lnTo>
                      <a:pt x="355" y="209"/>
                    </a:lnTo>
                    <a:lnTo>
                      <a:pt x="362" y="204"/>
                    </a:lnTo>
                    <a:lnTo>
                      <a:pt x="366" y="204"/>
                    </a:lnTo>
                    <a:lnTo>
                      <a:pt x="373" y="202"/>
                    </a:lnTo>
                    <a:lnTo>
                      <a:pt x="377" y="200"/>
                    </a:lnTo>
                    <a:lnTo>
                      <a:pt x="379" y="198"/>
                    </a:lnTo>
                    <a:lnTo>
                      <a:pt x="379" y="200"/>
                    </a:lnTo>
                    <a:lnTo>
                      <a:pt x="379" y="204"/>
                    </a:lnTo>
                    <a:lnTo>
                      <a:pt x="382" y="207"/>
                    </a:lnTo>
                    <a:lnTo>
                      <a:pt x="384" y="211"/>
                    </a:lnTo>
                    <a:lnTo>
                      <a:pt x="384" y="213"/>
                    </a:lnTo>
                    <a:lnTo>
                      <a:pt x="384" y="215"/>
                    </a:lnTo>
                    <a:lnTo>
                      <a:pt x="384" y="217"/>
                    </a:lnTo>
                    <a:lnTo>
                      <a:pt x="386" y="220"/>
                    </a:lnTo>
                    <a:lnTo>
                      <a:pt x="388" y="224"/>
                    </a:lnTo>
                    <a:lnTo>
                      <a:pt x="401" y="235"/>
                    </a:lnTo>
                    <a:lnTo>
                      <a:pt x="406" y="237"/>
                    </a:lnTo>
                    <a:lnTo>
                      <a:pt x="406" y="239"/>
                    </a:lnTo>
                    <a:lnTo>
                      <a:pt x="408" y="239"/>
                    </a:lnTo>
                    <a:lnTo>
                      <a:pt x="410" y="242"/>
                    </a:lnTo>
                    <a:lnTo>
                      <a:pt x="421" y="261"/>
                    </a:lnTo>
                    <a:lnTo>
                      <a:pt x="434" y="277"/>
                    </a:lnTo>
                    <a:lnTo>
                      <a:pt x="439" y="283"/>
                    </a:lnTo>
                    <a:lnTo>
                      <a:pt x="441" y="288"/>
                    </a:lnTo>
                    <a:lnTo>
                      <a:pt x="441" y="296"/>
                    </a:lnTo>
                    <a:lnTo>
                      <a:pt x="452" y="294"/>
                    </a:lnTo>
                    <a:lnTo>
                      <a:pt x="469" y="294"/>
                    </a:lnTo>
                    <a:lnTo>
                      <a:pt x="474" y="294"/>
                    </a:lnTo>
                    <a:lnTo>
                      <a:pt x="476" y="294"/>
                    </a:lnTo>
                    <a:lnTo>
                      <a:pt x="480" y="292"/>
                    </a:lnTo>
                    <a:lnTo>
                      <a:pt x="489" y="288"/>
                    </a:lnTo>
                    <a:lnTo>
                      <a:pt x="491" y="288"/>
                    </a:lnTo>
                    <a:lnTo>
                      <a:pt x="494" y="290"/>
                    </a:lnTo>
                    <a:lnTo>
                      <a:pt x="494" y="290"/>
                    </a:lnTo>
                    <a:lnTo>
                      <a:pt x="496" y="290"/>
                    </a:lnTo>
                    <a:lnTo>
                      <a:pt x="498" y="296"/>
                    </a:lnTo>
                    <a:lnTo>
                      <a:pt x="498" y="305"/>
                    </a:lnTo>
                    <a:lnTo>
                      <a:pt x="500" y="307"/>
                    </a:lnTo>
                    <a:lnTo>
                      <a:pt x="500" y="307"/>
                    </a:lnTo>
                    <a:lnTo>
                      <a:pt x="505" y="307"/>
                    </a:lnTo>
                    <a:lnTo>
                      <a:pt x="507" y="307"/>
                    </a:lnTo>
                    <a:lnTo>
                      <a:pt x="509" y="307"/>
                    </a:lnTo>
                    <a:lnTo>
                      <a:pt x="518" y="310"/>
                    </a:lnTo>
                    <a:lnTo>
                      <a:pt x="520" y="310"/>
                    </a:lnTo>
                    <a:lnTo>
                      <a:pt x="522" y="310"/>
                    </a:lnTo>
                    <a:lnTo>
                      <a:pt x="524" y="303"/>
                    </a:lnTo>
                    <a:lnTo>
                      <a:pt x="526" y="299"/>
                    </a:lnTo>
                    <a:lnTo>
                      <a:pt x="524" y="296"/>
                    </a:lnTo>
                    <a:lnTo>
                      <a:pt x="524" y="296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35" name="Freeform 24"/>
              <p:cNvSpPr>
                <a:spLocks/>
              </p:cNvSpPr>
              <p:nvPr/>
            </p:nvSpPr>
            <p:spPr bwMode="auto">
              <a:xfrm>
                <a:off x="4265613" y="2393950"/>
                <a:ext cx="506413" cy="944562"/>
              </a:xfrm>
              <a:custGeom>
                <a:avLst/>
                <a:gdLst>
                  <a:gd name="T0" fmla="*/ 301 w 319"/>
                  <a:gd name="T1" fmla="*/ 509 h 595"/>
                  <a:gd name="T2" fmla="*/ 297 w 319"/>
                  <a:gd name="T3" fmla="*/ 498 h 595"/>
                  <a:gd name="T4" fmla="*/ 292 w 319"/>
                  <a:gd name="T5" fmla="*/ 489 h 595"/>
                  <a:gd name="T6" fmla="*/ 279 w 319"/>
                  <a:gd name="T7" fmla="*/ 459 h 595"/>
                  <a:gd name="T8" fmla="*/ 270 w 319"/>
                  <a:gd name="T9" fmla="*/ 434 h 595"/>
                  <a:gd name="T10" fmla="*/ 270 w 319"/>
                  <a:gd name="T11" fmla="*/ 419 h 595"/>
                  <a:gd name="T12" fmla="*/ 251 w 319"/>
                  <a:gd name="T13" fmla="*/ 364 h 595"/>
                  <a:gd name="T14" fmla="*/ 229 w 319"/>
                  <a:gd name="T15" fmla="*/ 344 h 595"/>
                  <a:gd name="T16" fmla="*/ 189 w 319"/>
                  <a:gd name="T17" fmla="*/ 292 h 595"/>
                  <a:gd name="T18" fmla="*/ 165 w 319"/>
                  <a:gd name="T19" fmla="*/ 279 h 595"/>
                  <a:gd name="T20" fmla="*/ 156 w 319"/>
                  <a:gd name="T21" fmla="*/ 270 h 595"/>
                  <a:gd name="T22" fmla="*/ 134 w 319"/>
                  <a:gd name="T23" fmla="*/ 239 h 595"/>
                  <a:gd name="T24" fmla="*/ 132 w 319"/>
                  <a:gd name="T25" fmla="*/ 219 h 595"/>
                  <a:gd name="T26" fmla="*/ 139 w 319"/>
                  <a:gd name="T27" fmla="*/ 211 h 595"/>
                  <a:gd name="T28" fmla="*/ 134 w 319"/>
                  <a:gd name="T29" fmla="*/ 206 h 595"/>
                  <a:gd name="T30" fmla="*/ 154 w 319"/>
                  <a:gd name="T31" fmla="*/ 182 h 595"/>
                  <a:gd name="T32" fmla="*/ 161 w 319"/>
                  <a:gd name="T33" fmla="*/ 167 h 595"/>
                  <a:gd name="T34" fmla="*/ 152 w 319"/>
                  <a:gd name="T35" fmla="*/ 107 h 595"/>
                  <a:gd name="T36" fmla="*/ 165 w 319"/>
                  <a:gd name="T37" fmla="*/ 77 h 595"/>
                  <a:gd name="T38" fmla="*/ 156 w 319"/>
                  <a:gd name="T39" fmla="*/ 44 h 595"/>
                  <a:gd name="T40" fmla="*/ 114 w 319"/>
                  <a:gd name="T41" fmla="*/ 13 h 595"/>
                  <a:gd name="T42" fmla="*/ 103 w 319"/>
                  <a:gd name="T43" fmla="*/ 53 h 595"/>
                  <a:gd name="T44" fmla="*/ 81 w 319"/>
                  <a:gd name="T45" fmla="*/ 75 h 595"/>
                  <a:gd name="T46" fmla="*/ 62 w 319"/>
                  <a:gd name="T47" fmla="*/ 75 h 595"/>
                  <a:gd name="T48" fmla="*/ 38 w 319"/>
                  <a:gd name="T49" fmla="*/ 83 h 595"/>
                  <a:gd name="T50" fmla="*/ 22 w 319"/>
                  <a:gd name="T51" fmla="*/ 101 h 595"/>
                  <a:gd name="T52" fmla="*/ 20 w 319"/>
                  <a:gd name="T53" fmla="*/ 132 h 595"/>
                  <a:gd name="T54" fmla="*/ 27 w 319"/>
                  <a:gd name="T55" fmla="*/ 171 h 595"/>
                  <a:gd name="T56" fmla="*/ 11 w 319"/>
                  <a:gd name="T57" fmla="*/ 175 h 595"/>
                  <a:gd name="T58" fmla="*/ 13 w 319"/>
                  <a:gd name="T59" fmla="*/ 186 h 595"/>
                  <a:gd name="T60" fmla="*/ 13 w 319"/>
                  <a:gd name="T61" fmla="*/ 226 h 595"/>
                  <a:gd name="T62" fmla="*/ 18 w 319"/>
                  <a:gd name="T63" fmla="*/ 237 h 595"/>
                  <a:gd name="T64" fmla="*/ 7 w 319"/>
                  <a:gd name="T65" fmla="*/ 259 h 595"/>
                  <a:gd name="T66" fmla="*/ 18 w 319"/>
                  <a:gd name="T67" fmla="*/ 261 h 595"/>
                  <a:gd name="T68" fmla="*/ 29 w 319"/>
                  <a:gd name="T69" fmla="*/ 261 h 595"/>
                  <a:gd name="T70" fmla="*/ 44 w 319"/>
                  <a:gd name="T71" fmla="*/ 268 h 595"/>
                  <a:gd name="T72" fmla="*/ 33 w 319"/>
                  <a:gd name="T73" fmla="*/ 287 h 595"/>
                  <a:gd name="T74" fmla="*/ 40 w 319"/>
                  <a:gd name="T75" fmla="*/ 301 h 595"/>
                  <a:gd name="T76" fmla="*/ 11 w 319"/>
                  <a:gd name="T77" fmla="*/ 323 h 595"/>
                  <a:gd name="T78" fmla="*/ 2 w 319"/>
                  <a:gd name="T79" fmla="*/ 338 h 595"/>
                  <a:gd name="T80" fmla="*/ 5 w 319"/>
                  <a:gd name="T81" fmla="*/ 362 h 595"/>
                  <a:gd name="T82" fmla="*/ 18 w 319"/>
                  <a:gd name="T83" fmla="*/ 369 h 595"/>
                  <a:gd name="T84" fmla="*/ 44 w 319"/>
                  <a:gd name="T85" fmla="*/ 393 h 595"/>
                  <a:gd name="T86" fmla="*/ 57 w 319"/>
                  <a:gd name="T87" fmla="*/ 406 h 595"/>
                  <a:gd name="T88" fmla="*/ 33 w 319"/>
                  <a:gd name="T89" fmla="*/ 426 h 595"/>
                  <a:gd name="T90" fmla="*/ 27 w 319"/>
                  <a:gd name="T91" fmla="*/ 452 h 595"/>
                  <a:gd name="T92" fmla="*/ 24 w 319"/>
                  <a:gd name="T93" fmla="*/ 494 h 595"/>
                  <a:gd name="T94" fmla="*/ 16 w 319"/>
                  <a:gd name="T95" fmla="*/ 513 h 595"/>
                  <a:gd name="T96" fmla="*/ 51 w 319"/>
                  <a:gd name="T97" fmla="*/ 527 h 595"/>
                  <a:gd name="T98" fmla="*/ 75 w 319"/>
                  <a:gd name="T99" fmla="*/ 555 h 595"/>
                  <a:gd name="T100" fmla="*/ 75 w 319"/>
                  <a:gd name="T101" fmla="*/ 573 h 595"/>
                  <a:gd name="T102" fmla="*/ 92 w 319"/>
                  <a:gd name="T103" fmla="*/ 577 h 595"/>
                  <a:gd name="T104" fmla="*/ 95 w 319"/>
                  <a:gd name="T105" fmla="*/ 568 h 595"/>
                  <a:gd name="T106" fmla="*/ 112 w 319"/>
                  <a:gd name="T107" fmla="*/ 562 h 595"/>
                  <a:gd name="T108" fmla="*/ 141 w 319"/>
                  <a:gd name="T109" fmla="*/ 560 h 595"/>
                  <a:gd name="T110" fmla="*/ 163 w 319"/>
                  <a:gd name="T111" fmla="*/ 557 h 595"/>
                  <a:gd name="T112" fmla="*/ 200 w 319"/>
                  <a:gd name="T113" fmla="*/ 573 h 595"/>
                  <a:gd name="T114" fmla="*/ 215 w 319"/>
                  <a:gd name="T115" fmla="*/ 581 h 595"/>
                  <a:gd name="T116" fmla="*/ 229 w 319"/>
                  <a:gd name="T117" fmla="*/ 592 h 595"/>
                  <a:gd name="T118" fmla="*/ 255 w 319"/>
                  <a:gd name="T119" fmla="*/ 579 h 595"/>
                  <a:gd name="T120" fmla="*/ 283 w 319"/>
                  <a:gd name="T121" fmla="*/ 577 h 595"/>
                  <a:gd name="T122" fmla="*/ 288 w 319"/>
                  <a:gd name="T123" fmla="*/ 549 h 595"/>
                  <a:gd name="T124" fmla="*/ 314 w 319"/>
                  <a:gd name="T125" fmla="*/ 538 h 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9" h="595">
                    <a:moveTo>
                      <a:pt x="316" y="535"/>
                    </a:moveTo>
                    <a:lnTo>
                      <a:pt x="316" y="531"/>
                    </a:lnTo>
                    <a:lnTo>
                      <a:pt x="312" y="529"/>
                    </a:lnTo>
                    <a:lnTo>
                      <a:pt x="308" y="524"/>
                    </a:lnTo>
                    <a:lnTo>
                      <a:pt x="303" y="522"/>
                    </a:lnTo>
                    <a:lnTo>
                      <a:pt x="301" y="513"/>
                    </a:lnTo>
                    <a:lnTo>
                      <a:pt x="301" y="509"/>
                    </a:lnTo>
                    <a:lnTo>
                      <a:pt x="301" y="507"/>
                    </a:lnTo>
                    <a:lnTo>
                      <a:pt x="301" y="505"/>
                    </a:lnTo>
                    <a:lnTo>
                      <a:pt x="299" y="505"/>
                    </a:lnTo>
                    <a:lnTo>
                      <a:pt x="299" y="505"/>
                    </a:lnTo>
                    <a:lnTo>
                      <a:pt x="297" y="502"/>
                    </a:lnTo>
                    <a:lnTo>
                      <a:pt x="297" y="502"/>
                    </a:lnTo>
                    <a:lnTo>
                      <a:pt x="297" y="498"/>
                    </a:lnTo>
                    <a:lnTo>
                      <a:pt x="297" y="496"/>
                    </a:lnTo>
                    <a:lnTo>
                      <a:pt x="297" y="494"/>
                    </a:lnTo>
                    <a:lnTo>
                      <a:pt x="297" y="491"/>
                    </a:lnTo>
                    <a:lnTo>
                      <a:pt x="294" y="491"/>
                    </a:lnTo>
                    <a:lnTo>
                      <a:pt x="292" y="491"/>
                    </a:lnTo>
                    <a:lnTo>
                      <a:pt x="292" y="489"/>
                    </a:lnTo>
                    <a:lnTo>
                      <a:pt x="292" y="489"/>
                    </a:lnTo>
                    <a:lnTo>
                      <a:pt x="290" y="485"/>
                    </a:lnTo>
                    <a:lnTo>
                      <a:pt x="288" y="483"/>
                    </a:lnTo>
                    <a:lnTo>
                      <a:pt x="288" y="483"/>
                    </a:lnTo>
                    <a:lnTo>
                      <a:pt x="286" y="481"/>
                    </a:lnTo>
                    <a:lnTo>
                      <a:pt x="283" y="478"/>
                    </a:lnTo>
                    <a:lnTo>
                      <a:pt x="281" y="465"/>
                    </a:lnTo>
                    <a:lnTo>
                      <a:pt x="279" y="459"/>
                    </a:lnTo>
                    <a:lnTo>
                      <a:pt x="277" y="456"/>
                    </a:lnTo>
                    <a:lnTo>
                      <a:pt x="275" y="454"/>
                    </a:lnTo>
                    <a:lnTo>
                      <a:pt x="273" y="450"/>
                    </a:lnTo>
                    <a:lnTo>
                      <a:pt x="273" y="450"/>
                    </a:lnTo>
                    <a:lnTo>
                      <a:pt x="273" y="443"/>
                    </a:lnTo>
                    <a:lnTo>
                      <a:pt x="270" y="439"/>
                    </a:lnTo>
                    <a:lnTo>
                      <a:pt x="270" y="434"/>
                    </a:lnTo>
                    <a:lnTo>
                      <a:pt x="270" y="430"/>
                    </a:lnTo>
                    <a:lnTo>
                      <a:pt x="270" y="428"/>
                    </a:lnTo>
                    <a:lnTo>
                      <a:pt x="270" y="426"/>
                    </a:lnTo>
                    <a:lnTo>
                      <a:pt x="268" y="423"/>
                    </a:lnTo>
                    <a:lnTo>
                      <a:pt x="268" y="423"/>
                    </a:lnTo>
                    <a:lnTo>
                      <a:pt x="268" y="421"/>
                    </a:lnTo>
                    <a:lnTo>
                      <a:pt x="270" y="419"/>
                    </a:lnTo>
                    <a:lnTo>
                      <a:pt x="270" y="419"/>
                    </a:lnTo>
                    <a:lnTo>
                      <a:pt x="270" y="419"/>
                    </a:lnTo>
                    <a:lnTo>
                      <a:pt x="270" y="410"/>
                    </a:lnTo>
                    <a:lnTo>
                      <a:pt x="270" y="406"/>
                    </a:lnTo>
                    <a:lnTo>
                      <a:pt x="268" y="402"/>
                    </a:lnTo>
                    <a:lnTo>
                      <a:pt x="259" y="386"/>
                    </a:lnTo>
                    <a:lnTo>
                      <a:pt x="251" y="364"/>
                    </a:lnTo>
                    <a:lnTo>
                      <a:pt x="248" y="362"/>
                    </a:lnTo>
                    <a:lnTo>
                      <a:pt x="244" y="358"/>
                    </a:lnTo>
                    <a:lnTo>
                      <a:pt x="244" y="355"/>
                    </a:lnTo>
                    <a:lnTo>
                      <a:pt x="242" y="351"/>
                    </a:lnTo>
                    <a:lnTo>
                      <a:pt x="242" y="349"/>
                    </a:lnTo>
                    <a:lnTo>
                      <a:pt x="237" y="347"/>
                    </a:lnTo>
                    <a:lnTo>
                      <a:pt x="229" y="344"/>
                    </a:lnTo>
                    <a:lnTo>
                      <a:pt x="224" y="340"/>
                    </a:lnTo>
                    <a:lnTo>
                      <a:pt x="213" y="333"/>
                    </a:lnTo>
                    <a:lnTo>
                      <a:pt x="209" y="329"/>
                    </a:lnTo>
                    <a:lnTo>
                      <a:pt x="200" y="314"/>
                    </a:lnTo>
                    <a:lnTo>
                      <a:pt x="193" y="303"/>
                    </a:lnTo>
                    <a:lnTo>
                      <a:pt x="191" y="294"/>
                    </a:lnTo>
                    <a:lnTo>
                      <a:pt x="189" y="292"/>
                    </a:lnTo>
                    <a:lnTo>
                      <a:pt x="185" y="287"/>
                    </a:lnTo>
                    <a:lnTo>
                      <a:pt x="176" y="283"/>
                    </a:lnTo>
                    <a:lnTo>
                      <a:pt x="172" y="279"/>
                    </a:lnTo>
                    <a:lnTo>
                      <a:pt x="169" y="279"/>
                    </a:lnTo>
                    <a:lnTo>
                      <a:pt x="169" y="279"/>
                    </a:lnTo>
                    <a:lnTo>
                      <a:pt x="167" y="279"/>
                    </a:lnTo>
                    <a:lnTo>
                      <a:pt x="165" y="279"/>
                    </a:lnTo>
                    <a:lnTo>
                      <a:pt x="163" y="276"/>
                    </a:lnTo>
                    <a:lnTo>
                      <a:pt x="161" y="276"/>
                    </a:lnTo>
                    <a:lnTo>
                      <a:pt x="158" y="274"/>
                    </a:lnTo>
                    <a:lnTo>
                      <a:pt x="158" y="274"/>
                    </a:lnTo>
                    <a:lnTo>
                      <a:pt x="156" y="272"/>
                    </a:lnTo>
                    <a:lnTo>
                      <a:pt x="156" y="270"/>
                    </a:lnTo>
                    <a:lnTo>
                      <a:pt x="156" y="270"/>
                    </a:lnTo>
                    <a:lnTo>
                      <a:pt x="154" y="268"/>
                    </a:lnTo>
                    <a:lnTo>
                      <a:pt x="143" y="254"/>
                    </a:lnTo>
                    <a:lnTo>
                      <a:pt x="141" y="252"/>
                    </a:lnTo>
                    <a:lnTo>
                      <a:pt x="139" y="246"/>
                    </a:lnTo>
                    <a:lnTo>
                      <a:pt x="136" y="244"/>
                    </a:lnTo>
                    <a:lnTo>
                      <a:pt x="136" y="241"/>
                    </a:lnTo>
                    <a:lnTo>
                      <a:pt x="134" y="239"/>
                    </a:lnTo>
                    <a:lnTo>
                      <a:pt x="132" y="235"/>
                    </a:lnTo>
                    <a:lnTo>
                      <a:pt x="130" y="233"/>
                    </a:lnTo>
                    <a:lnTo>
                      <a:pt x="130" y="226"/>
                    </a:lnTo>
                    <a:lnTo>
                      <a:pt x="130" y="224"/>
                    </a:lnTo>
                    <a:lnTo>
                      <a:pt x="130" y="222"/>
                    </a:lnTo>
                    <a:lnTo>
                      <a:pt x="132" y="219"/>
                    </a:lnTo>
                    <a:lnTo>
                      <a:pt x="132" y="219"/>
                    </a:lnTo>
                    <a:lnTo>
                      <a:pt x="132" y="217"/>
                    </a:lnTo>
                    <a:lnTo>
                      <a:pt x="134" y="217"/>
                    </a:lnTo>
                    <a:lnTo>
                      <a:pt x="134" y="217"/>
                    </a:lnTo>
                    <a:lnTo>
                      <a:pt x="136" y="217"/>
                    </a:lnTo>
                    <a:lnTo>
                      <a:pt x="136" y="215"/>
                    </a:lnTo>
                    <a:lnTo>
                      <a:pt x="139" y="213"/>
                    </a:lnTo>
                    <a:lnTo>
                      <a:pt x="139" y="211"/>
                    </a:lnTo>
                    <a:lnTo>
                      <a:pt x="139" y="211"/>
                    </a:lnTo>
                    <a:lnTo>
                      <a:pt x="136" y="211"/>
                    </a:lnTo>
                    <a:lnTo>
                      <a:pt x="134" y="208"/>
                    </a:lnTo>
                    <a:lnTo>
                      <a:pt x="134" y="208"/>
                    </a:lnTo>
                    <a:lnTo>
                      <a:pt x="134" y="208"/>
                    </a:lnTo>
                    <a:lnTo>
                      <a:pt x="134" y="206"/>
                    </a:lnTo>
                    <a:lnTo>
                      <a:pt x="134" y="206"/>
                    </a:lnTo>
                    <a:lnTo>
                      <a:pt x="134" y="204"/>
                    </a:lnTo>
                    <a:lnTo>
                      <a:pt x="139" y="204"/>
                    </a:lnTo>
                    <a:lnTo>
                      <a:pt x="139" y="204"/>
                    </a:lnTo>
                    <a:lnTo>
                      <a:pt x="139" y="202"/>
                    </a:lnTo>
                    <a:lnTo>
                      <a:pt x="143" y="195"/>
                    </a:lnTo>
                    <a:lnTo>
                      <a:pt x="143" y="195"/>
                    </a:lnTo>
                    <a:lnTo>
                      <a:pt x="154" y="182"/>
                    </a:lnTo>
                    <a:lnTo>
                      <a:pt x="154" y="180"/>
                    </a:lnTo>
                    <a:lnTo>
                      <a:pt x="154" y="180"/>
                    </a:lnTo>
                    <a:lnTo>
                      <a:pt x="158" y="175"/>
                    </a:lnTo>
                    <a:lnTo>
                      <a:pt x="161" y="173"/>
                    </a:lnTo>
                    <a:lnTo>
                      <a:pt x="161" y="171"/>
                    </a:lnTo>
                    <a:lnTo>
                      <a:pt x="161" y="169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58" y="162"/>
                    </a:lnTo>
                    <a:lnTo>
                      <a:pt x="161" y="147"/>
                    </a:lnTo>
                    <a:lnTo>
                      <a:pt x="158" y="127"/>
                    </a:lnTo>
                    <a:lnTo>
                      <a:pt x="156" y="121"/>
                    </a:lnTo>
                    <a:lnTo>
                      <a:pt x="154" y="112"/>
                    </a:lnTo>
                    <a:lnTo>
                      <a:pt x="152" y="107"/>
                    </a:lnTo>
                    <a:lnTo>
                      <a:pt x="152" y="105"/>
                    </a:lnTo>
                    <a:lnTo>
                      <a:pt x="152" y="101"/>
                    </a:lnTo>
                    <a:lnTo>
                      <a:pt x="154" y="96"/>
                    </a:lnTo>
                    <a:lnTo>
                      <a:pt x="158" y="83"/>
                    </a:lnTo>
                    <a:lnTo>
                      <a:pt x="158" y="81"/>
                    </a:lnTo>
                    <a:lnTo>
                      <a:pt x="163" y="79"/>
                    </a:lnTo>
                    <a:lnTo>
                      <a:pt x="165" y="77"/>
                    </a:lnTo>
                    <a:lnTo>
                      <a:pt x="165" y="72"/>
                    </a:lnTo>
                    <a:lnTo>
                      <a:pt x="165" y="70"/>
                    </a:lnTo>
                    <a:lnTo>
                      <a:pt x="165" y="68"/>
                    </a:lnTo>
                    <a:lnTo>
                      <a:pt x="165" y="57"/>
                    </a:lnTo>
                    <a:lnTo>
                      <a:pt x="165" y="55"/>
                    </a:lnTo>
                    <a:lnTo>
                      <a:pt x="161" y="50"/>
                    </a:lnTo>
                    <a:lnTo>
                      <a:pt x="156" y="44"/>
                    </a:lnTo>
                    <a:lnTo>
                      <a:pt x="154" y="37"/>
                    </a:lnTo>
                    <a:lnTo>
                      <a:pt x="152" y="20"/>
                    </a:lnTo>
                    <a:lnTo>
                      <a:pt x="143" y="6"/>
                    </a:lnTo>
                    <a:lnTo>
                      <a:pt x="141" y="0"/>
                    </a:lnTo>
                    <a:lnTo>
                      <a:pt x="139" y="0"/>
                    </a:lnTo>
                    <a:lnTo>
                      <a:pt x="123" y="9"/>
                    </a:lnTo>
                    <a:lnTo>
                      <a:pt x="114" y="13"/>
                    </a:lnTo>
                    <a:lnTo>
                      <a:pt x="106" y="20"/>
                    </a:lnTo>
                    <a:lnTo>
                      <a:pt x="103" y="24"/>
                    </a:lnTo>
                    <a:lnTo>
                      <a:pt x="101" y="31"/>
                    </a:lnTo>
                    <a:lnTo>
                      <a:pt x="101" y="35"/>
                    </a:lnTo>
                    <a:lnTo>
                      <a:pt x="106" y="44"/>
                    </a:lnTo>
                    <a:lnTo>
                      <a:pt x="106" y="48"/>
                    </a:lnTo>
                    <a:lnTo>
                      <a:pt x="103" y="53"/>
                    </a:lnTo>
                    <a:lnTo>
                      <a:pt x="99" y="53"/>
                    </a:lnTo>
                    <a:lnTo>
                      <a:pt x="95" y="53"/>
                    </a:lnTo>
                    <a:lnTo>
                      <a:pt x="90" y="53"/>
                    </a:lnTo>
                    <a:lnTo>
                      <a:pt x="88" y="57"/>
                    </a:lnTo>
                    <a:lnTo>
                      <a:pt x="88" y="66"/>
                    </a:lnTo>
                    <a:lnTo>
                      <a:pt x="86" y="70"/>
                    </a:lnTo>
                    <a:lnTo>
                      <a:pt x="81" y="75"/>
                    </a:lnTo>
                    <a:lnTo>
                      <a:pt x="75" y="79"/>
                    </a:lnTo>
                    <a:lnTo>
                      <a:pt x="73" y="77"/>
                    </a:lnTo>
                    <a:lnTo>
                      <a:pt x="71" y="75"/>
                    </a:lnTo>
                    <a:lnTo>
                      <a:pt x="68" y="72"/>
                    </a:lnTo>
                    <a:lnTo>
                      <a:pt x="66" y="72"/>
                    </a:lnTo>
                    <a:lnTo>
                      <a:pt x="64" y="75"/>
                    </a:lnTo>
                    <a:lnTo>
                      <a:pt x="62" y="75"/>
                    </a:lnTo>
                    <a:lnTo>
                      <a:pt x="57" y="72"/>
                    </a:lnTo>
                    <a:lnTo>
                      <a:pt x="51" y="70"/>
                    </a:lnTo>
                    <a:lnTo>
                      <a:pt x="49" y="70"/>
                    </a:lnTo>
                    <a:lnTo>
                      <a:pt x="44" y="70"/>
                    </a:lnTo>
                    <a:lnTo>
                      <a:pt x="40" y="75"/>
                    </a:lnTo>
                    <a:lnTo>
                      <a:pt x="38" y="77"/>
                    </a:lnTo>
                    <a:lnTo>
                      <a:pt x="38" y="83"/>
                    </a:lnTo>
                    <a:lnTo>
                      <a:pt x="35" y="85"/>
                    </a:lnTo>
                    <a:lnTo>
                      <a:pt x="35" y="85"/>
                    </a:lnTo>
                    <a:lnTo>
                      <a:pt x="33" y="85"/>
                    </a:lnTo>
                    <a:lnTo>
                      <a:pt x="29" y="88"/>
                    </a:lnTo>
                    <a:lnTo>
                      <a:pt x="27" y="94"/>
                    </a:lnTo>
                    <a:lnTo>
                      <a:pt x="24" y="99"/>
                    </a:lnTo>
                    <a:lnTo>
                      <a:pt x="22" y="101"/>
                    </a:lnTo>
                    <a:lnTo>
                      <a:pt x="16" y="105"/>
                    </a:lnTo>
                    <a:lnTo>
                      <a:pt x="16" y="110"/>
                    </a:lnTo>
                    <a:lnTo>
                      <a:pt x="16" y="112"/>
                    </a:lnTo>
                    <a:lnTo>
                      <a:pt x="20" y="123"/>
                    </a:lnTo>
                    <a:lnTo>
                      <a:pt x="20" y="125"/>
                    </a:lnTo>
                    <a:lnTo>
                      <a:pt x="20" y="127"/>
                    </a:lnTo>
                    <a:lnTo>
                      <a:pt x="20" y="132"/>
                    </a:lnTo>
                    <a:lnTo>
                      <a:pt x="20" y="136"/>
                    </a:lnTo>
                    <a:lnTo>
                      <a:pt x="22" y="136"/>
                    </a:lnTo>
                    <a:lnTo>
                      <a:pt x="22" y="138"/>
                    </a:lnTo>
                    <a:lnTo>
                      <a:pt x="24" y="138"/>
                    </a:lnTo>
                    <a:lnTo>
                      <a:pt x="27" y="140"/>
                    </a:lnTo>
                    <a:lnTo>
                      <a:pt x="27" y="167"/>
                    </a:lnTo>
                    <a:lnTo>
                      <a:pt x="27" y="171"/>
                    </a:lnTo>
                    <a:lnTo>
                      <a:pt x="24" y="171"/>
                    </a:lnTo>
                    <a:lnTo>
                      <a:pt x="22" y="169"/>
                    </a:lnTo>
                    <a:lnTo>
                      <a:pt x="20" y="169"/>
                    </a:lnTo>
                    <a:lnTo>
                      <a:pt x="18" y="169"/>
                    </a:lnTo>
                    <a:lnTo>
                      <a:pt x="16" y="169"/>
                    </a:lnTo>
                    <a:lnTo>
                      <a:pt x="16" y="171"/>
                    </a:lnTo>
                    <a:lnTo>
                      <a:pt x="11" y="175"/>
                    </a:lnTo>
                    <a:lnTo>
                      <a:pt x="11" y="178"/>
                    </a:lnTo>
                    <a:lnTo>
                      <a:pt x="11" y="178"/>
                    </a:lnTo>
                    <a:lnTo>
                      <a:pt x="11" y="180"/>
                    </a:lnTo>
                    <a:lnTo>
                      <a:pt x="11" y="182"/>
                    </a:lnTo>
                    <a:lnTo>
                      <a:pt x="13" y="184"/>
                    </a:lnTo>
                    <a:lnTo>
                      <a:pt x="13" y="186"/>
                    </a:lnTo>
                    <a:lnTo>
                      <a:pt x="13" y="186"/>
                    </a:lnTo>
                    <a:lnTo>
                      <a:pt x="13" y="191"/>
                    </a:lnTo>
                    <a:lnTo>
                      <a:pt x="11" y="200"/>
                    </a:lnTo>
                    <a:lnTo>
                      <a:pt x="9" y="213"/>
                    </a:lnTo>
                    <a:lnTo>
                      <a:pt x="9" y="215"/>
                    </a:lnTo>
                    <a:lnTo>
                      <a:pt x="9" y="217"/>
                    </a:lnTo>
                    <a:lnTo>
                      <a:pt x="13" y="224"/>
                    </a:lnTo>
                    <a:lnTo>
                      <a:pt x="13" y="226"/>
                    </a:lnTo>
                    <a:lnTo>
                      <a:pt x="13" y="230"/>
                    </a:lnTo>
                    <a:lnTo>
                      <a:pt x="13" y="230"/>
                    </a:lnTo>
                    <a:lnTo>
                      <a:pt x="13" y="233"/>
                    </a:lnTo>
                    <a:lnTo>
                      <a:pt x="13" y="233"/>
                    </a:lnTo>
                    <a:lnTo>
                      <a:pt x="16" y="235"/>
                    </a:lnTo>
                    <a:lnTo>
                      <a:pt x="16" y="235"/>
                    </a:lnTo>
                    <a:lnTo>
                      <a:pt x="18" y="237"/>
                    </a:lnTo>
                    <a:lnTo>
                      <a:pt x="20" y="239"/>
                    </a:lnTo>
                    <a:lnTo>
                      <a:pt x="22" y="246"/>
                    </a:lnTo>
                    <a:lnTo>
                      <a:pt x="20" y="250"/>
                    </a:lnTo>
                    <a:lnTo>
                      <a:pt x="18" y="250"/>
                    </a:lnTo>
                    <a:lnTo>
                      <a:pt x="16" y="252"/>
                    </a:lnTo>
                    <a:lnTo>
                      <a:pt x="13" y="252"/>
                    </a:lnTo>
                    <a:lnTo>
                      <a:pt x="7" y="259"/>
                    </a:lnTo>
                    <a:lnTo>
                      <a:pt x="2" y="261"/>
                    </a:lnTo>
                    <a:lnTo>
                      <a:pt x="7" y="263"/>
                    </a:lnTo>
                    <a:lnTo>
                      <a:pt x="9" y="263"/>
                    </a:lnTo>
                    <a:lnTo>
                      <a:pt x="9" y="263"/>
                    </a:lnTo>
                    <a:lnTo>
                      <a:pt x="11" y="261"/>
                    </a:lnTo>
                    <a:lnTo>
                      <a:pt x="16" y="261"/>
                    </a:lnTo>
                    <a:lnTo>
                      <a:pt x="18" y="261"/>
                    </a:lnTo>
                    <a:lnTo>
                      <a:pt x="18" y="263"/>
                    </a:lnTo>
                    <a:lnTo>
                      <a:pt x="18" y="263"/>
                    </a:lnTo>
                    <a:lnTo>
                      <a:pt x="18" y="265"/>
                    </a:lnTo>
                    <a:lnTo>
                      <a:pt x="20" y="265"/>
                    </a:lnTo>
                    <a:lnTo>
                      <a:pt x="24" y="263"/>
                    </a:lnTo>
                    <a:lnTo>
                      <a:pt x="27" y="261"/>
                    </a:lnTo>
                    <a:lnTo>
                      <a:pt x="29" y="261"/>
                    </a:lnTo>
                    <a:lnTo>
                      <a:pt x="31" y="261"/>
                    </a:lnTo>
                    <a:lnTo>
                      <a:pt x="31" y="261"/>
                    </a:lnTo>
                    <a:lnTo>
                      <a:pt x="33" y="263"/>
                    </a:lnTo>
                    <a:lnTo>
                      <a:pt x="33" y="263"/>
                    </a:lnTo>
                    <a:lnTo>
                      <a:pt x="38" y="265"/>
                    </a:lnTo>
                    <a:lnTo>
                      <a:pt x="42" y="265"/>
                    </a:lnTo>
                    <a:lnTo>
                      <a:pt x="44" y="268"/>
                    </a:lnTo>
                    <a:lnTo>
                      <a:pt x="46" y="270"/>
                    </a:lnTo>
                    <a:lnTo>
                      <a:pt x="46" y="270"/>
                    </a:lnTo>
                    <a:lnTo>
                      <a:pt x="46" y="272"/>
                    </a:lnTo>
                    <a:lnTo>
                      <a:pt x="46" y="274"/>
                    </a:lnTo>
                    <a:lnTo>
                      <a:pt x="46" y="276"/>
                    </a:lnTo>
                    <a:lnTo>
                      <a:pt x="44" y="279"/>
                    </a:lnTo>
                    <a:lnTo>
                      <a:pt x="33" y="287"/>
                    </a:lnTo>
                    <a:lnTo>
                      <a:pt x="33" y="290"/>
                    </a:lnTo>
                    <a:lnTo>
                      <a:pt x="33" y="292"/>
                    </a:lnTo>
                    <a:lnTo>
                      <a:pt x="33" y="294"/>
                    </a:lnTo>
                    <a:lnTo>
                      <a:pt x="33" y="296"/>
                    </a:lnTo>
                    <a:lnTo>
                      <a:pt x="35" y="298"/>
                    </a:lnTo>
                    <a:lnTo>
                      <a:pt x="38" y="298"/>
                    </a:lnTo>
                    <a:lnTo>
                      <a:pt x="40" y="301"/>
                    </a:lnTo>
                    <a:lnTo>
                      <a:pt x="42" y="301"/>
                    </a:lnTo>
                    <a:lnTo>
                      <a:pt x="40" y="303"/>
                    </a:lnTo>
                    <a:lnTo>
                      <a:pt x="40" y="309"/>
                    </a:lnTo>
                    <a:lnTo>
                      <a:pt x="33" y="316"/>
                    </a:lnTo>
                    <a:lnTo>
                      <a:pt x="18" y="318"/>
                    </a:lnTo>
                    <a:lnTo>
                      <a:pt x="13" y="320"/>
                    </a:lnTo>
                    <a:lnTo>
                      <a:pt x="11" y="323"/>
                    </a:lnTo>
                    <a:lnTo>
                      <a:pt x="9" y="323"/>
                    </a:lnTo>
                    <a:lnTo>
                      <a:pt x="5" y="327"/>
                    </a:lnTo>
                    <a:lnTo>
                      <a:pt x="5" y="329"/>
                    </a:lnTo>
                    <a:lnTo>
                      <a:pt x="2" y="331"/>
                    </a:lnTo>
                    <a:lnTo>
                      <a:pt x="0" y="333"/>
                    </a:lnTo>
                    <a:lnTo>
                      <a:pt x="0" y="336"/>
                    </a:lnTo>
                    <a:lnTo>
                      <a:pt x="2" y="338"/>
                    </a:lnTo>
                    <a:lnTo>
                      <a:pt x="5" y="342"/>
                    </a:lnTo>
                    <a:lnTo>
                      <a:pt x="5" y="344"/>
                    </a:lnTo>
                    <a:lnTo>
                      <a:pt x="5" y="347"/>
                    </a:lnTo>
                    <a:lnTo>
                      <a:pt x="5" y="347"/>
                    </a:lnTo>
                    <a:lnTo>
                      <a:pt x="2" y="353"/>
                    </a:lnTo>
                    <a:lnTo>
                      <a:pt x="5" y="360"/>
                    </a:lnTo>
                    <a:lnTo>
                      <a:pt x="5" y="362"/>
                    </a:lnTo>
                    <a:lnTo>
                      <a:pt x="7" y="364"/>
                    </a:lnTo>
                    <a:lnTo>
                      <a:pt x="9" y="364"/>
                    </a:lnTo>
                    <a:lnTo>
                      <a:pt x="11" y="364"/>
                    </a:lnTo>
                    <a:lnTo>
                      <a:pt x="13" y="364"/>
                    </a:lnTo>
                    <a:lnTo>
                      <a:pt x="16" y="364"/>
                    </a:lnTo>
                    <a:lnTo>
                      <a:pt x="18" y="366"/>
                    </a:lnTo>
                    <a:lnTo>
                      <a:pt x="18" y="369"/>
                    </a:lnTo>
                    <a:lnTo>
                      <a:pt x="22" y="380"/>
                    </a:lnTo>
                    <a:lnTo>
                      <a:pt x="24" y="386"/>
                    </a:lnTo>
                    <a:lnTo>
                      <a:pt x="27" y="388"/>
                    </a:lnTo>
                    <a:lnTo>
                      <a:pt x="31" y="391"/>
                    </a:lnTo>
                    <a:lnTo>
                      <a:pt x="35" y="391"/>
                    </a:lnTo>
                    <a:lnTo>
                      <a:pt x="40" y="391"/>
                    </a:lnTo>
                    <a:lnTo>
                      <a:pt x="44" y="393"/>
                    </a:lnTo>
                    <a:lnTo>
                      <a:pt x="53" y="395"/>
                    </a:lnTo>
                    <a:lnTo>
                      <a:pt x="55" y="397"/>
                    </a:lnTo>
                    <a:lnTo>
                      <a:pt x="57" y="397"/>
                    </a:lnTo>
                    <a:lnTo>
                      <a:pt x="57" y="399"/>
                    </a:lnTo>
                    <a:lnTo>
                      <a:pt x="57" y="402"/>
                    </a:lnTo>
                    <a:lnTo>
                      <a:pt x="57" y="404"/>
                    </a:lnTo>
                    <a:lnTo>
                      <a:pt x="57" y="406"/>
                    </a:lnTo>
                    <a:lnTo>
                      <a:pt x="55" y="408"/>
                    </a:lnTo>
                    <a:lnTo>
                      <a:pt x="53" y="410"/>
                    </a:lnTo>
                    <a:lnTo>
                      <a:pt x="51" y="410"/>
                    </a:lnTo>
                    <a:lnTo>
                      <a:pt x="49" y="412"/>
                    </a:lnTo>
                    <a:lnTo>
                      <a:pt x="42" y="421"/>
                    </a:lnTo>
                    <a:lnTo>
                      <a:pt x="38" y="423"/>
                    </a:lnTo>
                    <a:lnTo>
                      <a:pt x="33" y="426"/>
                    </a:lnTo>
                    <a:lnTo>
                      <a:pt x="31" y="428"/>
                    </a:lnTo>
                    <a:lnTo>
                      <a:pt x="29" y="430"/>
                    </a:lnTo>
                    <a:lnTo>
                      <a:pt x="29" y="432"/>
                    </a:lnTo>
                    <a:lnTo>
                      <a:pt x="29" y="448"/>
                    </a:lnTo>
                    <a:lnTo>
                      <a:pt x="29" y="450"/>
                    </a:lnTo>
                    <a:lnTo>
                      <a:pt x="27" y="450"/>
                    </a:lnTo>
                    <a:lnTo>
                      <a:pt x="27" y="452"/>
                    </a:lnTo>
                    <a:lnTo>
                      <a:pt x="24" y="452"/>
                    </a:lnTo>
                    <a:lnTo>
                      <a:pt x="22" y="452"/>
                    </a:lnTo>
                    <a:lnTo>
                      <a:pt x="20" y="481"/>
                    </a:lnTo>
                    <a:lnTo>
                      <a:pt x="24" y="487"/>
                    </a:lnTo>
                    <a:lnTo>
                      <a:pt x="24" y="487"/>
                    </a:lnTo>
                    <a:lnTo>
                      <a:pt x="24" y="491"/>
                    </a:lnTo>
                    <a:lnTo>
                      <a:pt x="24" y="494"/>
                    </a:lnTo>
                    <a:lnTo>
                      <a:pt x="24" y="496"/>
                    </a:lnTo>
                    <a:lnTo>
                      <a:pt x="22" y="498"/>
                    </a:lnTo>
                    <a:lnTo>
                      <a:pt x="20" y="502"/>
                    </a:lnTo>
                    <a:lnTo>
                      <a:pt x="18" y="505"/>
                    </a:lnTo>
                    <a:lnTo>
                      <a:pt x="18" y="507"/>
                    </a:lnTo>
                    <a:lnTo>
                      <a:pt x="16" y="511"/>
                    </a:lnTo>
                    <a:lnTo>
                      <a:pt x="16" y="513"/>
                    </a:lnTo>
                    <a:lnTo>
                      <a:pt x="18" y="516"/>
                    </a:lnTo>
                    <a:lnTo>
                      <a:pt x="18" y="516"/>
                    </a:lnTo>
                    <a:lnTo>
                      <a:pt x="22" y="518"/>
                    </a:lnTo>
                    <a:lnTo>
                      <a:pt x="29" y="520"/>
                    </a:lnTo>
                    <a:lnTo>
                      <a:pt x="42" y="524"/>
                    </a:lnTo>
                    <a:lnTo>
                      <a:pt x="44" y="524"/>
                    </a:lnTo>
                    <a:lnTo>
                      <a:pt x="51" y="527"/>
                    </a:lnTo>
                    <a:lnTo>
                      <a:pt x="55" y="529"/>
                    </a:lnTo>
                    <a:lnTo>
                      <a:pt x="64" y="538"/>
                    </a:lnTo>
                    <a:lnTo>
                      <a:pt x="68" y="540"/>
                    </a:lnTo>
                    <a:lnTo>
                      <a:pt x="71" y="542"/>
                    </a:lnTo>
                    <a:lnTo>
                      <a:pt x="71" y="544"/>
                    </a:lnTo>
                    <a:lnTo>
                      <a:pt x="71" y="546"/>
                    </a:lnTo>
                    <a:lnTo>
                      <a:pt x="75" y="555"/>
                    </a:lnTo>
                    <a:lnTo>
                      <a:pt x="77" y="557"/>
                    </a:lnTo>
                    <a:lnTo>
                      <a:pt x="77" y="560"/>
                    </a:lnTo>
                    <a:lnTo>
                      <a:pt x="77" y="562"/>
                    </a:lnTo>
                    <a:lnTo>
                      <a:pt x="77" y="562"/>
                    </a:lnTo>
                    <a:lnTo>
                      <a:pt x="75" y="568"/>
                    </a:lnTo>
                    <a:lnTo>
                      <a:pt x="75" y="571"/>
                    </a:lnTo>
                    <a:lnTo>
                      <a:pt x="75" y="573"/>
                    </a:lnTo>
                    <a:lnTo>
                      <a:pt x="75" y="575"/>
                    </a:lnTo>
                    <a:lnTo>
                      <a:pt x="86" y="581"/>
                    </a:lnTo>
                    <a:lnTo>
                      <a:pt x="86" y="581"/>
                    </a:lnTo>
                    <a:lnTo>
                      <a:pt x="88" y="581"/>
                    </a:lnTo>
                    <a:lnTo>
                      <a:pt x="90" y="577"/>
                    </a:lnTo>
                    <a:lnTo>
                      <a:pt x="90" y="577"/>
                    </a:lnTo>
                    <a:lnTo>
                      <a:pt x="92" y="577"/>
                    </a:lnTo>
                    <a:lnTo>
                      <a:pt x="92" y="577"/>
                    </a:lnTo>
                    <a:lnTo>
                      <a:pt x="92" y="575"/>
                    </a:lnTo>
                    <a:lnTo>
                      <a:pt x="92" y="575"/>
                    </a:lnTo>
                    <a:lnTo>
                      <a:pt x="95" y="573"/>
                    </a:lnTo>
                    <a:lnTo>
                      <a:pt x="95" y="571"/>
                    </a:lnTo>
                    <a:lnTo>
                      <a:pt x="95" y="568"/>
                    </a:lnTo>
                    <a:lnTo>
                      <a:pt x="95" y="568"/>
                    </a:lnTo>
                    <a:lnTo>
                      <a:pt x="97" y="566"/>
                    </a:lnTo>
                    <a:lnTo>
                      <a:pt x="99" y="564"/>
                    </a:lnTo>
                    <a:lnTo>
                      <a:pt x="101" y="562"/>
                    </a:lnTo>
                    <a:lnTo>
                      <a:pt x="106" y="562"/>
                    </a:lnTo>
                    <a:lnTo>
                      <a:pt x="106" y="562"/>
                    </a:lnTo>
                    <a:lnTo>
                      <a:pt x="106" y="562"/>
                    </a:lnTo>
                    <a:lnTo>
                      <a:pt x="112" y="562"/>
                    </a:lnTo>
                    <a:lnTo>
                      <a:pt x="114" y="562"/>
                    </a:lnTo>
                    <a:lnTo>
                      <a:pt x="121" y="557"/>
                    </a:lnTo>
                    <a:lnTo>
                      <a:pt x="128" y="555"/>
                    </a:lnTo>
                    <a:lnTo>
                      <a:pt x="128" y="555"/>
                    </a:lnTo>
                    <a:lnTo>
                      <a:pt x="130" y="555"/>
                    </a:lnTo>
                    <a:lnTo>
                      <a:pt x="136" y="557"/>
                    </a:lnTo>
                    <a:lnTo>
                      <a:pt x="141" y="560"/>
                    </a:lnTo>
                    <a:lnTo>
                      <a:pt x="143" y="560"/>
                    </a:lnTo>
                    <a:lnTo>
                      <a:pt x="143" y="560"/>
                    </a:lnTo>
                    <a:lnTo>
                      <a:pt x="147" y="560"/>
                    </a:lnTo>
                    <a:lnTo>
                      <a:pt x="150" y="557"/>
                    </a:lnTo>
                    <a:lnTo>
                      <a:pt x="152" y="557"/>
                    </a:lnTo>
                    <a:lnTo>
                      <a:pt x="158" y="557"/>
                    </a:lnTo>
                    <a:lnTo>
                      <a:pt x="163" y="557"/>
                    </a:lnTo>
                    <a:lnTo>
                      <a:pt x="165" y="557"/>
                    </a:lnTo>
                    <a:lnTo>
                      <a:pt x="172" y="564"/>
                    </a:lnTo>
                    <a:lnTo>
                      <a:pt x="178" y="568"/>
                    </a:lnTo>
                    <a:lnTo>
                      <a:pt x="182" y="571"/>
                    </a:lnTo>
                    <a:lnTo>
                      <a:pt x="189" y="573"/>
                    </a:lnTo>
                    <a:lnTo>
                      <a:pt x="198" y="571"/>
                    </a:lnTo>
                    <a:lnTo>
                      <a:pt x="200" y="573"/>
                    </a:lnTo>
                    <a:lnTo>
                      <a:pt x="202" y="573"/>
                    </a:lnTo>
                    <a:lnTo>
                      <a:pt x="202" y="575"/>
                    </a:lnTo>
                    <a:lnTo>
                      <a:pt x="204" y="577"/>
                    </a:lnTo>
                    <a:lnTo>
                      <a:pt x="207" y="579"/>
                    </a:lnTo>
                    <a:lnTo>
                      <a:pt x="211" y="579"/>
                    </a:lnTo>
                    <a:lnTo>
                      <a:pt x="213" y="581"/>
                    </a:lnTo>
                    <a:lnTo>
                      <a:pt x="215" y="581"/>
                    </a:lnTo>
                    <a:lnTo>
                      <a:pt x="218" y="584"/>
                    </a:lnTo>
                    <a:lnTo>
                      <a:pt x="218" y="586"/>
                    </a:lnTo>
                    <a:lnTo>
                      <a:pt x="218" y="592"/>
                    </a:lnTo>
                    <a:lnTo>
                      <a:pt x="218" y="595"/>
                    </a:lnTo>
                    <a:lnTo>
                      <a:pt x="222" y="595"/>
                    </a:lnTo>
                    <a:lnTo>
                      <a:pt x="224" y="592"/>
                    </a:lnTo>
                    <a:lnTo>
                      <a:pt x="229" y="592"/>
                    </a:lnTo>
                    <a:lnTo>
                      <a:pt x="231" y="590"/>
                    </a:lnTo>
                    <a:lnTo>
                      <a:pt x="240" y="586"/>
                    </a:lnTo>
                    <a:lnTo>
                      <a:pt x="246" y="577"/>
                    </a:lnTo>
                    <a:lnTo>
                      <a:pt x="251" y="575"/>
                    </a:lnTo>
                    <a:lnTo>
                      <a:pt x="253" y="575"/>
                    </a:lnTo>
                    <a:lnTo>
                      <a:pt x="253" y="577"/>
                    </a:lnTo>
                    <a:lnTo>
                      <a:pt x="255" y="579"/>
                    </a:lnTo>
                    <a:lnTo>
                      <a:pt x="257" y="581"/>
                    </a:lnTo>
                    <a:lnTo>
                      <a:pt x="259" y="581"/>
                    </a:lnTo>
                    <a:lnTo>
                      <a:pt x="262" y="581"/>
                    </a:lnTo>
                    <a:lnTo>
                      <a:pt x="273" y="577"/>
                    </a:lnTo>
                    <a:lnTo>
                      <a:pt x="275" y="577"/>
                    </a:lnTo>
                    <a:lnTo>
                      <a:pt x="281" y="577"/>
                    </a:lnTo>
                    <a:lnTo>
                      <a:pt x="283" y="577"/>
                    </a:lnTo>
                    <a:lnTo>
                      <a:pt x="286" y="575"/>
                    </a:lnTo>
                    <a:lnTo>
                      <a:pt x="288" y="568"/>
                    </a:lnTo>
                    <a:lnTo>
                      <a:pt x="290" y="564"/>
                    </a:lnTo>
                    <a:lnTo>
                      <a:pt x="290" y="557"/>
                    </a:lnTo>
                    <a:lnTo>
                      <a:pt x="288" y="555"/>
                    </a:lnTo>
                    <a:lnTo>
                      <a:pt x="288" y="551"/>
                    </a:lnTo>
                    <a:lnTo>
                      <a:pt x="288" y="549"/>
                    </a:lnTo>
                    <a:lnTo>
                      <a:pt x="288" y="546"/>
                    </a:lnTo>
                    <a:lnTo>
                      <a:pt x="299" y="540"/>
                    </a:lnTo>
                    <a:lnTo>
                      <a:pt x="301" y="540"/>
                    </a:lnTo>
                    <a:lnTo>
                      <a:pt x="303" y="538"/>
                    </a:lnTo>
                    <a:lnTo>
                      <a:pt x="305" y="538"/>
                    </a:lnTo>
                    <a:lnTo>
                      <a:pt x="312" y="538"/>
                    </a:lnTo>
                    <a:lnTo>
                      <a:pt x="314" y="538"/>
                    </a:lnTo>
                    <a:lnTo>
                      <a:pt x="319" y="538"/>
                    </a:lnTo>
                    <a:lnTo>
                      <a:pt x="316" y="535"/>
                    </a:lnTo>
                    <a:lnTo>
                      <a:pt x="316" y="535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auto">
              <a:xfrm>
                <a:off x="4503738" y="3411538"/>
                <a:ext cx="566738" cy="817562"/>
              </a:xfrm>
              <a:custGeom>
                <a:avLst/>
                <a:gdLst>
                  <a:gd name="T0" fmla="*/ 329 w 357"/>
                  <a:gd name="T1" fmla="*/ 197 h 515"/>
                  <a:gd name="T2" fmla="*/ 314 w 357"/>
                  <a:gd name="T3" fmla="*/ 191 h 515"/>
                  <a:gd name="T4" fmla="*/ 287 w 357"/>
                  <a:gd name="T5" fmla="*/ 167 h 515"/>
                  <a:gd name="T6" fmla="*/ 272 w 357"/>
                  <a:gd name="T7" fmla="*/ 145 h 515"/>
                  <a:gd name="T8" fmla="*/ 254 w 357"/>
                  <a:gd name="T9" fmla="*/ 125 h 515"/>
                  <a:gd name="T10" fmla="*/ 250 w 357"/>
                  <a:gd name="T11" fmla="*/ 98 h 515"/>
                  <a:gd name="T12" fmla="*/ 219 w 357"/>
                  <a:gd name="T13" fmla="*/ 44 h 515"/>
                  <a:gd name="T14" fmla="*/ 195 w 357"/>
                  <a:gd name="T15" fmla="*/ 22 h 515"/>
                  <a:gd name="T16" fmla="*/ 188 w 357"/>
                  <a:gd name="T17" fmla="*/ 6 h 515"/>
                  <a:gd name="T18" fmla="*/ 171 w 357"/>
                  <a:gd name="T19" fmla="*/ 6 h 515"/>
                  <a:gd name="T20" fmla="*/ 147 w 357"/>
                  <a:gd name="T21" fmla="*/ 9 h 515"/>
                  <a:gd name="T22" fmla="*/ 133 w 357"/>
                  <a:gd name="T23" fmla="*/ 26 h 515"/>
                  <a:gd name="T24" fmla="*/ 98 w 357"/>
                  <a:gd name="T25" fmla="*/ 63 h 515"/>
                  <a:gd name="T26" fmla="*/ 94 w 357"/>
                  <a:gd name="T27" fmla="*/ 79 h 515"/>
                  <a:gd name="T28" fmla="*/ 81 w 357"/>
                  <a:gd name="T29" fmla="*/ 105 h 515"/>
                  <a:gd name="T30" fmla="*/ 63 w 357"/>
                  <a:gd name="T31" fmla="*/ 123 h 515"/>
                  <a:gd name="T32" fmla="*/ 11 w 357"/>
                  <a:gd name="T33" fmla="*/ 169 h 515"/>
                  <a:gd name="T34" fmla="*/ 2 w 357"/>
                  <a:gd name="T35" fmla="*/ 182 h 515"/>
                  <a:gd name="T36" fmla="*/ 4 w 357"/>
                  <a:gd name="T37" fmla="*/ 193 h 515"/>
                  <a:gd name="T38" fmla="*/ 15 w 357"/>
                  <a:gd name="T39" fmla="*/ 202 h 515"/>
                  <a:gd name="T40" fmla="*/ 13 w 357"/>
                  <a:gd name="T41" fmla="*/ 215 h 515"/>
                  <a:gd name="T42" fmla="*/ 15 w 357"/>
                  <a:gd name="T43" fmla="*/ 226 h 515"/>
                  <a:gd name="T44" fmla="*/ 19 w 357"/>
                  <a:gd name="T45" fmla="*/ 221 h 515"/>
                  <a:gd name="T46" fmla="*/ 32 w 357"/>
                  <a:gd name="T47" fmla="*/ 226 h 515"/>
                  <a:gd name="T48" fmla="*/ 26 w 357"/>
                  <a:gd name="T49" fmla="*/ 237 h 515"/>
                  <a:gd name="T50" fmla="*/ 37 w 357"/>
                  <a:gd name="T51" fmla="*/ 246 h 515"/>
                  <a:gd name="T52" fmla="*/ 46 w 357"/>
                  <a:gd name="T53" fmla="*/ 254 h 515"/>
                  <a:gd name="T54" fmla="*/ 52 w 357"/>
                  <a:gd name="T55" fmla="*/ 270 h 515"/>
                  <a:gd name="T56" fmla="*/ 52 w 357"/>
                  <a:gd name="T57" fmla="*/ 287 h 515"/>
                  <a:gd name="T58" fmla="*/ 61 w 357"/>
                  <a:gd name="T59" fmla="*/ 309 h 515"/>
                  <a:gd name="T60" fmla="*/ 81 w 357"/>
                  <a:gd name="T61" fmla="*/ 340 h 515"/>
                  <a:gd name="T62" fmla="*/ 81 w 357"/>
                  <a:gd name="T63" fmla="*/ 357 h 515"/>
                  <a:gd name="T64" fmla="*/ 81 w 357"/>
                  <a:gd name="T65" fmla="*/ 364 h 515"/>
                  <a:gd name="T66" fmla="*/ 87 w 357"/>
                  <a:gd name="T67" fmla="*/ 377 h 515"/>
                  <a:gd name="T68" fmla="*/ 92 w 357"/>
                  <a:gd name="T69" fmla="*/ 390 h 515"/>
                  <a:gd name="T70" fmla="*/ 101 w 357"/>
                  <a:gd name="T71" fmla="*/ 408 h 515"/>
                  <a:gd name="T72" fmla="*/ 107 w 357"/>
                  <a:gd name="T73" fmla="*/ 425 h 515"/>
                  <a:gd name="T74" fmla="*/ 123 w 357"/>
                  <a:gd name="T75" fmla="*/ 445 h 515"/>
                  <a:gd name="T76" fmla="*/ 129 w 357"/>
                  <a:gd name="T77" fmla="*/ 463 h 515"/>
                  <a:gd name="T78" fmla="*/ 144 w 357"/>
                  <a:gd name="T79" fmla="*/ 487 h 515"/>
                  <a:gd name="T80" fmla="*/ 158 w 357"/>
                  <a:gd name="T81" fmla="*/ 478 h 515"/>
                  <a:gd name="T82" fmla="*/ 160 w 357"/>
                  <a:gd name="T83" fmla="*/ 463 h 515"/>
                  <a:gd name="T84" fmla="*/ 166 w 357"/>
                  <a:gd name="T85" fmla="*/ 441 h 515"/>
                  <a:gd name="T86" fmla="*/ 184 w 357"/>
                  <a:gd name="T87" fmla="*/ 454 h 515"/>
                  <a:gd name="T88" fmla="*/ 169 w 357"/>
                  <a:gd name="T89" fmla="*/ 467 h 515"/>
                  <a:gd name="T90" fmla="*/ 177 w 357"/>
                  <a:gd name="T91" fmla="*/ 474 h 515"/>
                  <a:gd name="T92" fmla="*/ 195 w 357"/>
                  <a:gd name="T93" fmla="*/ 483 h 515"/>
                  <a:gd name="T94" fmla="*/ 197 w 357"/>
                  <a:gd name="T95" fmla="*/ 496 h 515"/>
                  <a:gd name="T96" fmla="*/ 199 w 357"/>
                  <a:gd name="T97" fmla="*/ 509 h 515"/>
                  <a:gd name="T98" fmla="*/ 217 w 357"/>
                  <a:gd name="T99" fmla="*/ 513 h 515"/>
                  <a:gd name="T100" fmla="*/ 272 w 357"/>
                  <a:gd name="T101" fmla="*/ 472 h 515"/>
                  <a:gd name="T102" fmla="*/ 281 w 357"/>
                  <a:gd name="T103" fmla="*/ 445 h 515"/>
                  <a:gd name="T104" fmla="*/ 327 w 357"/>
                  <a:gd name="T105" fmla="*/ 399 h 515"/>
                  <a:gd name="T106" fmla="*/ 320 w 357"/>
                  <a:gd name="T107" fmla="*/ 390 h 515"/>
                  <a:gd name="T108" fmla="*/ 309 w 357"/>
                  <a:gd name="T109" fmla="*/ 375 h 515"/>
                  <a:gd name="T110" fmla="*/ 296 w 357"/>
                  <a:gd name="T111" fmla="*/ 333 h 515"/>
                  <a:gd name="T112" fmla="*/ 316 w 357"/>
                  <a:gd name="T113" fmla="*/ 289 h 515"/>
                  <a:gd name="T114" fmla="*/ 357 w 357"/>
                  <a:gd name="T115" fmla="*/ 224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57" h="515">
                    <a:moveTo>
                      <a:pt x="355" y="215"/>
                    </a:moveTo>
                    <a:lnTo>
                      <a:pt x="351" y="210"/>
                    </a:lnTo>
                    <a:lnTo>
                      <a:pt x="344" y="208"/>
                    </a:lnTo>
                    <a:lnTo>
                      <a:pt x="335" y="204"/>
                    </a:lnTo>
                    <a:lnTo>
                      <a:pt x="331" y="202"/>
                    </a:lnTo>
                    <a:lnTo>
                      <a:pt x="329" y="197"/>
                    </a:lnTo>
                    <a:lnTo>
                      <a:pt x="327" y="197"/>
                    </a:lnTo>
                    <a:lnTo>
                      <a:pt x="327" y="197"/>
                    </a:lnTo>
                    <a:lnTo>
                      <a:pt x="327" y="195"/>
                    </a:lnTo>
                    <a:lnTo>
                      <a:pt x="325" y="193"/>
                    </a:lnTo>
                    <a:lnTo>
                      <a:pt x="325" y="193"/>
                    </a:lnTo>
                    <a:lnTo>
                      <a:pt x="314" y="191"/>
                    </a:lnTo>
                    <a:lnTo>
                      <a:pt x="311" y="188"/>
                    </a:lnTo>
                    <a:lnTo>
                      <a:pt x="309" y="188"/>
                    </a:lnTo>
                    <a:lnTo>
                      <a:pt x="305" y="180"/>
                    </a:lnTo>
                    <a:lnTo>
                      <a:pt x="296" y="173"/>
                    </a:lnTo>
                    <a:lnTo>
                      <a:pt x="296" y="171"/>
                    </a:lnTo>
                    <a:lnTo>
                      <a:pt x="287" y="167"/>
                    </a:lnTo>
                    <a:lnTo>
                      <a:pt x="285" y="167"/>
                    </a:lnTo>
                    <a:lnTo>
                      <a:pt x="274" y="156"/>
                    </a:lnTo>
                    <a:lnTo>
                      <a:pt x="270" y="151"/>
                    </a:lnTo>
                    <a:lnTo>
                      <a:pt x="270" y="149"/>
                    </a:lnTo>
                    <a:lnTo>
                      <a:pt x="270" y="147"/>
                    </a:lnTo>
                    <a:lnTo>
                      <a:pt x="272" y="145"/>
                    </a:lnTo>
                    <a:lnTo>
                      <a:pt x="270" y="142"/>
                    </a:lnTo>
                    <a:lnTo>
                      <a:pt x="270" y="140"/>
                    </a:lnTo>
                    <a:lnTo>
                      <a:pt x="263" y="131"/>
                    </a:lnTo>
                    <a:lnTo>
                      <a:pt x="263" y="129"/>
                    </a:lnTo>
                    <a:lnTo>
                      <a:pt x="256" y="127"/>
                    </a:lnTo>
                    <a:lnTo>
                      <a:pt x="254" y="125"/>
                    </a:lnTo>
                    <a:lnTo>
                      <a:pt x="254" y="123"/>
                    </a:lnTo>
                    <a:lnTo>
                      <a:pt x="254" y="114"/>
                    </a:lnTo>
                    <a:lnTo>
                      <a:pt x="254" y="112"/>
                    </a:lnTo>
                    <a:lnTo>
                      <a:pt x="252" y="107"/>
                    </a:lnTo>
                    <a:lnTo>
                      <a:pt x="250" y="101"/>
                    </a:lnTo>
                    <a:lnTo>
                      <a:pt x="250" y="98"/>
                    </a:lnTo>
                    <a:lnTo>
                      <a:pt x="250" y="98"/>
                    </a:lnTo>
                    <a:lnTo>
                      <a:pt x="250" y="90"/>
                    </a:lnTo>
                    <a:lnTo>
                      <a:pt x="248" y="85"/>
                    </a:lnTo>
                    <a:lnTo>
                      <a:pt x="243" y="79"/>
                    </a:lnTo>
                    <a:lnTo>
                      <a:pt x="230" y="63"/>
                    </a:lnTo>
                    <a:lnTo>
                      <a:pt x="219" y="44"/>
                    </a:lnTo>
                    <a:lnTo>
                      <a:pt x="217" y="41"/>
                    </a:lnTo>
                    <a:lnTo>
                      <a:pt x="215" y="41"/>
                    </a:lnTo>
                    <a:lnTo>
                      <a:pt x="215" y="39"/>
                    </a:lnTo>
                    <a:lnTo>
                      <a:pt x="210" y="37"/>
                    </a:lnTo>
                    <a:lnTo>
                      <a:pt x="197" y="26"/>
                    </a:lnTo>
                    <a:lnTo>
                      <a:pt x="195" y="22"/>
                    </a:lnTo>
                    <a:lnTo>
                      <a:pt x="193" y="19"/>
                    </a:lnTo>
                    <a:lnTo>
                      <a:pt x="193" y="17"/>
                    </a:lnTo>
                    <a:lnTo>
                      <a:pt x="193" y="15"/>
                    </a:lnTo>
                    <a:lnTo>
                      <a:pt x="193" y="13"/>
                    </a:lnTo>
                    <a:lnTo>
                      <a:pt x="191" y="9"/>
                    </a:lnTo>
                    <a:lnTo>
                      <a:pt x="188" y="6"/>
                    </a:lnTo>
                    <a:lnTo>
                      <a:pt x="188" y="2"/>
                    </a:lnTo>
                    <a:lnTo>
                      <a:pt x="188" y="0"/>
                    </a:lnTo>
                    <a:lnTo>
                      <a:pt x="186" y="2"/>
                    </a:lnTo>
                    <a:lnTo>
                      <a:pt x="182" y="4"/>
                    </a:lnTo>
                    <a:lnTo>
                      <a:pt x="175" y="6"/>
                    </a:lnTo>
                    <a:lnTo>
                      <a:pt x="171" y="6"/>
                    </a:lnTo>
                    <a:lnTo>
                      <a:pt x="164" y="11"/>
                    </a:lnTo>
                    <a:lnTo>
                      <a:pt x="162" y="11"/>
                    </a:lnTo>
                    <a:lnTo>
                      <a:pt x="160" y="11"/>
                    </a:lnTo>
                    <a:lnTo>
                      <a:pt x="153" y="11"/>
                    </a:lnTo>
                    <a:lnTo>
                      <a:pt x="149" y="11"/>
                    </a:lnTo>
                    <a:lnTo>
                      <a:pt x="147" y="9"/>
                    </a:lnTo>
                    <a:lnTo>
                      <a:pt x="144" y="9"/>
                    </a:lnTo>
                    <a:lnTo>
                      <a:pt x="142" y="9"/>
                    </a:lnTo>
                    <a:lnTo>
                      <a:pt x="140" y="11"/>
                    </a:lnTo>
                    <a:lnTo>
                      <a:pt x="140" y="13"/>
                    </a:lnTo>
                    <a:lnTo>
                      <a:pt x="136" y="22"/>
                    </a:lnTo>
                    <a:lnTo>
                      <a:pt x="133" y="26"/>
                    </a:lnTo>
                    <a:lnTo>
                      <a:pt x="131" y="28"/>
                    </a:lnTo>
                    <a:lnTo>
                      <a:pt x="103" y="55"/>
                    </a:lnTo>
                    <a:lnTo>
                      <a:pt x="101" y="57"/>
                    </a:lnTo>
                    <a:lnTo>
                      <a:pt x="101" y="59"/>
                    </a:lnTo>
                    <a:lnTo>
                      <a:pt x="101" y="61"/>
                    </a:lnTo>
                    <a:lnTo>
                      <a:pt x="98" y="63"/>
                    </a:lnTo>
                    <a:lnTo>
                      <a:pt x="96" y="70"/>
                    </a:lnTo>
                    <a:lnTo>
                      <a:pt x="94" y="70"/>
                    </a:lnTo>
                    <a:lnTo>
                      <a:pt x="94" y="72"/>
                    </a:lnTo>
                    <a:lnTo>
                      <a:pt x="94" y="74"/>
                    </a:lnTo>
                    <a:lnTo>
                      <a:pt x="94" y="77"/>
                    </a:lnTo>
                    <a:lnTo>
                      <a:pt x="94" y="79"/>
                    </a:lnTo>
                    <a:lnTo>
                      <a:pt x="87" y="90"/>
                    </a:lnTo>
                    <a:lnTo>
                      <a:pt x="81" y="96"/>
                    </a:lnTo>
                    <a:lnTo>
                      <a:pt x="79" y="98"/>
                    </a:lnTo>
                    <a:lnTo>
                      <a:pt x="79" y="101"/>
                    </a:lnTo>
                    <a:lnTo>
                      <a:pt x="79" y="103"/>
                    </a:lnTo>
                    <a:lnTo>
                      <a:pt x="81" y="105"/>
                    </a:lnTo>
                    <a:lnTo>
                      <a:pt x="81" y="109"/>
                    </a:lnTo>
                    <a:lnTo>
                      <a:pt x="76" y="120"/>
                    </a:lnTo>
                    <a:lnTo>
                      <a:pt x="74" y="120"/>
                    </a:lnTo>
                    <a:lnTo>
                      <a:pt x="74" y="120"/>
                    </a:lnTo>
                    <a:lnTo>
                      <a:pt x="70" y="120"/>
                    </a:lnTo>
                    <a:lnTo>
                      <a:pt x="63" y="123"/>
                    </a:lnTo>
                    <a:lnTo>
                      <a:pt x="59" y="123"/>
                    </a:lnTo>
                    <a:lnTo>
                      <a:pt x="50" y="129"/>
                    </a:lnTo>
                    <a:lnTo>
                      <a:pt x="24" y="138"/>
                    </a:lnTo>
                    <a:lnTo>
                      <a:pt x="17" y="145"/>
                    </a:lnTo>
                    <a:lnTo>
                      <a:pt x="13" y="151"/>
                    </a:lnTo>
                    <a:lnTo>
                      <a:pt x="11" y="169"/>
                    </a:lnTo>
                    <a:lnTo>
                      <a:pt x="8" y="175"/>
                    </a:lnTo>
                    <a:lnTo>
                      <a:pt x="8" y="175"/>
                    </a:lnTo>
                    <a:lnTo>
                      <a:pt x="6" y="177"/>
                    </a:lnTo>
                    <a:lnTo>
                      <a:pt x="2" y="177"/>
                    </a:lnTo>
                    <a:lnTo>
                      <a:pt x="2" y="182"/>
                    </a:lnTo>
                    <a:lnTo>
                      <a:pt x="2" y="182"/>
                    </a:lnTo>
                    <a:lnTo>
                      <a:pt x="0" y="182"/>
                    </a:lnTo>
                    <a:lnTo>
                      <a:pt x="0" y="184"/>
                    </a:lnTo>
                    <a:lnTo>
                      <a:pt x="4" y="186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4" y="193"/>
                    </a:lnTo>
                    <a:lnTo>
                      <a:pt x="4" y="195"/>
                    </a:lnTo>
                    <a:lnTo>
                      <a:pt x="6" y="199"/>
                    </a:lnTo>
                    <a:lnTo>
                      <a:pt x="8" y="199"/>
                    </a:lnTo>
                    <a:lnTo>
                      <a:pt x="11" y="199"/>
                    </a:lnTo>
                    <a:lnTo>
                      <a:pt x="13" y="199"/>
                    </a:lnTo>
                    <a:lnTo>
                      <a:pt x="15" y="202"/>
                    </a:lnTo>
                    <a:lnTo>
                      <a:pt x="17" y="204"/>
                    </a:lnTo>
                    <a:lnTo>
                      <a:pt x="19" y="208"/>
                    </a:lnTo>
                    <a:lnTo>
                      <a:pt x="19" y="213"/>
                    </a:lnTo>
                    <a:lnTo>
                      <a:pt x="19" y="215"/>
                    </a:lnTo>
                    <a:lnTo>
                      <a:pt x="17" y="217"/>
                    </a:lnTo>
                    <a:lnTo>
                      <a:pt x="13" y="215"/>
                    </a:lnTo>
                    <a:lnTo>
                      <a:pt x="11" y="215"/>
                    </a:lnTo>
                    <a:lnTo>
                      <a:pt x="8" y="215"/>
                    </a:lnTo>
                    <a:lnTo>
                      <a:pt x="11" y="217"/>
                    </a:lnTo>
                    <a:lnTo>
                      <a:pt x="11" y="219"/>
                    </a:lnTo>
                    <a:lnTo>
                      <a:pt x="13" y="221"/>
                    </a:lnTo>
                    <a:lnTo>
                      <a:pt x="15" y="226"/>
                    </a:lnTo>
                    <a:lnTo>
                      <a:pt x="19" y="230"/>
                    </a:lnTo>
                    <a:lnTo>
                      <a:pt x="22" y="230"/>
                    </a:lnTo>
                    <a:lnTo>
                      <a:pt x="22" y="228"/>
                    </a:lnTo>
                    <a:lnTo>
                      <a:pt x="19" y="226"/>
                    </a:lnTo>
                    <a:lnTo>
                      <a:pt x="19" y="224"/>
                    </a:lnTo>
                    <a:lnTo>
                      <a:pt x="19" y="221"/>
                    </a:lnTo>
                    <a:lnTo>
                      <a:pt x="19" y="219"/>
                    </a:lnTo>
                    <a:lnTo>
                      <a:pt x="22" y="219"/>
                    </a:lnTo>
                    <a:lnTo>
                      <a:pt x="24" y="217"/>
                    </a:lnTo>
                    <a:lnTo>
                      <a:pt x="28" y="219"/>
                    </a:lnTo>
                    <a:lnTo>
                      <a:pt x="30" y="221"/>
                    </a:lnTo>
                    <a:lnTo>
                      <a:pt x="32" y="226"/>
                    </a:lnTo>
                    <a:lnTo>
                      <a:pt x="32" y="228"/>
                    </a:lnTo>
                    <a:lnTo>
                      <a:pt x="30" y="232"/>
                    </a:lnTo>
                    <a:lnTo>
                      <a:pt x="28" y="232"/>
                    </a:lnTo>
                    <a:lnTo>
                      <a:pt x="28" y="235"/>
                    </a:lnTo>
                    <a:lnTo>
                      <a:pt x="26" y="237"/>
                    </a:lnTo>
                    <a:lnTo>
                      <a:pt x="26" y="237"/>
                    </a:lnTo>
                    <a:lnTo>
                      <a:pt x="28" y="239"/>
                    </a:lnTo>
                    <a:lnTo>
                      <a:pt x="28" y="241"/>
                    </a:lnTo>
                    <a:lnTo>
                      <a:pt x="28" y="243"/>
                    </a:lnTo>
                    <a:lnTo>
                      <a:pt x="32" y="248"/>
                    </a:lnTo>
                    <a:lnTo>
                      <a:pt x="35" y="246"/>
                    </a:lnTo>
                    <a:lnTo>
                      <a:pt x="37" y="246"/>
                    </a:lnTo>
                    <a:lnTo>
                      <a:pt x="39" y="248"/>
                    </a:lnTo>
                    <a:lnTo>
                      <a:pt x="41" y="250"/>
                    </a:lnTo>
                    <a:lnTo>
                      <a:pt x="43" y="250"/>
                    </a:lnTo>
                    <a:lnTo>
                      <a:pt x="43" y="252"/>
                    </a:lnTo>
                    <a:lnTo>
                      <a:pt x="46" y="254"/>
                    </a:lnTo>
                    <a:lnTo>
                      <a:pt x="46" y="254"/>
                    </a:lnTo>
                    <a:lnTo>
                      <a:pt x="43" y="256"/>
                    </a:lnTo>
                    <a:lnTo>
                      <a:pt x="43" y="259"/>
                    </a:lnTo>
                    <a:lnTo>
                      <a:pt x="43" y="263"/>
                    </a:lnTo>
                    <a:lnTo>
                      <a:pt x="48" y="267"/>
                    </a:lnTo>
                    <a:lnTo>
                      <a:pt x="50" y="267"/>
                    </a:lnTo>
                    <a:lnTo>
                      <a:pt x="52" y="270"/>
                    </a:lnTo>
                    <a:lnTo>
                      <a:pt x="50" y="272"/>
                    </a:lnTo>
                    <a:lnTo>
                      <a:pt x="48" y="274"/>
                    </a:lnTo>
                    <a:lnTo>
                      <a:pt x="50" y="278"/>
                    </a:lnTo>
                    <a:lnTo>
                      <a:pt x="50" y="283"/>
                    </a:lnTo>
                    <a:lnTo>
                      <a:pt x="50" y="285"/>
                    </a:lnTo>
                    <a:lnTo>
                      <a:pt x="52" y="287"/>
                    </a:lnTo>
                    <a:lnTo>
                      <a:pt x="54" y="289"/>
                    </a:lnTo>
                    <a:lnTo>
                      <a:pt x="54" y="296"/>
                    </a:lnTo>
                    <a:lnTo>
                      <a:pt x="54" y="300"/>
                    </a:lnTo>
                    <a:lnTo>
                      <a:pt x="57" y="305"/>
                    </a:lnTo>
                    <a:lnTo>
                      <a:pt x="59" y="307"/>
                    </a:lnTo>
                    <a:lnTo>
                      <a:pt x="61" y="309"/>
                    </a:lnTo>
                    <a:lnTo>
                      <a:pt x="63" y="314"/>
                    </a:lnTo>
                    <a:lnTo>
                      <a:pt x="65" y="316"/>
                    </a:lnTo>
                    <a:lnTo>
                      <a:pt x="68" y="320"/>
                    </a:lnTo>
                    <a:lnTo>
                      <a:pt x="74" y="329"/>
                    </a:lnTo>
                    <a:lnTo>
                      <a:pt x="81" y="336"/>
                    </a:lnTo>
                    <a:lnTo>
                      <a:pt x="81" y="340"/>
                    </a:lnTo>
                    <a:lnTo>
                      <a:pt x="79" y="342"/>
                    </a:lnTo>
                    <a:lnTo>
                      <a:pt x="79" y="346"/>
                    </a:lnTo>
                    <a:lnTo>
                      <a:pt x="79" y="351"/>
                    </a:lnTo>
                    <a:lnTo>
                      <a:pt x="79" y="351"/>
                    </a:lnTo>
                    <a:lnTo>
                      <a:pt x="81" y="355"/>
                    </a:lnTo>
                    <a:lnTo>
                      <a:pt x="81" y="357"/>
                    </a:lnTo>
                    <a:lnTo>
                      <a:pt x="81" y="360"/>
                    </a:lnTo>
                    <a:lnTo>
                      <a:pt x="81" y="362"/>
                    </a:lnTo>
                    <a:lnTo>
                      <a:pt x="79" y="362"/>
                    </a:lnTo>
                    <a:lnTo>
                      <a:pt x="79" y="364"/>
                    </a:lnTo>
                    <a:lnTo>
                      <a:pt x="79" y="364"/>
                    </a:lnTo>
                    <a:lnTo>
                      <a:pt x="81" y="364"/>
                    </a:lnTo>
                    <a:lnTo>
                      <a:pt x="81" y="366"/>
                    </a:lnTo>
                    <a:lnTo>
                      <a:pt x="83" y="366"/>
                    </a:lnTo>
                    <a:lnTo>
                      <a:pt x="83" y="368"/>
                    </a:lnTo>
                    <a:lnTo>
                      <a:pt x="85" y="371"/>
                    </a:lnTo>
                    <a:lnTo>
                      <a:pt x="87" y="373"/>
                    </a:lnTo>
                    <a:lnTo>
                      <a:pt x="87" y="377"/>
                    </a:lnTo>
                    <a:lnTo>
                      <a:pt x="90" y="382"/>
                    </a:lnTo>
                    <a:lnTo>
                      <a:pt x="90" y="384"/>
                    </a:lnTo>
                    <a:lnTo>
                      <a:pt x="90" y="386"/>
                    </a:lnTo>
                    <a:lnTo>
                      <a:pt x="90" y="386"/>
                    </a:lnTo>
                    <a:lnTo>
                      <a:pt x="92" y="388"/>
                    </a:lnTo>
                    <a:lnTo>
                      <a:pt x="92" y="390"/>
                    </a:lnTo>
                    <a:lnTo>
                      <a:pt x="92" y="393"/>
                    </a:lnTo>
                    <a:lnTo>
                      <a:pt x="90" y="393"/>
                    </a:lnTo>
                    <a:lnTo>
                      <a:pt x="90" y="395"/>
                    </a:lnTo>
                    <a:lnTo>
                      <a:pt x="90" y="397"/>
                    </a:lnTo>
                    <a:lnTo>
                      <a:pt x="92" y="399"/>
                    </a:lnTo>
                    <a:lnTo>
                      <a:pt x="101" y="408"/>
                    </a:lnTo>
                    <a:lnTo>
                      <a:pt x="103" y="412"/>
                    </a:lnTo>
                    <a:lnTo>
                      <a:pt x="105" y="415"/>
                    </a:lnTo>
                    <a:lnTo>
                      <a:pt x="107" y="417"/>
                    </a:lnTo>
                    <a:lnTo>
                      <a:pt x="105" y="419"/>
                    </a:lnTo>
                    <a:lnTo>
                      <a:pt x="107" y="423"/>
                    </a:lnTo>
                    <a:lnTo>
                      <a:pt x="107" y="425"/>
                    </a:lnTo>
                    <a:lnTo>
                      <a:pt x="109" y="428"/>
                    </a:lnTo>
                    <a:lnTo>
                      <a:pt x="112" y="430"/>
                    </a:lnTo>
                    <a:lnTo>
                      <a:pt x="112" y="436"/>
                    </a:lnTo>
                    <a:lnTo>
                      <a:pt x="114" y="439"/>
                    </a:lnTo>
                    <a:lnTo>
                      <a:pt x="120" y="443"/>
                    </a:lnTo>
                    <a:lnTo>
                      <a:pt x="123" y="445"/>
                    </a:lnTo>
                    <a:lnTo>
                      <a:pt x="123" y="447"/>
                    </a:lnTo>
                    <a:lnTo>
                      <a:pt x="120" y="450"/>
                    </a:lnTo>
                    <a:lnTo>
                      <a:pt x="120" y="452"/>
                    </a:lnTo>
                    <a:lnTo>
                      <a:pt x="125" y="454"/>
                    </a:lnTo>
                    <a:lnTo>
                      <a:pt x="127" y="461"/>
                    </a:lnTo>
                    <a:lnTo>
                      <a:pt x="129" y="463"/>
                    </a:lnTo>
                    <a:lnTo>
                      <a:pt x="129" y="467"/>
                    </a:lnTo>
                    <a:lnTo>
                      <a:pt x="133" y="472"/>
                    </a:lnTo>
                    <a:lnTo>
                      <a:pt x="138" y="474"/>
                    </a:lnTo>
                    <a:lnTo>
                      <a:pt x="140" y="478"/>
                    </a:lnTo>
                    <a:lnTo>
                      <a:pt x="140" y="480"/>
                    </a:lnTo>
                    <a:lnTo>
                      <a:pt x="144" y="487"/>
                    </a:lnTo>
                    <a:lnTo>
                      <a:pt x="149" y="483"/>
                    </a:lnTo>
                    <a:lnTo>
                      <a:pt x="149" y="483"/>
                    </a:lnTo>
                    <a:lnTo>
                      <a:pt x="153" y="483"/>
                    </a:lnTo>
                    <a:lnTo>
                      <a:pt x="155" y="480"/>
                    </a:lnTo>
                    <a:lnTo>
                      <a:pt x="155" y="480"/>
                    </a:lnTo>
                    <a:lnTo>
                      <a:pt x="158" y="478"/>
                    </a:lnTo>
                    <a:lnTo>
                      <a:pt x="160" y="474"/>
                    </a:lnTo>
                    <a:lnTo>
                      <a:pt x="160" y="472"/>
                    </a:lnTo>
                    <a:lnTo>
                      <a:pt x="160" y="469"/>
                    </a:lnTo>
                    <a:lnTo>
                      <a:pt x="160" y="469"/>
                    </a:lnTo>
                    <a:lnTo>
                      <a:pt x="160" y="465"/>
                    </a:lnTo>
                    <a:lnTo>
                      <a:pt x="160" y="463"/>
                    </a:lnTo>
                    <a:lnTo>
                      <a:pt x="160" y="461"/>
                    </a:lnTo>
                    <a:lnTo>
                      <a:pt x="162" y="454"/>
                    </a:lnTo>
                    <a:lnTo>
                      <a:pt x="162" y="452"/>
                    </a:lnTo>
                    <a:lnTo>
                      <a:pt x="162" y="445"/>
                    </a:lnTo>
                    <a:lnTo>
                      <a:pt x="164" y="443"/>
                    </a:lnTo>
                    <a:lnTo>
                      <a:pt x="166" y="441"/>
                    </a:lnTo>
                    <a:lnTo>
                      <a:pt x="169" y="441"/>
                    </a:lnTo>
                    <a:lnTo>
                      <a:pt x="180" y="443"/>
                    </a:lnTo>
                    <a:lnTo>
                      <a:pt x="182" y="445"/>
                    </a:lnTo>
                    <a:lnTo>
                      <a:pt x="182" y="447"/>
                    </a:lnTo>
                    <a:lnTo>
                      <a:pt x="184" y="450"/>
                    </a:lnTo>
                    <a:lnTo>
                      <a:pt x="184" y="454"/>
                    </a:lnTo>
                    <a:lnTo>
                      <a:pt x="182" y="456"/>
                    </a:lnTo>
                    <a:lnTo>
                      <a:pt x="182" y="458"/>
                    </a:lnTo>
                    <a:lnTo>
                      <a:pt x="180" y="461"/>
                    </a:lnTo>
                    <a:lnTo>
                      <a:pt x="177" y="463"/>
                    </a:lnTo>
                    <a:lnTo>
                      <a:pt x="173" y="465"/>
                    </a:lnTo>
                    <a:lnTo>
                      <a:pt x="169" y="467"/>
                    </a:lnTo>
                    <a:lnTo>
                      <a:pt x="169" y="469"/>
                    </a:lnTo>
                    <a:lnTo>
                      <a:pt x="169" y="469"/>
                    </a:lnTo>
                    <a:lnTo>
                      <a:pt x="169" y="472"/>
                    </a:lnTo>
                    <a:lnTo>
                      <a:pt x="171" y="474"/>
                    </a:lnTo>
                    <a:lnTo>
                      <a:pt x="173" y="474"/>
                    </a:lnTo>
                    <a:lnTo>
                      <a:pt x="177" y="474"/>
                    </a:lnTo>
                    <a:lnTo>
                      <a:pt x="182" y="474"/>
                    </a:lnTo>
                    <a:lnTo>
                      <a:pt x="184" y="474"/>
                    </a:lnTo>
                    <a:lnTo>
                      <a:pt x="184" y="474"/>
                    </a:lnTo>
                    <a:lnTo>
                      <a:pt x="188" y="478"/>
                    </a:lnTo>
                    <a:lnTo>
                      <a:pt x="191" y="480"/>
                    </a:lnTo>
                    <a:lnTo>
                      <a:pt x="195" y="483"/>
                    </a:lnTo>
                    <a:lnTo>
                      <a:pt x="197" y="483"/>
                    </a:lnTo>
                    <a:lnTo>
                      <a:pt x="199" y="485"/>
                    </a:lnTo>
                    <a:lnTo>
                      <a:pt x="199" y="487"/>
                    </a:lnTo>
                    <a:lnTo>
                      <a:pt x="199" y="489"/>
                    </a:lnTo>
                    <a:lnTo>
                      <a:pt x="197" y="494"/>
                    </a:lnTo>
                    <a:lnTo>
                      <a:pt x="197" y="496"/>
                    </a:lnTo>
                    <a:lnTo>
                      <a:pt x="197" y="498"/>
                    </a:lnTo>
                    <a:lnTo>
                      <a:pt x="197" y="500"/>
                    </a:lnTo>
                    <a:lnTo>
                      <a:pt x="197" y="500"/>
                    </a:lnTo>
                    <a:lnTo>
                      <a:pt x="199" y="504"/>
                    </a:lnTo>
                    <a:lnTo>
                      <a:pt x="199" y="507"/>
                    </a:lnTo>
                    <a:lnTo>
                      <a:pt x="199" y="509"/>
                    </a:lnTo>
                    <a:lnTo>
                      <a:pt x="199" y="511"/>
                    </a:lnTo>
                    <a:lnTo>
                      <a:pt x="199" y="513"/>
                    </a:lnTo>
                    <a:lnTo>
                      <a:pt x="199" y="513"/>
                    </a:lnTo>
                    <a:lnTo>
                      <a:pt x="204" y="515"/>
                    </a:lnTo>
                    <a:lnTo>
                      <a:pt x="215" y="515"/>
                    </a:lnTo>
                    <a:lnTo>
                      <a:pt x="217" y="513"/>
                    </a:lnTo>
                    <a:lnTo>
                      <a:pt x="228" y="511"/>
                    </a:lnTo>
                    <a:lnTo>
                      <a:pt x="232" y="507"/>
                    </a:lnTo>
                    <a:lnTo>
                      <a:pt x="239" y="496"/>
                    </a:lnTo>
                    <a:lnTo>
                      <a:pt x="259" y="485"/>
                    </a:lnTo>
                    <a:lnTo>
                      <a:pt x="263" y="480"/>
                    </a:lnTo>
                    <a:lnTo>
                      <a:pt x="272" y="472"/>
                    </a:lnTo>
                    <a:lnTo>
                      <a:pt x="276" y="465"/>
                    </a:lnTo>
                    <a:lnTo>
                      <a:pt x="278" y="461"/>
                    </a:lnTo>
                    <a:lnTo>
                      <a:pt x="278" y="458"/>
                    </a:lnTo>
                    <a:lnTo>
                      <a:pt x="281" y="450"/>
                    </a:lnTo>
                    <a:lnTo>
                      <a:pt x="281" y="447"/>
                    </a:lnTo>
                    <a:lnTo>
                      <a:pt x="281" y="445"/>
                    </a:lnTo>
                    <a:lnTo>
                      <a:pt x="289" y="441"/>
                    </a:lnTo>
                    <a:lnTo>
                      <a:pt x="322" y="428"/>
                    </a:lnTo>
                    <a:lnTo>
                      <a:pt x="322" y="417"/>
                    </a:lnTo>
                    <a:lnTo>
                      <a:pt x="322" y="408"/>
                    </a:lnTo>
                    <a:lnTo>
                      <a:pt x="322" y="406"/>
                    </a:lnTo>
                    <a:lnTo>
                      <a:pt x="327" y="399"/>
                    </a:lnTo>
                    <a:lnTo>
                      <a:pt x="327" y="397"/>
                    </a:lnTo>
                    <a:lnTo>
                      <a:pt x="327" y="395"/>
                    </a:lnTo>
                    <a:lnTo>
                      <a:pt x="327" y="395"/>
                    </a:lnTo>
                    <a:lnTo>
                      <a:pt x="325" y="393"/>
                    </a:lnTo>
                    <a:lnTo>
                      <a:pt x="322" y="390"/>
                    </a:lnTo>
                    <a:lnTo>
                      <a:pt x="320" y="390"/>
                    </a:lnTo>
                    <a:lnTo>
                      <a:pt x="318" y="390"/>
                    </a:lnTo>
                    <a:lnTo>
                      <a:pt x="316" y="388"/>
                    </a:lnTo>
                    <a:lnTo>
                      <a:pt x="314" y="386"/>
                    </a:lnTo>
                    <a:lnTo>
                      <a:pt x="311" y="384"/>
                    </a:lnTo>
                    <a:lnTo>
                      <a:pt x="311" y="382"/>
                    </a:lnTo>
                    <a:lnTo>
                      <a:pt x="309" y="375"/>
                    </a:lnTo>
                    <a:lnTo>
                      <a:pt x="309" y="364"/>
                    </a:lnTo>
                    <a:lnTo>
                      <a:pt x="307" y="355"/>
                    </a:lnTo>
                    <a:lnTo>
                      <a:pt x="300" y="342"/>
                    </a:lnTo>
                    <a:lnTo>
                      <a:pt x="296" y="336"/>
                    </a:lnTo>
                    <a:lnTo>
                      <a:pt x="296" y="333"/>
                    </a:lnTo>
                    <a:lnTo>
                      <a:pt x="296" y="333"/>
                    </a:lnTo>
                    <a:lnTo>
                      <a:pt x="296" y="331"/>
                    </a:lnTo>
                    <a:lnTo>
                      <a:pt x="298" y="327"/>
                    </a:lnTo>
                    <a:lnTo>
                      <a:pt x="300" y="322"/>
                    </a:lnTo>
                    <a:lnTo>
                      <a:pt x="314" y="307"/>
                    </a:lnTo>
                    <a:lnTo>
                      <a:pt x="316" y="300"/>
                    </a:lnTo>
                    <a:lnTo>
                      <a:pt x="316" y="289"/>
                    </a:lnTo>
                    <a:lnTo>
                      <a:pt x="335" y="246"/>
                    </a:lnTo>
                    <a:lnTo>
                      <a:pt x="338" y="243"/>
                    </a:lnTo>
                    <a:lnTo>
                      <a:pt x="351" y="230"/>
                    </a:lnTo>
                    <a:lnTo>
                      <a:pt x="355" y="228"/>
                    </a:lnTo>
                    <a:lnTo>
                      <a:pt x="355" y="226"/>
                    </a:lnTo>
                    <a:lnTo>
                      <a:pt x="357" y="224"/>
                    </a:lnTo>
                    <a:lnTo>
                      <a:pt x="357" y="217"/>
                    </a:lnTo>
                    <a:lnTo>
                      <a:pt x="355" y="215"/>
                    </a:lnTo>
                    <a:lnTo>
                      <a:pt x="355" y="215"/>
                    </a:lnTo>
                    <a:close/>
                  </a:path>
                </a:pathLst>
              </a:custGeom>
              <a:solidFill>
                <a:schemeClr val="tx2"/>
              </a:solidFill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</p:grpSp>
        <p:grpSp>
          <p:nvGrpSpPr>
            <p:cNvPr id="24" name="59 Grupo"/>
            <p:cNvGrpSpPr/>
            <p:nvPr/>
          </p:nvGrpSpPr>
          <p:grpSpPr>
            <a:xfrm>
              <a:off x="3326549" y="1232450"/>
              <a:ext cx="2976563" cy="3963987"/>
              <a:chOff x="4471988" y="1049338"/>
              <a:chExt cx="2976563" cy="3963987"/>
            </a:xfrm>
            <a:solidFill>
              <a:schemeClr val="accent3"/>
            </a:solidFill>
          </p:grpSpPr>
          <p:sp>
            <p:nvSpPr>
              <p:cNvPr id="26" name="Freeform 26"/>
              <p:cNvSpPr>
                <a:spLocks/>
              </p:cNvSpPr>
              <p:nvPr/>
            </p:nvSpPr>
            <p:spPr bwMode="auto">
              <a:xfrm>
                <a:off x="5297488" y="3205163"/>
                <a:ext cx="1606550" cy="1227137"/>
              </a:xfrm>
              <a:custGeom>
                <a:avLst/>
                <a:gdLst>
                  <a:gd name="T0" fmla="*/ 962 w 1012"/>
                  <a:gd name="T1" fmla="*/ 430 h 773"/>
                  <a:gd name="T2" fmla="*/ 925 w 1012"/>
                  <a:gd name="T3" fmla="*/ 466 h 773"/>
                  <a:gd name="T4" fmla="*/ 870 w 1012"/>
                  <a:gd name="T5" fmla="*/ 503 h 773"/>
                  <a:gd name="T6" fmla="*/ 845 w 1012"/>
                  <a:gd name="T7" fmla="*/ 505 h 773"/>
                  <a:gd name="T8" fmla="*/ 705 w 1012"/>
                  <a:gd name="T9" fmla="*/ 487 h 773"/>
                  <a:gd name="T10" fmla="*/ 690 w 1012"/>
                  <a:gd name="T11" fmla="*/ 441 h 773"/>
                  <a:gd name="T12" fmla="*/ 674 w 1012"/>
                  <a:gd name="T13" fmla="*/ 415 h 773"/>
                  <a:gd name="T14" fmla="*/ 617 w 1012"/>
                  <a:gd name="T15" fmla="*/ 397 h 773"/>
                  <a:gd name="T16" fmla="*/ 527 w 1012"/>
                  <a:gd name="T17" fmla="*/ 376 h 773"/>
                  <a:gd name="T18" fmla="*/ 556 w 1012"/>
                  <a:gd name="T19" fmla="*/ 343 h 773"/>
                  <a:gd name="T20" fmla="*/ 525 w 1012"/>
                  <a:gd name="T21" fmla="*/ 275 h 773"/>
                  <a:gd name="T22" fmla="*/ 485 w 1012"/>
                  <a:gd name="T23" fmla="*/ 233 h 773"/>
                  <a:gd name="T24" fmla="*/ 470 w 1012"/>
                  <a:gd name="T25" fmla="*/ 204 h 773"/>
                  <a:gd name="T26" fmla="*/ 441 w 1012"/>
                  <a:gd name="T27" fmla="*/ 152 h 773"/>
                  <a:gd name="T28" fmla="*/ 404 w 1012"/>
                  <a:gd name="T29" fmla="*/ 103 h 773"/>
                  <a:gd name="T30" fmla="*/ 373 w 1012"/>
                  <a:gd name="T31" fmla="*/ 49 h 773"/>
                  <a:gd name="T32" fmla="*/ 325 w 1012"/>
                  <a:gd name="T33" fmla="*/ 18 h 773"/>
                  <a:gd name="T34" fmla="*/ 255 w 1012"/>
                  <a:gd name="T35" fmla="*/ 7 h 773"/>
                  <a:gd name="T36" fmla="*/ 264 w 1012"/>
                  <a:gd name="T37" fmla="*/ 103 h 773"/>
                  <a:gd name="T38" fmla="*/ 165 w 1012"/>
                  <a:gd name="T39" fmla="*/ 143 h 773"/>
                  <a:gd name="T40" fmla="*/ 112 w 1012"/>
                  <a:gd name="T41" fmla="*/ 156 h 773"/>
                  <a:gd name="T42" fmla="*/ 88 w 1012"/>
                  <a:gd name="T43" fmla="*/ 171 h 773"/>
                  <a:gd name="T44" fmla="*/ 103 w 1012"/>
                  <a:gd name="T45" fmla="*/ 215 h 773"/>
                  <a:gd name="T46" fmla="*/ 62 w 1012"/>
                  <a:gd name="T47" fmla="*/ 200 h 773"/>
                  <a:gd name="T48" fmla="*/ 0 w 1012"/>
                  <a:gd name="T49" fmla="*/ 255 h 773"/>
                  <a:gd name="T50" fmla="*/ 20 w 1012"/>
                  <a:gd name="T51" fmla="*/ 318 h 773"/>
                  <a:gd name="T52" fmla="*/ 33 w 1012"/>
                  <a:gd name="T53" fmla="*/ 343 h 773"/>
                  <a:gd name="T54" fmla="*/ 55 w 1012"/>
                  <a:gd name="T55" fmla="*/ 386 h 773"/>
                  <a:gd name="T56" fmla="*/ 110 w 1012"/>
                  <a:gd name="T57" fmla="*/ 367 h 773"/>
                  <a:gd name="T58" fmla="*/ 147 w 1012"/>
                  <a:gd name="T59" fmla="*/ 325 h 773"/>
                  <a:gd name="T60" fmla="*/ 198 w 1012"/>
                  <a:gd name="T61" fmla="*/ 266 h 773"/>
                  <a:gd name="T62" fmla="*/ 266 w 1012"/>
                  <a:gd name="T63" fmla="*/ 248 h 773"/>
                  <a:gd name="T64" fmla="*/ 268 w 1012"/>
                  <a:gd name="T65" fmla="*/ 272 h 773"/>
                  <a:gd name="T66" fmla="*/ 242 w 1012"/>
                  <a:gd name="T67" fmla="*/ 325 h 773"/>
                  <a:gd name="T68" fmla="*/ 233 w 1012"/>
                  <a:gd name="T69" fmla="*/ 382 h 773"/>
                  <a:gd name="T70" fmla="*/ 286 w 1012"/>
                  <a:gd name="T71" fmla="*/ 474 h 773"/>
                  <a:gd name="T72" fmla="*/ 299 w 1012"/>
                  <a:gd name="T73" fmla="*/ 562 h 773"/>
                  <a:gd name="T74" fmla="*/ 334 w 1012"/>
                  <a:gd name="T75" fmla="*/ 608 h 773"/>
                  <a:gd name="T76" fmla="*/ 301 w 1012"/>
                  <a:gd name="T77" fmla="*/ 639 h 773"/>
                  <a:gd name="T78" fmla="*/ 294 w 1012"/>
                  <a:gd name="T79" fmla="*/ 703 h 773"/>
                  <a:gd name="T80" fmla="*/ 347 w 1012"/>
                  <a:gd name="T81" fmla="*/ 689 h 773"/>
                  <a:gd name="T82" fmla="*/ 387 w 1012"/>
                  <a:gd name="T83" fmla="*/ 683 h 773"/>
                  <a:gd name="T84" fmla="*/ 435 w 1012"/>
                  <a:gd name="T85" fmla="*/ 654 h 773"/>
                  <a:gd name="T86" fmla="*/ 457 w 1012"/>
                  <a:gd name="T87" fmla="*/ 729 h 773"/>
                  <a:gd name="T88" fmla="*/ 536 w 1012"/>
                  <a:gd name="T89" fmla="*/ 746 h 773"/>
                  <a:gd name="T90" fmla="*/ 558 w 1012"/>
                  <a:gd name="T91" fmla="*/ 738 h 773"/>
                  <a:gd name="T92" fmla="*/ 584 w 1012"/>
                  <a:gd name="T93" fmla="*/ 762 h 773"/>
                  <a:gd name="T94" fmla="*/ 608 w 1012"/>
                  <a:gd name="T95" fmla="*/ 762 h 773"/>
                  <a:gd name="T96" fmla="*/ 637 w 1012"/>
                  <a:gd name="T97" fmla="*/ 773 h 773"/>
                  <a:gd name="T98" fmla="*/ 670 w 1012"/>
                  <a:gd name="T99" fmla="*/ 753 h 773"/>
                  <a:gd name="T100" fmla="*/ 705 w 1012"/>
                  <a:gd name="T101" fmla="*/ 751 h 773"/>
                  <a:gd name="T102" fmla="*/ 712 w 1012"/>
                  <a:gd name="T103" fmla="*/ 687 h 773"/>
                  <a:gd name="T104" fmla="*/ 744 w 1012"/>
                  <a:gd name="T105" fmla="*/ 692 h 773"/>
                  <a:gd name="T106" fmla="*/ 918 w 1012"/>
                  <a:gd name="T107" fmla="*/ 610 h 773"/>
                  <a:gd name="T108" fmla="*/ 962 w 1012"/>
                  <a:gd name="T109" fmla="*/ 518 h 773"/>
                  <a:gd name="T110" fmla="*/ 999 w 1012"/>
                  <a:gd name="T111" fmla="*/ 461 h 773"/>
                  <a:gd name="T112" fmla="*/ 1008 w 1012"/>
                  <a:gd name="T113" fmla="*/ 444 h 773"/>
                  <a:gd name="T114" fmla="*/ 1004 w 1012"/>
                  <a:gd name="T115" fmla="*/ 422 h 773"/>
                  <a:gd name="T116" fmla="*/ 1010 w 1012"/>
                  <a:gd name="T117" fmla="*/ 406 h 7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12" h="773">
                    <a:moveTo>
                      <a:pt x="1012" y="395"/>
                    </a:moveTo>
                    <a:lnTo>
                      <a:pt x="1006" y="397"/>
                    </a:lnTo>
                    <a:lnTo>
                      <a:pt x="1001" y="397"/>
                    </a:lnTo>
                    <a:lnTo>
                      <a:pt x="997" y="400"/>
                    </a:lnTo>
                    <a:lnTo>
                      <a:pt x="995" y="402"/>
                    </a:lnTo>
                    <a:lnTo>
                      <a:pt x="988" y="411"/>
                    </a:lnTo>
                    <a:lnTo>
                      <a:pt x="984" y="415"/>
                    </a:lnTo>
                    <a:lnTo>
                      <a:pt x="971" y="422"/>
                    </a:lnTo>
                    <a:lnTo>
                      <a:pt x="968" y="424"/>
                    </a:lnTo>
                    <a:lnTo>
                      <a:pt x="962" y="430"/>
                    </a:lnTo>
                    <a:lnTo>
                      <a:pt x="957" y="435"/>
                    </a:lnTo>
                    <a:lnTo>
                      <a:pt x="949" y="439"/>
                    </a:lnTo>
                    <a:lnTo>
                      <a:pt x="944" y="444"/>
                    </a:lnTo>
                    <a:lnTo>
                      <a:pt x="940" y="450"/>
                    </a:lnTo>
                    <a:lnTo>
                      <a:pt x="938" y="452"/>
                    </a:lnTo>
                    <a:lnTo>
                      <a:pt x="933" y="455"/>
                    </a:lnTo>
                    <a:lnTo>
                      <a:pt x="931" y="457"/>
                    </a:lnTo>
                    <a:lnTo>
                      <a:pt x="929" y="459"/>
                    </a:lnTo>
                    <a:lnTo>
                      <a:pt x="927" y="463"/>
                    </a:lnTo>
                    <a:lnTo>
                      <a:pt x="925" y="466"/>
                    </a:lnTo>
                    <a:lnTo>
                      <a:pt x="922" y="470"/>
                    </a:lnTo>
                    <a:lnTo>
                      <a:pt x="911" y="472"/>
                    </a:lnTo>
                    <a:lnTo>
                      <a:pt x="898" y="479"/>
                    </a:lnTo>
                    <a:lnTo>
                      <a:pt x="894" y="481"/>
                    </a:lnTo>
                    <a:lnTo>
                      <a:pt x="892" y="483"/>
                    </a:lnTo>
                    <a:lnTo>
                      <a:pt x="892" y="487"/>
                    </a:lnTo>
                    <a:lnTo>
                      <a:pt x="887" y="492"/>
                    </a:lnTo>
                    <a:lnTo>
                      <a:pt x="878" y="496"/>
                    </a:lnTo>
                    <a:lnTo>
                      <a:pt x="872" y="501"/>
                    </a:lnTo>
                    <a:lnTo>
                      <a:pt x="870" y="503"/>
                    </a:lnTo>
                    <a:lnTo>
                      <a:pt x="867" y="503"/>
                    </a:lnTo>
                    <a:lnTo>
                      <a:pt x="865" y="501"/>
                    </a:lnTo>
                    <a:lnTo>
                      <a:pt x="863" y="501"/>
                    </a:lnTo>
                    <a:lnTo>
                      <a:pt x="861" y="501"/>
                    </a:lnTo>
                    <a:lnTo>
                      <a:pt x="859" y="501"/>
                    </a:lnTo>
                    <a:lnTo>
                      <a:pt x="859" y="501"/>
                    </a:lnTo>
                    <a:lnTo>
                      <a:pt x="856" y="503"/>
                    </a:lnTo>
                    <a:lnTo>
                      <a:pt x="854" y="503"/>
                    </a:lnTo>
                    <a:lnTo>
                      <a:pt x="852" y="505"/>
                    </a:lnTo>
                    <a:lnTo>
                      <a:pt x="845" y="505"/>
                    </a:lnTo>
                    <a:lnTo>
                      <a:pt x="813" y="505"/>
                    </a:lnTo>
                    <a:lnTo>
                      <a:pt x="780" y="505"/>
                    </a:lnTo>
                    <a:lnTo>
                      <a:pt x="744" y="505"/>
                    </a:lnTo>
                    <a:lnTo>
                      <a:pt x="712" y="505"/>
                    </a:lnTo>
                    <a:lnTo>
                      <a:pt x="703" y="505"/>
                    </a:lnTo>
                    <a:lnTo>
                      <a:pt x="705" y="501"/>
                    </a:lnTo>
                    <a:lnTo>
                      <a:pt x="705" y="496"/>
                    </a:lnTo>
                    <a:lnTo>
                      <a:pt x="705" y="494"/>
                    </a:lnTo>
                    <a:lnTo>
                      <a:pt x="705" y="490"/>
                    </a:lnTo>
                    <a:lnTo>
                      <a:pt x="705" y="487"/>
                    </a:lnTo>
                    <a:lnTo>
                      <a:pt x="709" y="485"/>
                    </a:lnTo>
                    <a:lnTo>
                      <a:pt x="709" y="483"/>
                    </a:lnTo>
                    <a:lnTo>
                      <a:pt x="709" y="481"/>
                    </a:lnTo>
                    <a:lnTo>
                      <a:pt x="707" y="476"/>
                    </a:lnTo>
                    <a:lnTo>
                      <a:pt x="707" y="474"/>
                    </a:lnTo>
                    <a:lnTo>
                      <a:pt x="703" y="468"/>
                    </a:lnTo>
                    <a:lnTo>
                      <a:pt x="690" y="459"/>
                    </a:lnTo>
                    <a:lnTo>
                      <a:pt x="687" y="452"/>
                    </a:lnTo>
                    <a:lnTo>
                      <a:pt x="690" y="444"/>
                    </a:lnTo>
                    <a:lnTo>
                      <a:pt x="690" y="441"/>
                    </a:lnTo>
                    <a:lnTo>
                      <a:pt x="690" y="437"/>
                    </a:lnTo>
                    <a:lnTo>
                      <a:pt x="683" y="430"/>
                    </a:lnTo>
                    <a:lnTo>
                      <a:pt x="683" y="428"/>
                    </a:lnTo>
                    <a:lnTo>
                      <a:pt x="681" y="424"/>
                    </a:lnTo>
                    <a:lnTo>
                      <a:pt x="683" y="419"/>
                    </a:lnTo>
                    <a:lnTo>
                      <a:pt x="681" y="417"/>
                    </a:lnTo>
                    <a:lnTo>
                      <a:pt x="681" y="415"/>
                    </a:lnTo>
                    <a:lnTo>
                      <a:pt x="679" y="415"/>
                    </a:lnTo>
                    <a:lnTo>
                      <a:pt x="676" y="415"/>
                    </a:lnTo>
                    <a:lnTo>
                      <a:pt x="674" y="415"/>
                    </a:lnTo>
                    <a:lnTo>
                      <a:pt x="672" y="413"/>
                    </a:lnTo>
                    <a:lnTo>
                      <a:pt x="665" y="408"/>
                    </a:lnTo>
                    <a:lnTo>
                      <a:pt x="663" y="406"/>
                    </a:lnTo>
                    <a:lnTo>
                      <a:pt x="659" y="406"/>
                    </a:lnTo>
                    <a:lnTo>
                      <a:pt x="648" y="406"/>
                    </a:lnTo>
                    <a:lnTo>
                      <a:pt x="639" y="406"/>
                    </a:lnTo>
                    <a:lnTo>
                      <a:pt x="635" y="404"/>
                    </a:lnTo>
                    <a:lnTo>
                      <a:pt x="628" y="402"/>
                    </a:lnTo>
                    <a:lnTo>
                      <a:pt x="619" y="397"/>
                    </a:lnTo>
                    <a:lnTo>
                      <a:pt x="617" y="397"/>
                    </a:lnTo>
                    <a:lnTo>
                      <a:pt x="617" y="397"/>
                    </a:lnTo>
                    <a:lnTo>
                      <a:pt x="615" y="400"/>
                    </a:lnTo>
                    <a:lnTo>
                      <a:pt x="613" y="400"/>
                    </a:lnTo>
                    <a:lnTo>
                      <a:pt x="613" y="400"/>
                    </a:lnTo>
                    <a:lnTo>
                      <a:pt x="611" y="397"/>
                    </a:lnTo>
                    <a:lnTo>
                      <a:pt x="611" y="397"/>
                    </a:lnTo>
                    <a:lnTo>
                      <a:pt x="589" y="393"/>
                    </a:lnTo>
                    <a:lnTo>
                      <a:pt x="514" y="393"/>
                    </a:lnTo>
                    <a:lnTo>
                      <a:pt x="516" y="386"/>
                    </a:lnTo>
                    <a:lnTo>
                      <a:pt x="527" y="376"/>
                    </a:lnTo>
                    <a:lnTo>
                      <a:pt x="531" y="369"/>
                    </a:lnTo>
                    <a:lnTo>
                      <a:pt x="534" y="365"/>
                    </a:lnTo>
                    <a:lnTo>
                      <a:pt x="536" y="360"/>
                    </a:lnTo>
                    <a:lnTo>
                      <a:pt x="538" y="360"/>
                    </a:lnTo>
                    <a:lnTo>
                      <a:pt x="540" y="360"/>
                    </a:lnTo>
                    <a:lnTo>
                      <a:pt x="545" y="358"/>
                    </a:lnTo>
                    <a:lnTo>
                      <a:pt x="547" y="358"/>
                    </a:lnTo>
                    <a:lnTo>
                      <a:pt x="547" y="356"/>
                    </a:lnTo>
                    <a:lnTo>
                      <a:pt x="547" y="349"/>
                    </a:lnTo>
                    <a:lnTo>
                      <a:pt x="556" y="343"/>
                    </a:lnTo>
                    <a:lnTo>
                      <a:pt x="558" y="340"/>
                    </a:lnTo>
                    <a:lnTo>
                      <a:pt x="560" y="336"/>
                    </a:lnTo>
                    <a:lnTo>
                      <a:pt x="560" y="332"/>
                    </a:lnTo>
                    <a:lnTo>
                      <a:pt x="558" y="316"/>
                    </a:lnTo>
                    <a:lnTo>
                      <a:pt x="558" y="312"/>
                    </a:lnTo>
                    <a:lnTo>
                      <a:pt x="551" y="305"/>
                    </a:lnTo>
                    <a:lnTo>
                      <a:pt x="549" y="301"/>
                    </a:lnTo>
                    <a:lnTo>
                      <a:pt x="542" y="297"/>
                    </a:lnTo>
                    <a:lnTo>
                      <a:pt x="540" y="294"/>
                    </a:lnTo>
                    <a:lnTo>
                      <a:pt x="525" y="275"/>
                    </a:lnTo>
                    <a:lnTo>
                      <a:pt x="523" y="266"/>
                    </a:lnTo>
                    <a:lnTo>
                      <a:pt x="521" y="264"/>
                    </a:lnTo>
                    <a:lnTo>
                      <a:pt x="516" y="259"/>
                    </a:lnTo>
                    <a:lnTo>
                      <a:pt x="514" y="257"/>
                    </a:lnTo>
                    <a:lnTo>
                      <a:pt x="503" y="255"/>
                    </a:lnTo>
                    <a:lnTo>
                      <a:pt x="499" y="253"/>
                    </a:lnTo>
                    <a:lnTo>
                      <a:pt x="496" y="250"/>
                    </a:lnTo>
                    <a:lnTo>
                      <a:pt x="488" y="239"/>
                    </a:lnTo>
                    <a:lnTo>
                      <a:pt x="485" y="237"/>
                    </a:lnTo>
                    <a:lnTo>
                      <a:pt x="485" y="233"/>
                    </a:lnTo>
                    <a:lnTo>
                      <a:pt x="488" y="224"/>
                    </a:lnTo>
                    <a:lnTo>
                      <a:pt x="488" y="220"/>
                    </a:lnTo>
                    <a:lnTo>
                      <a:pt x="488" y="218"/>
                    </a:lnTo>
                    <a:lnTo>
                      <a:pt x="483" y="215"/>
                    </a:lnTo>
                    <a:lnTo>
                      <a:pt x="483" y="213"/>
                    </a:lnTo>
                    <a:lnTo>
                      <a:pt x="479" y="213"/>
                    </a:lnTo>
                    <a:lnTo>
                      <a:pt x="477" y="213"/>
                    </a:lnTo>
                    <a:lnTo>
                      <a:pt x="474" y="211"/>
                    </a:lnTo>
                    <a:lnTo>
                      <a:pt x="472" y="207"/>
                    </a:lnTo>
                    <a:lnTo>
                      <a:pt x="470" y="204"/>
                    </a:lnTo>
                    <a:lnTo>
                      <a:pt x="455" y="198"/>
                    </a:lnTo>
                    <a:lnTo>
                      <a:pt x="452" y="196"/>
                    </a:lnTo>
                    <a:lnTo>
                      <a:pt x="450" y="191"/>
                    </a:lnTo>
                    <a:lnTo>
                      <a:pt x="450" y="182"/>
                    </a:lnTo>
                    <a:lnTo>
                      <a:pt x="448" y="178"/>
                    </a:lnTo>
                    <a:lnTo>
                      <a:pt x="444" y="171"/>
                    </a:lnTo>
                    <a:lnTo>
                      <a:pt x="441" y="167"/>
                    </a:lnTo>
                    <a:lnTo>
                      <a:pt x="439" y="163"/>
                    </a:lnTo>
                    <a:lnTo>
                      <a:pt x="441" y="156"/>
                    </a:lnTo>
                    <a:lnTo>
                      <a:pt x="441" y="152"/>
                    </a:lnTo>
                    <a:lnTo>
                      <a:pt x="439" y="147"/>
                    </a:lnTo>
                    <a:lnTo>
                      <a:pt x="433" y="141"/>
                    </a:lnTo>
                    <a:lnTo>
                      <a:pt x="433" y="136"/>
                    </a:lnTo>
                    <a:lnTo>
                      <a:pt x="428" y="130"/>
                    </a:lnTo>
                    <a:lnTo>
                      <a:pt x="422" y="125"/>
                    </a:lnTo>
                    <a:lnTo>
                      <a:pt x="413" y="123"/>
                    </a:lnTo>
                    <a:lnTo>
                      <a:pt x="409" y="119"/>
                    </a:lnTo>
                    <a:lnTo>
                      <a:pt x="406" y="117"/>
                    </a:lnTo>
                    <a:lnTo>
                      <a:pt x="404" y="108"/>
                    </a:lnTo>
                    <a:lnTo>
                      <a:pt x="404" y="103"/>
                    </a:lnTo>
                    <a:lnTo>
                      <a:pt x="409" y="103"/>
                    </a:lnTo>
                    <a:lnTo>
                      <a:pt x="415" y="106"/>
                    </a:lnTo>
                    <a:lnTo>
                      <a:pt x="420" y="101"/>
                    </a:lnTo>
                    <a:lnTo>
                      <a:pt x="422" y="95"/>
                    </a:lnTo>
                    <a:lnTo>
                      <a:pt x="420" y="88"/>
                    </a:lnTo>
                    <a:lnTo>
                      <a:pt x="415" y="84"/>
                    </a:lnTo>
                    <a:lnTo>
                      <a:pt x="409" y="81"/>
                    </a:lnTo>
                    <a:lnTo>
                      <a:pt x="402" y="79"/>
                    </a:lnTo>
                    <a:lnTo>
                      <a:pt x="398" y="75"/>
                    </a:lnTo>
                    <a:lnTo>
                      <a:pt x="373" y="49"/>
                    </a:lnTo>
                    <a:lnTo>
                      <a:pt x="365" y="44"/>
                    </a:lnTo>
                    <a:lnTo>
                      <a:pt x="362" y="42"/>
                    </a:lnTo>
                    <a:lnTo>
                      <a:pt x="369" y="40"/>
                    </a:lnTo>
                    <a:lnTo>
                      <a:pt x="369" y="40"/>
                    </a:lnTo>
                    <a:lnTo>
                      <a:pt x="369" y="40"/>
                    </a:lnTo>
                    <a:lnTo>
                      <a:pt x="367" y="38"/>
                    </a:lnTo>
                    <a:lnTo>
                      <a:pt x="365" y="35"/>
                    </a:lnTo>
                    <a:lnTo>
                      <a:pt x="362" y="33"/>
                    </a:lnTo>
                    <a:lnTo>
                      <a:pt x="354" y="29"/>
                    </a:lnTo>
                    <a:lnTo>
                      <a:pt x="325" y="18"/>
                    </a:lnTo>
                    <a:lnTo>
                      <a:pt x="314" y="16"/>
                    </a:lnTo>
                    <a:lnTo>
                      <a:pt x="310" y="16"/>
                    </a:lnTo>
                    <a:lnTo>
                      <a:pt x="297" y="16"/>
                    </a:lnTo>
                    <a:lnTo>
                      <a:pt x="288" y="11"/>
                    </a:lnTo>
                    <a:lnTo>
                      <a:pt x="270" y="0"/>
                    </a:lnTo>
                    <a:lnTo>
                      <a:pt x="264" y="0"/>
                    </a:lnTo>
                    <a:lnTo>
                      <a:pt x="259" y="0"/>
                    </a:lnTo>
                    <a:lnTo>
                      <a:pt x="257" y="0"/>
                    </a:lnTo>
                    <a:lnTo>
                      <a:pt x="255" y="2"/>
                    </a:lnTo>
                    <a:lnTo>
                      <a:pt x="255" y="7"/>
                    </a:lnTo>
                    <a:lnTo>
                      <a:pt x="255" y="11"/>
                    </a:lnTo>
                    <a:lnTo>
                      <a:pt x="255" y="13"/>
                    </a:lnTo>
                    <a:lnTo>
                      <a:pt x="257" y="18"/>
                    </a:lnTo>
                    <a:lnTo>
                      <a:pt x="257" y="22"/>
                    </a:lnTo>
                    <a:lnTo>
                      <a:pt x="261" y="46"/>
                    </a:lnTo>
                    <a:lnTo>
                      <a:pt x="264" y="53"/>
                    </a:lnTo>
                    <a:lnTo>
                      <a:pt x="261" y="66"/>
                    </a:lnTo>
                    <a:lnTo>
                      <a:pt x="266" y="84"/>
                    </a:lnTo>
                    <a:lnTo>
                      <a:pt x="264" y="99"/>
                    </a:lnTo>
                    <a:lnTo>
                      <a:pt x="264" y="103"/>
                    </a:lnTo>
                    <a:lnTo>
                      <a:pt x="264" y="106"/>
                    </a:lnTo>
                    <a:lnTo>
                      <a:pt x="261" y="108"/>
                    </a:lnTo>
                    <a:lnTo>
                      <a:pt x="259" y="110"/>
                    </a:lnTo>
                    <a:lnTo>
                      <a:pt x="255" y="112"/>
                    </a:lnTo>
                    <a:lnTo>
                      <a:pt x="244" y="119"/>
                    </a:lnTo>
                    <a:lnTo>
                      <a:pt x="239" y="121"/>
                    </a:lnTo>
                    <a:lnTo>
                      <a:pt x="196" y="128"/>
                    </a:lnTo>
                    <a:lnTo>
                      <a:pt x="180" y="132"/>
                    </a:lnTo>
                    <a:lnTo>
                      <a:pt x="176" y="136"/>
                    </a:lnTo>
                    <a:lnTo>
                      <a:pt x="165" y="143"/>
                    </a:lnTo>
                    <a:lnTo>
                      <a:pt x="160" y="145"/>
                    </a:lnTo>
                    <a:lnTo>
                      <a:pt x="156" y="147"/>
                    </a:lnTo>
                    <a:lnTo>
                      <a:pt x="147" y="149"/>
                    </a:lnTo>
                    <a:lnTo>
                      <a:pt x="123" y="149"/>
                    </a:lnTo>
                    <a:lnTo>
                      <a:pt x="121" y="147"/>
                    </a:lnTo>
                    <a:lnTo>
                      <a:pt x="119" y="147"/>
                    </a:lnTo>
                    <a:lnTo>
                      <a:pt x="117" y="147"/>
                    </a:lnTo>
                    <a:lnTo>
                      <a:pt x="114" y="149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0" y="158"/>
                    </a:lnTo>
                    <a:lnTo>
                      <a:pt x="110" y="160"/>
                    </a:lnTo>
                    <a:lnTo>
                      <a:pt x="108" y="163"/>
                    </a:lnTo>
                    <a:lnTo>
                      <a:pt x="106" y="165"/>
                    </a:lnTo>
                    <a:lnTo>
                      <a:pt x="101" y="165"/>
                    </a:lnTo>
                    <a:lnTo>
                      <a:pt x="99" y="165"/>
                    </a:lnTo>
                    <a:lnTo>
                      <a:pt x="97" y="165"/>
                    </a:lnTo>
                    <a:lnTo>
                      <a:pt x="95" y="167"/>
                    </a:lnTo>
                    <a:lnTo>
                      <a:pt x="90" y="169"/>
                    </a:lnTo>
                    <a:lnTo>
                      <a:pt x="88" y="171"/>
                    </a:lnTo>
                    <a:lnTo>
                      <a:pt x="86" y="176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8" y="189"/>
                    </a:lnTo>
                    <a:lnTo>
                      <a:pt x="90" y="191"/>
                    </a:lnTo>
                    <a:lnTo>
                      <a:pt x="92" y="196"/>
                    </a:lnTo>
                    <a:lnTo>
                      <a:pt x="103" y="209"/>
                    </a:lnTo>
                    <a:lnTo>
                      <a:pt x="103" y="211"/>
                    </a:lnTo>
                    <a:lnTo>
                      <a:pt x="103" y="213"/>
                    </a:lnTo>
                    <a:lnTo>
                      <a:pt x="103" y="215"/>
                    </a:lnTo>
                    <a:lnTo>
                      <a:pt x="101" y="218"/>
                    </a:lnTo>
                    <a:lnTo>
                      <a:pt x="97" y="218"/>
                    </a:lnTo>
                    <a:lnTo>
                      <a:pt x="92" y="215"/>
                    </a:lnTo>
                    <a:lnTo>
                      <a:pt x="90" y="215"/>
                    </a:lnTo>
                    <a:lnTo>
                      <a:pt x="77" y="202"/>
                    </a:lnTo>
                    <a:lnTo>
                      <a:pt x="75" y="202"/>
                    </a:lnTo>
                    <a:lnTo>
                      <a:pt x="73" y="200"/>
                    </a:lnTo>
                    <a:lnTo>
                      <a:pt x="68" y="200"/>
                    </a:lnTo>
                    <a:lnTo>
                      <a:pt x="64" y="200"/>
                    </a:lnTo>
                    <a:lnTo>
                      <a:pt x="62" y="200"/>
                    </a:lnTo>
                    <a:lnTo>
                      <a:pt x="59" y="204"/>
                    </a:lnTo>
                    <a:lnTo>
                      <a:pt x="57" y="207"/>
                    </a:lnTo>
                    <a:lnTo>
                      <a:pt x="55" y="211"/>
                    </a:lnTo>
                    <a:lnTo>
                      <a:pt x="51" y="213"/>
                    </a:lnTo>
                    <a:lnTo>
                      <a:pt x="37" y="222"/>
                    </a:lnTo>
                    <a:lnTo>
                      <a:pt x="31" y="226"/>
                    </a:lnTo>
                    <a:lnTo>
                      <a:pt x="27" y="233"/>
                    </a:lnTo>
                    <a:lnTo>
                      <a:pt x="18" y="239"/>
                    </a:lnTo>
                    <a:lnTo>
                      <a:pt x="0" y="248"/>
                    </a:lnTo>
                    <a:lnTo>
                      <a:pt x="0" y="255"/>
                    </a:lnTo>
                    <a:lnTo>
                      <a:pt x="2" y="261"/>
                    </a:lnTo>
                    <a:lnTo>
                      <a:pt x="11" y="272"/>
                    </a:lnTo>
                    <a:lnTo>
                      <a:pt x="13" y="277"/>
                    </a:lnTo>
                    <a:lnTo>
                      <a:pt x="13" y="281"/>
                    </a:lnTo>
                    <a:lnTo>
                      <a:pt x="16" y="312"/>
                    </a:lnTo>
                    <a:lnTo>
                      <a:pt x="18" y="314"/>
                    </a:lnTo>
                    <a:lnTo>
                      <a:pt x="18" y="316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20" y="318"/>
                    </a:lnTo>
                    <a:lnTo>
                      <a:pt x="22" y="318"/>
                    </a:lnTo>
                    <a:lnTo>
                      <a:pt x="24" y="318"/>
                    </a:lnTo>
                    <a:lnTo>
                      <a:pt x="27" y="321"/>
                    </a:lnTo>
                    <a:lnTo>
                      <a:pt x="29" y="323"/>
                    </a:lnTo>
                    <a:lnTo>
                      <a:pt x="31" y="329"/>
                    </a:lnTo>
                    <a:lnTo>
                      <a:pt x="33" y="332"/>
                    </a:lnTo>
                    <a:lnTo>
                      <a:pt x="33" y="336"/>
                    </a:lnTo>
                    <a:lnTo>
                      <a:pt x="33" y="338"/>
                    </a:lnTo>
                    <a:lnTo>
                      <a:pt x="33" y="340"/>
                    </a:lnTo>
                    <a:lnTo>
                      <a:pt x="33" y="343"/>
                    </a:lnTo>
                    <a:lnTo>
                      <a:pt x="33" y="347"/>
                    </a:lnTo>
                    <a:lnTo>
                      <a:pt x="33" y="349"/>
                    </a:lnTo>
                    <a:lnTo>
                      <a:pt x="35" y="356"/>
                    </a:lnTo>
                    <a:lnTo>
                      <a:pt x="35" y="358"/>
                    </a:lnTo>
                    <a:lnTo>
                      <a:pt x="37" y="360"/>
                    </a:lnTo>
                    <a:lnTo>
                      <a:pt x="37" y="362"/>
                    </a:lnTo>
                    <a:lnTo>
                      <a:pt x="44" y="367"/>
                    </a:lnTo>
                    <a:lnTo>
                      <a:pt x="46" y="369"/>
                    </a:lnTo>
                    <a:lnTo>
                      <a:pt x="46" y="369"/>
                    </a:lnTo>
                    <a:lnTo>
                      <a:pt x="55" y="386"/>
                    </a:lnTo>
                    <a:lnTo>
                      <a:pt x="57" y="389"/>
                    </a:lnTo>
                    <a:lnTo>
                      <a:pt x="59" y="391"/>
                    </a:lnTo>
                    <a:lnTo>
                      <a:pt x="66" y="391"/>
                    </a:lnTo>
                    <a:lnTo>
                      <a:pt x="70" y="391"/>
                    </a:lnTo>
                    <a:lnTo>
                      <a:pt x="75" y="389"/>
                    </a:lnTo>
                    <a:lnTo>
                      <a:pt x="77" y="386"/>
                    </a:lnTo>
                    <a:lnTo>
                      <a:pt x="99" y="369"/>
                    </a:lnTo>
                    <a:lnTo>
                      <a:pt x="101" y="367"/>
                    </a:lnTo>
                    <a:lnTo>
                      <a:pt x="108" y="367"/>
                    </a:lnTo>
                    <a:lnTo>
                      <a:pt x="110" y="367"/>
                    </a:lnTo>
                    <a:lnTo>
                      <a:pt x="119" y="362"/>
                    </a:lnTo>
                    <a:lnTo>
                      <a:pt x="123" y="360"/>
                    </a:lnTo>
                    <a:lnTo>
                      <a:pt x="125" y="358"/>
                    </a:lnTo>
                    <a:lnTo>
                      <a:pt x="130" y="351"/>
                    </a:lnTo>
                    <a:lnTo>
                      <a:pt x="136" y="347"/>
                    </a:lnTo>
                    <a:lnTo>
                      <a:pt x="136" y="345"/>
                    </a:lnTo>
                    <a:lnTo>
                      <a:pt x="141" y="336"/>
                    </a:lnTo>
                    <a:lnTo>
                      <a:pt x="141" y="334"/>
                    </a:lnTo>
                    <a:lnTo>
                      <a:pt x="145" y="327"/>
                    </a:lnTo>
                    <a:lnTo>
                      <a:pt x="147" y="325"/>
                    </a:lnTo>
                    <a:lnTo>
                      <a:pt x="149" y="321"/>
                    </a:lnTo>
                    <a:lnTo>
                      <a:pt x="149" y="318"/>
                    </a:lnTo>
                    <a:lnTo>
                      <a:pt x="152" y="316"/>
                    </a:lnTo>
                    <a:lnTo>
                      <a:pt x="156" y="310"/>
                    </a:lnTo>
                    <a:lnTo>
                      <a:pt x="167" y="292"/>
                    </a:lnTo>
                    <a:lnTo>
                      <a:pt x="174" y="286"/>
                    </a:lnTo>
                    <a:lnTo>
                      <a:pt x="182" y="275"/>
                    </a:lnTo>
                    <a:lnTo>
                      <a:pt x="187" y="272"/>
                    </a:lnTo>
                    <a:lnTo>
                      <a:pt x="198" y="268"/>
                    </a:lnTo>
                    <a:lnTo>
                      <a:pt x="198" y="266"/>
                    </a:lnTo>
                    <a:lnTo>
                      <a:pt x="215" y="253"/>
                    </a:lnTo>
                    <a:lnTo>
                      <a:pt x="218" y="250"/>
                    </a:lnTo>
                    <a:lnTo>
                      <a:pt x="231" y="246"/>
                    </a:lnTo>
                    <a:lnTo>
                      <a:pt x="237" y="244"/>
                    </a:lnTo>
                    <a:lnTo>
                      <a:pt x="242" y="244"/>
                    </a:lnTo>
                    <a:lnTo>
                      <a:pt x="257" y="244"/>
                    </a:lnTo>
                    <a:lnTo>
                      <a:pt x="259" y="246"/>
                    </a:lnTo>
                    <a:lnTo>
                      <a:pt x="261" y="246"/>
                    </a:lnTo>
                    <a:lnTo>
                      <a:pt x="266" y="248"/>
                    </a:lnTo>
                    <a:lnTo>
                      <a:pt x="266" y="248"/>
                    </a:lnTo>
                    <a:lnTo>
                      <a:pt x="268" y="250"/>
                    </a:lnTo>
                    <a:lnTo>
                      <a:pt x="268" y="253"/>
                    </a:lnTo>
                    <a:lnTo>
                      <a:pt x="270" y="255"/>
                    </a:lnTo>
                    <a:lnTo>
                      <a:pt x="270" y="257"/>
                    </a:lnTo>
                    <a:lnTo>
                      <a:pt x="272" y="261"/>
                    </a:lnTo>
                    <a:lnTo>
                      <a:pt x="272" y="264"/>
                    </a:lnTo>
                    <a:lnTo>
                      <a:pt x="272" y="266"/>
                    </a:lnTo>
                    <a:lnTo>
                      <a:pt x="272" y="268"/>
                    </a:lnTo>
                    <a:lnTo>
                      <a:pt x="270" y="270"/>
                    </a:lnTo>
                    <a:lnTo>
                      <a:pt x="268" y="272"/>
                    </a:lnTo>
                    <a:lnTo>
                      <a:pt x="257" y="277"/>
                    </a:lnTo>
                    <a:lnTo>
                      <a:pt x="255" y="279"/>
                    </a:lnTo>
                    <a:lnTo>
                      <a:pt x="253" y="279"/>
                    </a:lnTo>
                    <a:lnTo>
                      <a:pt x="253" y="281"/>
                    </a:lnTo>
                    <a:lnTo>
                      <a:pt x="253" y="283"/>
                    </a:lnTo>
                    <a:lnTo>
                      <a:pt x="250" y="303"/>
                    </a:lnTo>
                    <a:lnTo>
                      <a:pt x="250" y="310"/>
                    </a:lnTo>
                    <a:lnTo>
                      <a:pt x="246" y="318"/>
                    </a:lnTo>
                    <a:lnTo>
                      <a:pt x="242" y="325"/>
                    </a:lnTo>
                    <a:lnTo>
                      <a:pt x="242" y="325"/>
                    </a:lnTo>
                    <a:lnTo>
                      <a:pt x="242" y="327"/>
                    </a:lnTo>
                    <a:lnTo>
                      <a:pt x="239" y="329"/>
                    </a:lnTo>
                    <a:lnTo>
                      <a:pt x="239" y="332"/>
                    </a:lnTo>
                    <a:lnTo>
                      <a:pt x="242" y="340"/>
                    </a:lnTo>
                    <a:lnTo>
                      <a:pt x="242" y="343"/>
                    </a:lnTo>
                    <a:lnTo>
                      <a:pt x="242" y="347"/>
                    </a:lnTo>
                    <a:lnTo>
                      <a:pt x="239" y="356"/>
                    </a:lnTo>
                    <a:lnTo>
                      <a:pt x="235" y="371"/>
                    </a:lnTo>
                    <a:lnTo>
                      <a:pt x="233" y="380"/>
                    </a:lnTo>
                    <a:lnTo>
                      <a:pt x="233" y="382"/>
                    </a:lnTo>
                    <a:lnTo>
                      <a:pt x="233" y="384"/>
                    </a:lnTo>
                    <a:lnTo>
                      <a:pt x="233" y="386"/>
                    </a:lnTo>
                    <a:lnTo>
                      <a:pt x="237" y="393"/>
                    </a:lnTo>
                    <a:lnTo>
                      <a:pt x="239" y="397"/>
                    </a:lnTo>
                    <a:lnTo>
                      <a:pt x="242" y="402"/>
                    </a:lnTo>
                    <a:lnTo>
                      <a:pt x="266" y="437"/>
                    </a:lnTo>
                    <a:lnTo>
                      <a:pt x="272" y="444"/>
                    </a:lnTo>
                    <a:lnTo>
                      <a:pt x="275" y="446"/>
                    </a:lnTo>
                    <a:lnTo>
                      <a:pt x="277" y="455"/>
                    </a:lnTo>
                    <a:lnTo>
                      <a:pt x="286" y="474"/>
                    </a:lnTo>
                    <a:lnTo>
                      <a:pt x="286" y="481"/>
                    </a:lnTo>
                    <a:lnTo>
                      <a:pt x="286" y="487"/>
                    </a:lnTo>
                    <a:lnTo>
                      <a:pt x="286" y="494"/>
                    </a:lnTo>
                    <a:lnTo>
                      <a:pt x="288" y="503"/>
                    </a:lnTo>
                    <a:lnTo>
                      <a:pt x="297" y="520"/>
                    </a:lnTo>
                    <a:lnTo>
                      <a:pt x="299" y="525"/>
                    </a:lnTo>
                    <a:lnTo>
                      <a:pt x="301" y="529"/>
                    </a:lnTo>
                    <a:lnTo>
                      <a:pt x="297" y="558"/>
                    </a:lnTo>
                    <a:lnTo>
                      <a:pt x="297" y="560"/>
                    </a:lnTo>
                    <a:lnTo>
                      <a:pt x="299" y="562"/>
                    </a:lnTo>
                    <a:lnTo>
                      <a:pt x="303" y="577"/>
                    </a:lnTo>
                    <a:lnTo>
                      <a:pt x="305" y="580"/>
                    </a:lnTo>
                    <a:lnTo>
                      <a:pt x="310" y="588"/>
                    </a:lnTo>
                    <a:lnTo>
                      <a:pt x="312" y="597"/>
                    </a:lnTo>
                    <a:lnTo>
                      <a:pt x="312" y="597"/>
                    </a:lnTo>
                    <a:lnTo>
                      <a:pt x="312" y="599"/>
                    </a:lnTo>
                    <a:lnTo>
                      <a:pt x="314" y="599"/>
                    </a:lnTo>
                    <a:lnTo>
                      <a:pt x="327" y="606"/>
                    </a:lnTo>
                    <a:lnTo>
                      <a:pt x="332" y="606"/>
                    </a:lnTo>
                    <a:lnTo>
                      <a:pt x="334" y="608"/>
                    </a:lnTo>
                    <a:lnTo>
                      <a:pt x="334" y="610"/>
                    </a:lnTo>
                    <a:lnTo>
                      <a:pt x="336" y="613"/>
                    </a:lnTo>
                    <a:lnTo>
                      <a:pt x="336" y="615"/>
                    </a:lnTo>
                    <a:lnTo>
                      <a:pt x="334" y="617"/>
                    </a:lnTo>
                    <a:lnTo>
                      <a:pt x="332" y="619"/>
                    </a:lnTo>
                    <a:lnTo>
                      <a:pt x="325" y="621"/>
                    </a:lnTo>
                    <a:lnTo>
                      <a:pt x="316" y="626"/>
                    </a:lnTo>
                    <a:lnTo>
                      <a:pt x="312" y="628"/>
                    </a:lnTo>
                    <a:lnTo>
                      <a:pt x="305" y="637"/>
                    </a:lnTo>
                    <a:lnTo>
                      <a:pt x="301" y="639"/>
                    </a:lnTo>
                    <a:lnTo>
                      <a:pt x="290" y="650"/>
                    </a:lnTo>
                    <a:lnTo>
                      <a:pt x="281" y="659"/>
                    </a:lnTo>
                    <a:lnTo>
                      <a:pt x="272" y="663"/>
                    </a:lnTo>
                    <a:lnTo>
                      <a:pt x="277" y="681"/>
                    </a:lnTo>
                    <a:lnTo>
                      <a:pt x="277" y="689"/>
                    </a:lnTo>
                    <a:lnTo>
                      <a:pt x="279" y="692"/>
                    </a:lnTo>
                    <a:lnTo>
                      <a:pt x="283" y="698"/>
                    </a:lnTo>
                    <a:lnTo>
                      <a:pt x="286" y="700"/>
                    </a:lnTo>
                    <a:lnTo>
                      <a:pt x="290" y="703"/>
                    </a:lnTo>
                    <a:lnTo>
                      <a:pt x="294" y="703"/>
                    </a:lnTo>
                    <a:lnTo>
                      <a:pt x="303" y="700"/>
                    </a:lnTo>
                    <a:lnTo>
                      <a:pt x="308" y="698"/>
                    </a:lnTo>
                    <a:lnTo>
                      <a:pt x="310" y="696"/>
                    </a:lnTo>
                    <a:lnTo>
                      <a:pt x="312" y="696"/>
                    </a:lnTo>
                    <a:lnTo>
                      <a:pt x="316" y="694"/>
                    </a:lnTo>
                    <a:lnTo>
                      <a:pt x="325" y="696"/>
                    </a:lnTo>
                    <a:lnTo>
                      <a:pt x="329" y="694"/>
                    </a:lnTo>
                    <a:lnTo>
                      <a:pt x="334" y="694"/>
                    </a:lnTo>
                    <a:lnTo>
                      <a:pt x="336" y="692"/>
                    </a:lnTo>
                    <a:lnTo>
                      <a:pt x="347" y="689"/>
                    </a:lnTo>
                    <a:lnTo>
                      <a:pt x="349" y="689"/>
                    </a:lnTo>
                    <a:lnTo>
                      <a:pt x="351" y="689"/>
                    </a:lnTo>
                    <a:lnTo>
                      <a:pt x="358" y="687"/>
                    </a:lnTo>
                    <a:lnTo>
                      <a:pt x="360" y="687"/>
                    </a:lnTo>
                    <a:lnTo>
                      <a:pt x="365" y="687"/>
                    </a:lnTo>
                    <a:lnTo>
                      <a:pt x="371" y="687"/>
                    </a:lnTo>
                    <a:lnTo>
                      <a:pt x="378" y="687"/>
                    </a:lnTo>
                    <a:lnTo>
                      <a:pt x="380" y="687"/>
                    </a:lnTo>
                    <a:lnTo>
                      <a:pt x="382" y="685"/>
                    </a:lnTo>
                    <a:lnTo>
                      <a:pt x="387" y="683"/>
                    </a:lnTo>
                    <a:lnTo>
                      <a:pt x="389" y="681"/>
                    </a:lnTo>
                    <a:lnTo>
                      <a:pt x="402" y="661"/>
                    </a:lnTo>
                    <a:lnTo>
                      <a:pt x="409" y="648"/>
                    </a:lnTo>
                    <a:lnTo>
                      <a:pt x="411" y="645"/>
                    </a:lnTo>
                    <a:lnTo>
                      <a:pt x="415" y="648"/>
                    </a:lnTo>
                    <a:lnTo>
                      <a:pt x="420" y="650"/>
                    </a:lnTo>
                    <a:lnTo>
                      <a:pt x="422" y="650"/>
                    </a:lnTo>
                    <a:lnTo>
                      <a:pt x="430" y="652"/>
                    </a:lnTo>
                    <a:lnTo>
                      <a:pt x="433" y="652"/>
                    </a:lnTo>
                    <a:lnTo>
                      <a:pt x="435" y="654"/>
                    </a:lnTo>
                    <a:lnTo>
                      <a:pt x="437" y="656"/>
                    </a:lnTo>
                    <a:lnTo>
                      <a:pt x="441" y="659"/>
                    </a:lnTo>
                    <a:lnTo>
                      <a:pt x="448" y="667"/>
                    </a:lnTo>
                    <a:lnTo>
                      <a:pt x="455" y="678"/>
                    </a:lnTo>
                    <a:lnTo>
                      <a:pt x="461" y="692"/>
                    </a:lnTo>
                    <a:lnTo>
                      <a:pt x="461" y="694"/>
                    </a:lnTo>
                    <a:lnTo>
                      <a:pt x="461" y="700"/>
                    </a:lnTo>
                    <a:lnTo>
                      <a:pt x="457" y="724"/>
                    </a:lnTo>
                    <a:lnTo>
                      <a:pt x="457" y="727"/>
                    </a:lnTo>
                    <a:lnTo>
                      <a:pt x="457" y="729"/>
                    </a:lnTo>
                    <a:lnTo>
                      <a:pt x="461" y="740"/>
                    </a:lnTo>
                    <a:lnTo>
                      <a:pt x="463" y="746"/>
                    </a:lnTo>
                    <a:lnTo>
                      <a:pt x="468" y="751"/>
                    </a:lnTo>
                    <a:lnTo>
                      <a:pt x="472" y="753"/>
                    </a:lnTo>
                    <a:lnTo>
                      <a:pt x="477" y="755"/>
                    </a:lnTo>
                    <a:lnTo>
                      <a:pt x="485" y="753"/>
                    </a:lnTo>
                    <a:lnTo>
                      <a:pt x="490" y="751"/>
                    </a:lnTo>
                    <a:lnTo>
                      <a:pt x="503" y="751"/>
                    </a:lnTo>
                    <a:lnTo>
                      <a:pt x="527" y="749"/>
                    </a:lnTo>
                    <a:lnTo>
                      <a:pt x="536" y="746"/>
                    </a:lnTo>
                    <a:lnTo>
                      <a:pt x="540" y="744"/>
                    </a:lnTo>
                    <a:lnTo>
                      <a:pt x="542" y="742"/>
                    </a:lnTo>
                    <a:lnTo>
                      <a:pt x="545" y="742"/>
                    </a:lnTo>
                    <a:lnTo>
                      <a:pt x="551" y="733"/>
                    </a:lnTo>
                    <a:lnTo>
                      <a:pt x="551" y="731"/>
                    </a:lnTo>
                    <a:lnTo>
                      <a:pt x="553" y="731"/>
                    </a:lnTo>
                    <a:lnTo>
                      <a:pt x="556" y="731"/>
                    </a:lnTo>
                    <a:lnTo>
                      <a:pt x="558" y="733"/>
                    </a:lnTo>
                    <a:lnTo>
                      <a:pt x="558" y="735"/>
                    </a:lnTo>
                    <a:lnTo>
                      <a:pt x="558" y="738"/>
                    </a:lnTo>
                    <a:lnTo>
                      <a:pt x="560" y="740"/>
                    </a:lnTo>
                    <a:lnTo>
                      <a:pt x="560" y="742"/>
                    </a:lnTo>
                    <a:lnTo>
                      <a:pt x="562" y="744"/>
                    </a:lnTo>
                    <a:lnTo>
                      <a:pt x="564" y="744"/>
                    </a:lnTo>
                    <a:lnTo>
                      <a:pt x="564" y="749"/>
                    </a:lnTo>
                    <a:lnTo>
                      <a:pt x="564" y="751"/>
                    </a:lnTo>
                    <a:lnTo>
                      <a:pt x="569" y="755"/>
                    </a:lnTo>
                    <a:lnTo>
                      <a:pt x="578" y="757"/>
                    </a:lnTo>
                    <a:lnTo>
                      <a:pt x="580" y="757"/>
                    </a:lnTo>
                    <a:lnTo>
                      <a:pt x="584" y="762"/>
                    </a:lnTo>
                    <a:lnTo>
                      <a:pt x="586" y="762"/>
                    </a:lnTo>
                    <a:lnTo>
                      <a:pt x="591" y="762"/>
                    </a:lnTo>
                    <a:lnTo>
                      <a:pt x="593" y="762"/>
                    </a:lnTo>
                    <a:lnTo>
                      <a:pt x="595" y="762"/>
                    </a:lnTo>
                    <a:lnTo>
                      <a:pt x="597" y="762"/>
                    </a:lnTo>
                    <a:lnTo>
                      <a:pt x="600" y="760"/>
                    </a:lnTo>
                    <a:lnTo>
                      <a:pt x="602" y="760"/>
                    </a:lnTo>
                    <a:lnTo>
                      <a:pt x="604" y="760"/>
                    </a:lnTo>
                    <a:lnTo>
                      <a:pt x="606" y="760"/>
                    </a:lnTo>
                    <a:lnTo>
                      <a:pt x="608" y="762"/>
                    </a:lnTo>
                    <a:lnTo>
                      <a:pt x="608" y="764"/>
                    </a:lnTo>
                    <a:lnTo>
                      <a:pt x="608" y="766"/>
                    </a:lnTo>
                    <a:lnTo>
                      <a:pt x="611" y="766"/>
                    </a:lnTo>
                    <a:lnTo>
                      <a:pt x="613" y="766"/>
                    </a:lnTo>
                    <a:lnTo>
                      <a:pt x="615" y="766"/>
                    </a:lnTo>
                    <a:lnTo>
                      <a:pt x="619" y="771"/>
                    </a:lnTo>
                    <a:lnTo>
                      <a:pt x="622" y="771"/>
                    </a:lnTo>
                    <a:lnTo>
                      <a:pt x="624" y="773"/>
                    </a:lnTo>
                    <a:lnTo>
                      <a:pt x="630" y="773"/>
                    </a:lnTo>
                    <a:lnTo>
                      <a:pt x="637" y="773"/>
                    </a:lnTo>
                    <a:lnTo>
                      <a:pt x="639" y="773"/>
                    </a:lnTo>
                    <a:lnTo>
                      <a:pt x="641" y="771"/>
                    </a:lnTo>
                    <a:lnTo>
                      <a:pt x="643" y="768"/>
                    </a:lnTo>
                    <a:lnTo>
                      <a:pt x="643" y="768"/>
                    </a:lnTo>
                    <a:lnTo>
                      <a:pt x="646" y="766"/>
                    </a:lnTo>
                    <a:lnTo>
                      <a:pt x="650" y="764"/>
                    </a:lnTo>
                    <a:lnTo>
                      <a:pt x="652" y="764"/>
                    </a:lnTo>
                    <a:lnTo>
                      <a:pt x="659" y="757"/>
                    </a:lnTo>
                    <a:lnTo>
                      <a:pt x="663" y="755"/>
                    </a:lnTo>
                    <a:lnTo>
                      <a:pt x="670" y="753"/>
                    </a:lnTo>
                    <a:lnTo>
                      <a:pt x="683" y="749"/>
                    </a:lnTo>
                    <a:lnTo>
                      <a:pt x="683" y="749"/>
                    </a:lnTo>
                    <a:lnTo>
                      <a:pt x="685" y="749"/>
                    </a:lnTo>
                    <a:lnTo>
                      <a:pt x="690" y="751"/>
                    </a:lnTo>
                    <a:lnTo>
                      <a:pt x="692" y="751"/>
                    </a:lnTo>
                    <a:lnTo>
                      <a:pt x="694" y="751"/>
                    </a:lnTo>
                    <a:lnTo>
                      <a:pt x="698" y="751"/>
                    </a:lnTo>
                    <a:lnTo>
                      <a:pt x="701" y="751"/>
                    </a:lnTo>
                    <a:lnTo>
                      <a:pt x="703" y="751"/>
                    </a:lnTo>
                    <a:lnTo>
                      <a:pt x="705" y="751"/>
                    </a:lnTo>
                    <a:lnTo>
                      <a:pt x="705" y="751"/>
                    </a:lnTo>
                    <a:lnTo>
                      <a:pt x="705" y="746"/>
                    </a:lnTo>
                    <a:lnTo>
                      <a:pt x="705" y="742"/>
                    </a:lnTo>
                    <a:lnTo>
                      <a:pt x="707" y="738"/>
                    </a:lnTo>
                    <a:lnTo>
                      <a:pt x="709" y="733"/>
                    </a:lnTo>
                    <a:lnTo>
                      <a:pt x="723" y="709"/>
                    </a:lnTo>
                    <a:lnTo>
                      <a:pt x="723" y="705"/>
                    </a:lnTo>
                    <a:lnTo>
                      <a:pt x="723" y="703"/>
                    </a:lnTo>
                    <a:lnTo>
                      <a:pt x="723" y="700"/>
                    </a:lnTo>
                    <a:lnTo>
                      <a:pt x="712" y="687"/>
                    </a:lnTo>
                    <a:lnTo>
                      <a:pt x="712" y="685"/>
                    </a:lnTo>
                    <a:lnTo>
                      <a:pt x="712" y="683"/>
                    </a:lnTo>
                    <a:lnTo>
                      <a:pt x="714" y="681"/>
                    </a:lnTo>
                    <a:lnTo>
                      <a:pt x="716" y="681"/>
                    </a:lnTo>
                    <a:lnTo>
                      <a:pt x="725" y="681"/>
                    </a:lnTo>
                    <a:lnTo>
                      <a:pt x="727" y="681"/>
                    </a:lnTo>
                    <a:lnTo>
                      <a:pt x="731" y="683"/>
                    </a:lnTo>
                    <a:lnTo>
                      <a:pt x="738" y="689"/>
                    </a:lnTo>
                    <a:lnTo>
                      <a:pt x="740" y="689"/>
                    </a:lnTo>
                    <a:lnTo>
                      <a:pt x="744" y="692"/>
                    </a:lnTo>
                    <a:lnTo>
                      <a:pt x="771" y="689"/>
                    </a:lnTo>
                    <a:lnTo>
                      <a:pt x="775" y="689"/>
                    </a:lnTo>
                    <a:lnTo>
                      <a:pt x="777" y="687"/>
                    </a:lnTo>
                    <a:lnTo>
                      <a:pt x="859" y="645"/>
                    </a:lnTo>
                    <a:lnTo>
                      <a:pt x="876" y="641"/>
                    </a:lnTo>
                    <a:lnTo>
                      <a:pt x="878" y="639"/>
                    </a:lnTo>
                    <a:lnTo>
                      <a:pt x="887" y="634"/>
                    </a:lnTo>
                    <a:lnTo>
                      <a:pt x="896" y="626"/>
                    </a:lnTo>
                    <a:lnTo>
                      <a:pt x="907" y="619"/>
                    </a:lnTo>
                    <a:lnTo>
                      <a:pt x="918" y="610"/>
                    </a:lnTo>
                    <a:lnTo>
                      <a:pt x="920" y="608"/>
                    </a:lnTo>
                    <a:lnTo>
                      <a:pt x="927" y="604"/>
                    </a:lnTo>
                    <a:lnTo>
                      <a:pt x="944" y="582"/>
                    </a:lnTo>
                    <a:lnTo>
                      <a:pt x="949" y="573"/>
                    </a:lnTo>
                    <a:lnTo>
                      <a:pt x="951" y="569"/>
                    </a:lnTo>
                    <a:lnTo>
                      <a:pt x="953" y="562"/>
                    </a:lnTo>
                    <a:lnTo>
                      <a:pt x="955" y="536"/>
                    </a:lnTo>
                    <a:lnTo>
                      <a:pt x="955" y="531"/>
                    </a:lnTo>
                    <a:lnTo>
                      <a:pt x="957" y="523"/>
                    </a:lnTo>
                    <a:lnTo>
                      <a:pt x="962" y="518"/>
                    </a:lnTo>
                    <a:lnTo>
                      <a:pt x="966" y="514"/>
                    </a:lnTo>
                    <a:lnTo>
                      <a:pt x="993" y="496"/>
                    </a:lnTo>
                    <a:lnTo>
                      <a:pt x="993" y="494"/>
                    </a:lnTo>
                    <a:lnTo>
                      <a:pt x="993" y="487"/>
                    </a:lnTo>
                    <a:lnTo>
                      <a:pt x="993" y="476"/>
                    </a:lnTo>
                    <a:lnTo>
                      <a:pt x="993" y="468"/>
                    </a:lnTo>
                    <a:lnTo>
                      <a:pt x="995" y="466"/>
                    </a:lnTo>
                    <a:lnTo>
                      <a:pt x="997" y="463"/>
                    </a:lnTo>
                    <a:lnTo>
                      <a:pt x="997" y="463"/>
                    </a:lnTo>
                    <a:lnTo>
                      <a:pt x="999" y="461"/>
                    </a:lnTo>
                    <a:lnTo>
                      <a:pt x="1001" y="461"/>
                    </a:lnTo>
                    <a:lnTo>
                      <a:pt x="1004" y="463"/>
                    </a:lnTo>
                    <a:lnTo>
                      <a:pt x="1004" y="463"/>
                    </a:lnTo>
                    <a:lnTo>
                      <a:pt x="1006" y="461"/>
                    </a:lnTo>
                    <a:lnTo>
                      <a:pt x="1006" y="459"/>
                    </a:lnTo>
                    <a:lnTo>
                      <a:pt x="1006" y="459"/>
                    </a:lnTo>
                    <a:lnTo>
                      <a:pt x="1008" y="455"/>
                    </a:lnTo>
                    <a:lnTo>
                      <a:pt x="1010" y="452"/>
                    </a:lnTo>
                    <a:lnTo>
                      <a:pt x="1010" y="448"/>
                    </a:lnTo>
                    <a:lnTo>
                      <a:pt x="1008" y="444"/>
                    </a:lnTo>
                    <a:lnTo>
                      <a:pt x="1006" y="441"/>
                    </a:lnTo>
                    <a:lnTo>
                      <a:pt x="1001" y="437"/>
                    </a:lnTo>
                    <a:lnTo>
                      <a:pt x="999" y="435"/>
                    </a:lnTo>
                    <a:lnTo>
                      <a:pt x="997" y="430"/>
                    </a:lnTo>
                    <a:lnTo>
                      <a:pt x="997" y="426"/>
                    </a:lnTo>
                    <a:lnTo>
                      <a:pt x="995" y="422"/>
                    </a:lnTo>
                    <a:lnTo>
                      <a:pt x="995" y="422"/>
                    </a:lnTo>
                    <a:lnTo>
                      <a:pt x="1001" y="422"/>
                    </a:lnTo>
                    <a:lnTo>
                      <a:pt x="1001" y="422"/>
                    </a:lnTo>
                    <a:lnTo>
                      <a:pt x="1004" y="422"/>
                    </a:lnTo>
                    <a:lnTo>
                      <a:pt x="1006" y="422"/>
                    </a:lnTo>
                    <a:lnTo>
                      <a:pt x="1004" y="417"/>
                    </a:lnTo>
                    <a:lnTo>
                      <a:pt x="1004" y="415"/>
                    </a:lnTo>
                    <a:lnTo>
                      <a:pt x="1006" y="413"/>
                    </a:lnTo>
                    <a:lnTo>
                      <a:pt x="1008" y="413"/>
                    </a:lnTo>
                    <a:lnTo>
                      <a:pt x="1008" y="411"/>
                    </a:lnTo>
                    <a:lnTo>
                      <a:pt x="1006" y="411"/>
                    </a:lnTo>
                    <a:lnTo>
                      <a:pt x="1006" y="408"/>
                    </a:lnTo>
                    <a:lnTo>
                      <a:pt x="1010" y="408"/>
                    </a:lnTo>
                    <a:lnTo>
                      <a:pt x="1010" y="406"/>
                    </a:lnTo>
                    <a:lnTo>
                      <a:pt x="1010" y="402"/>
                    </a:lnTo>
                    <a:lnTo>
                      <a:pt x="1012" y="400"/>
                    </a:lnTo>
                    <a:lnTo>
                      <a:pt x="1012" y="400"/>
                    </a:lnTo>
                    <a:lnTo>
                      <a:pt x="1012" y="395"/>
                    </a:lnTo>
                    <a:lnTo>
                      <a:pt x="1012" y="395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27" name="Freeform 27"/>
              <p:cNvSpPr>
                <a:spLocks/>
              </p:cNvSpPr>
              <p:nvPr/>
            </p:nvSpPr>
            <p:spPr bwMode="auto">
              <a:xfrm>
                <a:off x="4764088" y="2630488"/>
                <a:ext cx="684213" cy="996950"/>
              </a:xfrm>
              <a:custGeom>
                <a:avLst/>
                <a:gdLst>
                  <a:gd name="T0" fmla="*/ 428 w 431"/>
                  <a:gd name="T1" fmla="*/ 171 h 628"/>
                  <a:gd name="T2" fmla="*/ 393 w 431"/>
                  <a:gd name="T3" fmla="*/ 143 h 628"/>
                  <a:gd name="T4" fmla="*/ 323 w 431"/>
                  <a:gd name="T5" fmla="*/ 136 h 628"/>
                  <a:gd name="T6" fmla="*/ 301 w 431"/>
                  <a:gd name="T7" fmla="*/ 130 h 628"/>
                  <a:gd name="T8" fmla="*/ 272 w 431"/>
                  <a:gd name="T9" fmla="*/ 101 h 628"/>
                  <a:gd name="T10" fmla="*/ 226 w 431"/>
                  <a:gd name="T11" fmla="*/ 123 h 628"/>
                  <a:gd name="T12" fmla="*/ 207 w 431"/>
                  <a:gd name="T13" fmla="*/ 121 h 628"/>
                  <a:gd name="T14" fmla="*/ 180 w 431"/>
                  <a:gd name="T15" fmla="*/ 77 h 628"/>
                  <a:gd name="T16" fmla="*/ 152 w 431"/>
                  <a:gd name="T17" fmla="*/ 57 h 628"/>
                  <a:gd name="T18" fmla="*/ 86 w 431"/>
                  <a:gd name="T19" fmla="*/ 37 h 628"/>
                  <a:gd name="T20" fmla="*/ 38 w 431"/>
                  <a:gd name="T21" fmla="*/ 11 h 628"/>
                  <a:gd name="T22" fmla="*/ 13 w 431"/>
                  <a:gd name="T23" fmla="*/ 18 h 628"/>
                  <a:gd name="T24" fmla="*/ 16 w 431"/>
                  <a:gd name="T25" fmla="*/ 46 h 628"/>
                  <a:gd name="T26" fmla="*/ 35 w 431"/>
                  <a:gd name="T27" fmla="*/ 108 h 628"/>
                  <a:gd name="T28" fmla="*/ 79 w 431"/>
                  <a:gd name="T29" fmla="*/ 127 h 628"/>
                  <a:gd name="T30" fmla="*/ 106 w 431"/>
                  <a:gd name="T31" fmla="*/ 149 h 628"/>
                  <a:gd name="T32" fmla="*/ 110 w 431"/>
                  <a:gd name="T33" fmla="*/ 184 h 628"/>
                  <a:gd name="T34" fmla="*/ 86 w 431"/>
                  <a:gd name="T35" fmla="*/ 213 h 628"/>
                  <a:gd name="T36" fmla="*/ 62 w 431"/>
                  <a:gd name="T37" fmla="*/ 231 h 628"/>
                  <a:gd name="T38" fmla="*/ 38 w 431"/>
                  <a:gd name="T39" fmla="*/ 231 h 628"/>
                  <a:gd name="T40" fmla="*/ 18 w 431"/>
                  <a:gd name="T41" fmla="*/ 222 h 628"/>
                  <a:gd name="T42" fmla="*/ 9 w 431"/>
                  <a:gd name="T43" fmla="*/ 246 h 628"/>
                  <a:gd name="T44" fmla="*/ 0 w 431"/>
                  <a:gd name="T45" fmla="*/ 294 h 628"/>
                  <a:gd name="T46" fmla="*/ 11 w 431"/>
                  <a:gd name="T47" fmla="*/ 305 h 628"/>
                  <a:gd name="T48" fmla="*/ 31 w 431"/>
                  <a:gd name="T49" fmla="*/ 336 h 628"/>
                  <a:gd name="T50" fmla="*/ 29 w 431"/>
                  <a:gd name="T51" fmla="*/ 360 h 628"/>
                  <a:gd name="T52" fmla="*/ 49 w 431"/>
                  <a:gd name="T53" fmla="*/ 391 h 628"/>
                  <a:gd name="T54" fmla="*/ 62 w 431"/>
                  <a:gd name="T55" fmla="*/ 413 h 628"/>
                  <a:gd name="T56" fmla="*/ 57 w 431"/>
                  <a:gd name="T57" fmla="*/ 446 h 628"/>
                  <a:gd name="T58" fmla="*/ 73 w 431"/>
                  <a:gd name="T59" fmla="*/ 474 h 628"/>
                  <a:gd name="T60" fmla="*/ 70 w 431"/>
                  <a:gd name="T61" fmla="*/ 487 h 628"/>
                  <a:gd name="T62" fmla="*/ 73 w 431"/>
                  <a:gd name="T63" fmla="*/ 492 h 628"/>
                  <a:gd name="T64" fmla="*/ 81 w 431"/>
                  <a:gd name="T65" fmla="*/ 503 h 628"/>
                  <a:gd name="T66" fmla="*/ 99 w 431"/>
                  <a:gd name="T67" fmla="*/ 503 h 628"/>
                  <a:gd name="T68" fmla="*/ 141 w 431"/>
                  <a:gd name="T69" fmla="*/ 516 h 628"/>
                  <a:gd name="T70" fmla="*/ 163 w 431"/>
                  <a:gd name="T71" fmla="*/ 542 h 628"/>
                  <a:gd name="T72" fmla="*/ 187 w 431"/>
                  <a:gd name="T73" fmla="*/ 590 h 628"/>
                  <a:gd name="T74" fmla="*/ 246 w 431"/>
                  <a:gd name="T75" fmla="*/ 601 h 628"/>
                  <a:gd name="T76" fmla="*/ 264 w 431"/>
                  <a:gd name="T77" fmla="*/ 593 h 628"/>
                  <a:gd name="T78" fmla="*/ 268 w 431"/>
                  <a:gd name="T79" fmla="*/ 562 h 628"/>
                  <a:gd name="T80" fmla="*/ 279 w 431"/>
                  <a:gd name="T81" fmla="*/ 569 h 628"/>
                  <a:gd name="T82" fmla="*/ 283 w 431"/>
                  <a:gd name="T83" fmla="*/ 582 h 628"/>
                  <a:gd name="T84" fmla="*/ 288 w 431"/>
                  <a:gd name="T85" fmla="*/ 590 h 628"/>
                  <a:gd name="T86" fmla="*/ 294 w 431"/>
                  <a:gd name="T87" fmla="*/ 601 h 628"/>
                  <a:gd name="T88" fmla="*/ 301 w 431"/>
                  <a:gd name="T89" fmla="*/ 623 h 628"/>
                  <a:gd name="T90" fmla="*/ 319 w 431"/>
                  <a:gd name="T91" fmla="*/ 621 h 628"/>
                  <a:gd name="T92" fmla="*/ 341 w 431"/>
                  <a:gd name="T93" fmla="*/ 595 h 628"/>
                  <a:gd name="T94" fmla="*/ 352 w 431"/>
                  <a:gd name="T95" fmla="*/ 551 h 628"/>
                  <a:gd name="T96" fmla="*/ 373 w 431"/>
                  <a:gd name="T97" fmla="*/ 518 h 628"/>
                  <a:gd name="T98" fmla="*/ 314 w 431"/>
                  <a:gd name="T99" fmla="*/ 373 h 628"/>
                  <a:gd name="T100" fmla="*/ 312 w 431"/>
                  <a:gd name="T101" fmla="*/ 310 h 628"/>
                  <a:gd name="T102" fmla="*/ 323 w 431"/>
                  <a:gd name="T103" fmla="*/ 270 h 628"/>
                  <a:gd name="T104" fmla="*/ 343 w 431"/>
                  <a:gd name="T105" fmla="*/ 255 h 628"/>
                  <a:gd name="T106" fmla="*/ 369 w 431"/>
                  <a:gd name="T107" fmla="*/ 263 h 628"/>
                  <a:gd name="T108" fmla="*/ 398 w 431"/>
                  <a:gd name="T109" fmla="*/ 292 h 628"/>
                  <a:gd name="T110" fmla="*/ 411 w 431"/>
                  <a:gd name="T111" fmla="*/ 279 h 628"/>
                  <a:gd name="T112" fmla="*/ 426 w 431"/>
                  <a:gd name="T113" fmla="*/ 242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31" h="628">
                    <a:moveTo>
                      <a:pt x="431" y="182"/>
                    </a:moveTo>
                    <a:lnTo>
                      <a:pt x="431" y="180"/>
                    </a:lnTo>
                    <a:lnTo>
                      <a:pt x="431" y="176"/>
                    </a:lnTo>
                    <a:lnTo>
                      <a:pt x="428" y="174"/>
                    </a:lnTo>
                    <a:lnTo>
                      <a:pt x="428" y="171"/>
                    </a:lnTo>
                    <a:lnTo>
                      <a:pt x="424" y="165"/>
                    </a:lnTo>
                    <a:lnTo>
                      <a:pt x="422" y="163"/>
                    </a:lnTo>
                    <a:lnTo>
                      <a:pt x="411" y="149"/>
                    </a:lnTo>
                    <a:lnTo>
                      <a:pt x="404" y="147"/>
                    </a:lnTo>
                    <a:lnTo>
                      <a:pt x="393" y="143"/>
                    </a:lnTo>
                    <a:lnTo>
                      <a:pt x="382" y="141"/>
                    </a:lnTo>
                    <a:lnTo>
                      <a:pt x="360" y="134"/>
                    </a:lnTo>
                    <a:lnTo>
                      <a:pt x="347" y="134"/>
                    </a:lnTo>
                    <a:lnTo>
                      <a:pt x="330" y="136"/>
                    </a:lnTo>
                    <a:lnTo>
                      <a:pt x="323" y="136"/>
                    </a:lnTo>
                    <a:lnTo>
                      <a:pt x="319" y="136"/>
                    </a:lnTo>
                    <a:lnTo>
                      <a:pt x="316" y="136"/>
                    </a:lnTo>
                    <a:lnTo>
                      <a:pt x="308" y="134"/>
                    </a:lnTo>
                    <a:lnTo>
                      <a:pt x="305" y="132"/>
                    </a:lnTo>
                    <a:lnTo>
                      <a:pt x="301" y="130"/>
                    </a:lnTo>
                    <a:lnTo>
                      <a:pt x="288" y="114"/>
                    </a:lnTo>
                    <a:lnTo>
                      <a:pt x="283" y="108"/>
                    </a:lnTo>
                    <a:lnTo>
                      <a:pt x="279" y="103"/>
                    </a:lnTo>
                    <a:lnTo>
                      <a:pt x="275" y="101"/>
                    </a:lnTo>
                    <a:lnTo>
                      <a:pt x="272" y="101"/>
                    </a:lnTo>
                    <a:lnTo>
                      <a:pt x="268" y="99"/>
                    </a:lnTo>
                    <a:lnTo>
                      <a:pt x="266" y="99"/>
                    </a:lnTo>
                    <a:lnTo>
                      <a:pt x="259" y="101"/>
                    </a:lnTo>
                    <a:lnTo>
                      <a:pt x="233" y="121"/>
                    </a:lnTo>
                    <a:lnTo>
                      <a:pt x="226" y="123"/>
                    </a:lnTo>
                    <a:lnTo>
                      <a:pt x="222" y="123"/>
                    </a:lnTo>
                    <a:lnTo>
                      <a:pt x="218" y="123"/>
                    </a:lnTo>
                    <a:lnTo>
                      <a:pt x="215" y="123"/>
                    </a:lnTo>
                    <a:lnTo>
                      <a:pt x="209" y="121"/>
                    </a:lnTo>
                    <a:lnTo>
                      <a:pt x="207" y="121"/>
                    </a:lnTo>
                    <a:lnTo>
                      <a:pt x="200" y="116"/>
                    </a:lnTo>
                    <a:lnTo>
                      <a:pt x="196" y="110"/>
                    </a:lnTo>
                    <a:lnTo>
                      <a:pt x="191" y="101"/>
                    </a:lnTo>
                    <a:lnTo>
                      <a:pt x="185" y="84"/>
                    </a:lnTo>
                    <a:lnTo>
                      <a:pt x="180" y="77"/>
                    </a:lnTo>
                    <a:lnTo>
                      <a:pt x="176" y="70"/>
                    </a:lnTo>
                    <a:lnTo>
                      <a:pt x="167" y="64"/>
                    </a:lnTo>
                    <a:lnTo>
                      <a:pt x="163" y="62"/>
                    </a:lnTo>
                    <a:lnTo>
                      <a:pt x="158" y="59"/>
                    </a:lnTo>
                    <a:lnTo>
                      <a:pt x="152" y="57"/>
                    </a:lnTo>
                    <a:lnTo>
                      <a:pt x="112" y="55"/>
                    </a:lnTo>
                    <a:lnTo>
                      <a:pt x="108" y="53"/>
                    </a:lnTo>
                    <a:lnTo>
                      <a:pt x="99" y="51"/>
                    </a:lnTo>
                    <a:lnTo>
                      <a:pt x="90" y="42"/>
                    </a:lnTo>
                    <a:lnTo>
                      <a:pt x="86" y="37"/>
                    </a:lnTo>
                    <a:lnTo>
                      <a:pt x="84" y="35"/>
                    </a:lnTo>
                    <a:lnTo>
                      <a:pt x="77" y="29"/>
                    </a:lnTo>
                    <a:lnTo>
                      <a:pt x="66" y="22"/>
                    </a:lnTo>
                    <a:lnTo>
                      <a:pt x="44" y="13"/>
                    </a:lnTo>
                    <a:lnTo>
                      <a:pt x="38" y="11"/>
                    </a:lnTo>
                    <a:lnTo>
                      <a:pt x="31" y="5"/>
                    </a:lnTo>
                    <a:lnTo>
                      <a:pt x="27" y="0"/>
                    </a:lnTo>
                    <a:lnTo>
                      <a:pt x="20" y="7"/>
                    </a:lnTo>
                    <a:lnTo>
                      <a:pt x="13" y="13"/>
                    </a:lnTo>
                    <a:lnTo>
                      <a:pt x="13" y="18"/>
                    </a:lnTo>
                    <a:lnTo>
                      <a:pt x="11" y="20"/>
                    </a:lnTo>
                    <a:lnTo>
                      <a:pt x="11" y="22"/>
                    </a:lnTo>
                    <a:lnTo>
                      <a:pt x="16" y="40"/>
                    </a:lnTo>
                    <a:lnTo>
                      <a:pt x="16" y="42"/>
                    </a:lnTo>
                    <a:lnTo>
                      <a:pt x="16" y="46"/>
                    </a:lnTo>
                    <a:lnTo>
                      <a:pt x="13" y="51"/>
                    </a:lnTo>
                    <a:lnTo>
                      <a:pt x="11" y="55"/>
                    </a:lnTo>
                    <a:lnTo>
                      <a:pt x="11" y="64"/>
                    </a:lnTo>
                    <a:lnTo>
                      <a:pt x="31" y="97"/>
                    </a:lnTo>
                    <a:lnTo>
                      <a:pt x="35" y="108"/>
                    </a:lnTo>
                    <a:lnTo>
                      <a:pt x="40" y="114"/>
                    </a:lnTo>
                    <a:lnTo>
                      <a:pt x="42" y="116"/>
                    </a:lnTo>
                    <a:lnTo>
                      <a:pt x="46" y="119"/>
                    </a:lnTo>
                    <a:lnTo>
                      <a:pt x="55" y="121"/>
                    </a:lnTo>
                    <a:lnTo>
                      <a:pt x="79" y="127"/>
                    </a:lnTo>
                    <a:lnTo>
                      <a:pt x="88" y="132"/>
                    </a:lnTo>
                    <a:lnTo>
                      <a:pt x="95" y="134"/>
                    </a:lnTo>
                    <a:lnTo>
                      <a:pt x="97" y="138"/>
                    </a:lnTo>
                    <a:lnTo>
                      <a:pt x="101" y="143"/>
                    </a:lnTo>
                    <a:lnTo>
                      <a:pt x="106" y="149"/>
                    </a:lnTo>
                    <a:lnTo>
                      <a:pt x="108" y="154"/>
                    </a:lnTo>
                    <a:lnTo>
                      <a:pt x="110" y="158"/>
                    </a:lnTo>
                    <a:lnTo>
                      <a:pt x="114" y="171"/>
                    </a:lnTo>
                    <a:lnTo>
                      <a:pt x="114" y="178"/>
                    </a:lnTo>
                    <a:lnTo>
                      <a:pt x="110" y="184"/>
                    </a:lnTo>
                    <a:lnTo>
                      <a:pt x="95" y="198"/>
                    </a:lnTo>
                    <a:lnTo>
                      <a:pt x="90" y="202"/>
                    </a:lnTo>
                    <a:lnTo>
                      <a:pt x="88" y="204"/>
                    </a:lnTo>
                    <a:lnTo>
                      <a:pt x="86" y="209"/>
                    </a:lnTo>
                    <a:lnTo>
                      <a:pt x="86" y="213"/>
                    </a:lnTo>
                    <a:lnTo>
                      <a:pt x="84" y="217"/>
                    </a:lnTo>
                    <a:lnTo>
                      <a:pt x="81" y="222"/>
                    </a:lnTo>
                    <a:lnTo>
                      <a:pt x="79" y="224"/>
                    </a:lnTo>
                    <a:lnTo>
                      <a:pt x="75" y="226"/>
                    </a:lnTo>
                    <a:lnTo>
                      <a:pt x="62" y="231"/>
                    </a:lnTo>
                    <a:lnTo>
                      <a:pt x="60" y="231"/>
                    </a:lnTo>
                    <a:lnTo>
                      <a:pt x="53" y="228"/>
                    </a:lnTo>
                    <a:lnTo>
                      <a:pt x="51" y="228"/>
                    </a:lnTo>
                    <a:lnTo>
                      <a:pt x="40" y="231"/>
                    </a:lnTo>
                    <a:lnTo>
                      <a:pt x="38" y="231"/>
                    </a:lnTo>
                    <a:lnTo>
                      <a:pt x="33" y="228"/>
                    </a:lnTo>
                    <a:lnTo>
                      <a:pt x="31" y="228"/>
                    </a:lnTo>
                    <a:lnTo>
                      <a:pt x="27" y="224"/>
                    </a:lnTo>
                    <a:lnTo>
                      <a:pt x="20" y="222"/>
                    </a:lnTo>
                    <a:lnTo>
                      <a:pt x="18" y="222"/>
                    </a:lnTo>
                    <a:lnTo>
                      <a:pt x="11" y="224"/>
                    </a:lnTo>
                    <a:lnTo>
                      <a:pt x="11" y="226"/>
                    </a:lnTo>
                    <a:lnTo>
                      <a:pt x="9" y="231"/>
                    </a:lnTo>
                    <a:lnTo>
                      <a:pt x="7" y="235"/>
                    </a:lnTo>
                    <a:lnTo>
                      <a:pt x="9" y="246"/>
                    </a:lnTo>
                    <a:lnTo>
                      <a:pt x="7" y="266"/>
                    </a:lnTo>
                    <a:lnTo>
                      <a:pt x="0" y="281"/>
                    </a:lnTo>
                    <a:lnTo>
                      <a:pt x="0" y="288"/>
                    </a:lnTo>
                    <a:lnTo>
                      <a:pt x="0" y="292"/>
                    </a:lnTo>
                    <a:lnTo>
                      <a:pt x="0" y="294"/>
                    </a:lnTo>
                    <a:lnTo>
                      <a:pt x="2" y="296"/>
                    </a:lnTo>
                    <a:lnTo>
                      <a:pt x="5" y="299"/>
                    </a:lnTo>
                    <a:lnTo>
                      <a:pt x="7" y="301"/>
                    </a:lnTo>
                    <a:lnTo>
                      <a:pt x="9" y="303"/>
                    </a:lnTo>
                    <a:lnTo>
                      <a:pt x="11" y="305"/>
                    </a:lnTo>
                    <a:lnTo>
                      <a:pt x="13" y="310"/>
                    </a:lnTo>
                    <a:lnTo>
                      <a:pt x="18" y="325"/>
                    </a:lnTo>
                    <a:lnTo>
                      <a:pt x="20" y="327"/>
                    </a:lnTo>
                    <a:lnTo>
                      <a:pt x="31" y="334"/>
                    </a:lnTo>
                    <a:lnTo>
                      <a:pt x="31" y="336"/>
                    </a:lnTo>
                    <a:lnTo>
                      <a:pt x="33" y="338"/>
                    </a:lnTo>
                    <a:lnTo>
                      <a:pt x="33" y="342"/>
                    </a:lnTo>
                    <a:lnTo>
                      <a:pt x="33" y="345"/>
                    </a:lnTo>
                    <a:lnTo>
                      <a:pt x="29" y="356"/>
                    </a:lnTo>
                    <a:lnTo>
                      <a:pt x="29" y="360"/>
                    </a:lnTo>
                    <a:lnTo>
                      <a:pt x="29" y="364"/>
                    </a:lnTo>
                    <a:lnTo>
                      <a:pt x="35" y="378"/>
                    </a:lnTo>
                    <a:lnTo>
                      <a:pt x="40" y="384"/>
                    </a:lnTo>
                    <a:lnTo>
                      <a:pt x="42" y="386"/>
                    </a:lnTo>
                    <a:lnTo>
                      <a:pt x="49" y="391"/>
                    </a:lnTo>
                    <a:lnTo>
                      <a:pt x="49" y="393"/>
                    </a:lnTo>
                    <a:lnTo>
                      <a:pt x="55" y="400"/>
                    </a:lnTo>
                    <a:lnTo>
                      <a:pt x="60" y="406"/>
                    </a:lnTo>
                    <a:lnTo>
                      <a:pt x="62" y="408"/>
                    </a:lnTo>
                    <a:lnTo>
                      <a:pt x="62" y="413"/>
                    </a:lnTo>
                    <a:lnTo>
                      <a:pt x="62" y="415"/>
                    </a:lnTo>
                    <a:lnTo>
                      <a:pt x="57" y="426"/>
                    </a:lnTo>
                    <a:lnTo>
                      <a:pt x="57" y="430"/>
                    </a:lnTo>
                    <a:lnTo>
                      <a:pt x="57" y="437"/>
                    </a:lnTo>
                    <a:lnTo>
                      <a:pt x="57" y="446"/>
                    </a:lnTo>
                    <a:lnTo>
                      <a:pt x="60" y="448"/>
                    </a:lnTo>
                    <a:lnTo>
                      <a:pt x="60" y="452"/>
                    </a:lnTo>
                    <a:lnTo>
                      <a:pt x="64" y="459"/>
                    </a:lnTo>
                    <a:lnTo>
                      <a:pt x="70" y="470"/>
                    </a:lnTo>
                    <a:lnTo>
                      <a:pt x="73" y="474"/>
                    </a:lnTo>
                    <a:lnTo>
                      <a:pt x="73" y="476"/>
                    </a:lnTo>
                    <a:lnTo>
                      <a:pt x="73" y="481"/>
                    </a:lnTo>
                    <a:lnTo>
                      <a:pt x="73" y="483"/>
                    </a:lnTo>
                    <a:lnTo>
                      <a:pt x="73" y="485"/>
                    </a:lnTo>
                    <a:lnTo>
                      <a:pt x="70" y="487"/>
                    </a:lnTo>
                    <a:lnTo>
                      <a:pt x="70" y="487"/>
                    </a:lnTo>
                    <a:lnTo>
                      <a:pt x="70" y="490"/>
                    </a:lnTo>
                    <a:lnTo>
                      <a:pt x="70" y="490"/>
                    </a:lnTo>
                    <a:lnTo>
                      <a:pt x="70" y="492"/>
                    </a:lnTo>
                    <a:lnTo>
                      <a:pt x="73" y="492"/>
                    </a:lnTo>
                    <a:lnTo>
                      <a:pt x="75" y="496"/>
                    </a:lnTo>
                    <a:lnTo>
                      <a:pt x="77" y="498"/>
                    </a:lnTo>
                    <a:lnTo>
                      <a:pt x="77" y="501"/>
                    </a:lnTo>
                    <a:lnTo>
                      <a:pt x="79" y="503"/>
                    </a:lnTo>
                    <a:lnTo>
                      <a:pt x="81" y="503"/>
                    </a:lnTo>
                    <a:lnTo>
                      <a:pt x="86" y="505"/>
                    </a:lnTo>
                    <a:lnTo>
                      <a:pt x="90" y="505"/>
                    </a:lnTo>
                    <a:lnTo>
                      <a:pt x="92" y="505"/>
                    </a:lnTo>
                    <a:lnTo>
                      <a:pt x="95" y="503"/>
                    </a:lnTo>
                    <a:lnTo>
                      <a:pt x="99" y="503"/>
                    </a:lnTo>
                    <a:lnTo>
                      <a:pt x="101" y="503"/>
                    </a:lnTo>
                    <a:lnTo>
                      <a:pt x="121" y="507"/>
                    </a:lnTo>
                    <a:lnTo>
                      <a:pt x="128" y="511"/>
                    </a:lnTo>
                    <a:lnTo>
                      <a:pt x="136" y="514"/>
                    </a:lnTo>
                    <a:lnTo>
                      <a:pt x="141" y="516"/>
                    </a:lnTo>
                    <a:lnTo>
                      <a:pt x="147" y="520"/>
                    </a:lnTo>
                    <a:lnTo>
                      <a:pt x="150" y="520"/>
                    </a:lnTo>
                    <a:lnTo>
                      <a:pt x="163" y="536"/>
                    </a:lnTo>
                    <a:lnTo>
                      <a:pt x="163" y="538"/>
                    </a:lnTo>
                    <a:lnTo>
                      <a:pt x="163" y="542"/>
                    </a:lnTo>
                    <a:lnTo>
                      <a:pt x="167" y="586"/>
                    </a:lnTo>
                    <a:lnTo>
                      <a:pt x="169" y="588"/>
                    </a:lnTo>
                    <a:lnTo>
                      <a:pt x="169" y="590"/>
                    </a:lnTo>
                    <a:lnTo>
                      <a:pt x="171" y="593"/>
                    </a:lnTo>
                    <a:lnTo>
                      <a:pt x="187" y="590"/>
                    </a:lnTo>
                    <a:lnTo>
                      <a:pt x="193" y="590"/>
                    </a:lnTo>
                    <a:lnTo>
                      <a:pt x="200" y="593"/>
                    </a:lnTo>
                    <a:lnTo>
                      <a:pt x="215" y="597"/>
                    </a:lnTo>
                    <a:lnTo>
                      <a:pt x="220" y="597"/>
                    </a:lnTo>
                    <a:lnTo>
                      <a:pt x="246" y="601"/>
                    </a:lnTo>
                    <a:lnTo>
                      <a:pt x="253" y="601"/>
                    </a:lnTo>
                    <a:lnTo>
                      <a:pt x="259" y="599"/>
                    </a:lnTo>
                    <a:lnTo>
                      <a:pt x="259" y="599"/>
                    </a:lnTo>
                    <a:lnTo>
                      <a:pt x="262" y="597"/>
                    </a:lnTo>
                    <a:lnTo>
                      <a:pt x="264" y="593"/>
                    </a:lnTo>
                    <a:lnTo>
                      <a:pt x="264" y="584"/>
                    </a:lnTo>
                    <a:lnTo>
                      <a:pt x="264" y="571"/>
                    </a:lnTo>
                    <a:lnTo>
                      <a:pt x="264" y="566"/>
                    </a:lnTo>
                    <a:lnTo>
                      <a:pt x="266" y="564"/>
                    </a:lnTo>
                    <a:lnTo>
                      <a:pt x="268" y="562"/>
                    </a:lnTo>
                    <a:lnTo>
                      <a:pt x="270" y="560"/>
                    </a:lnTo>
                    <a:lnTo>
                      <a:pt x="272" y="560"/>
                    </a:lnTo>
                    <a:lnTo>
                      <a:pt x="275" y="562"/>
                    </a:lnTo>
                    <a:lnTo>
                      <a:pt x="277" y="569"/>
                    </a:lnTo>
                    <a:lnTo>
                      <a:pt x="279" y="569"/>
                    </a:lnTo>
                    <a:lnTo>
                      <a:pt x="279" y="571"/>
                    </a:lnTo>
                    <a:lnTo>
                      <a:pt x="279" y="575"/>
                    </a:lnTo>
                    <a:lnTo>
                      <a:pt x="279" y="577"/>
                    </a:lnTo>
                    <a:lnTo>
                      <a:pt x="281" y="580"/>
                    </a:lnTo>
                    <a:lnTo>
                      <a:pt x="283" y="582"/>
                    </a:lnTo>
                    <a:lnTo>
                      <a:pt x="286" y="584"/>
                    </a:lnTo>
                    <a:lnTo>
                      <a:pt x="286" y="584"/>
                    </a:lnTo>
                    <a:lnTo>
                      <a:pt x="286" y="588"/>
                    </a:lnTo>
                    <a:lnTo>
                      <a:pt x="288" y="588"/>
                    </a:lnTo>
                    <a:lnTo>
                      <a:pt x="288" y="590"/>
                    </a:lnTo>
                    <a:lnTo>
                      <a:pt x="290" y="593"/>
                    </a:lnTo>
                    <a:lnTo>
                      <a:pt x="292" y="595"/>
                    </a:lnTo>
                    <a:lnTo>
                      <a:pt x="292" y="597"/>
                    </a:lnTo>
                    <a:lnTo>
                      <a:pt x="294" y="601"/>
                    </a:lnTo>
                    <a:lnTo>
                      <a:pt x="294" y="601"/>
                    </a:lnTo>
                    <a:lnTo>
                      <a:pt x="294" y="604"/>
                    </a:lnTo>
                    <a:lnTo>
                      <a:pt x="299" y="612"/>
                    </a:lnTo>
                    <a:lnTo>
                      <a:pt x="299" y="619"/>
                    </a:lnTo>
                    <a:lnTo>
                      <a:pt x="301" y="621"/>
                    </a:lnTo>
                    <a:lnTo>
                      <a:pt x="301" y="623"/>
                    </a:lnTo>
                    <a:lnTo>
                      <a:pt x="303" y="626"/>
                    </a:lnTo>
                    <a:lnTo>
                      <a:pt x="305" y="628"/>
                    </a:lnTo>
                    <a:lnTo>
                      <a:pt x="312" y="628"/>
                    </a:lnTo>
                    <a:lnTo>
                      <a:pt x="316" y="623"/>
                    </a:lnTo>
                    <a:lnTo>
                      <a:pt x="319" y="621"/>
                    </a:lnTo>
                    <a:lnTo>
                      <a:pt x="321" y="617"/>
                    </a:lnTo>
                    <a:lnTo>
                      <a:pt x="325" y="606"/>
                    </a:lnTo>
                    <a:lnTo>
                      <a:pt x="330" y="604"/>
                    </a:lnTo>
                    <a:lnTo>
                      <a:pt x="332" y="601"/>
                    </a:lnTo>
                    <a:lnTo>
                      <a:pt x="341" y="595"/>
                    </a:lnTo>
                    <a:lnTo>
                      <a:pt x="345" y="577"/>
                    </a:lnTo>
                    <a:lnTo>
                      <a:pt x="347" y="569"/>
                    </a:lnTo>
                    <a:lnTo>
                      <a:pt x="349" y="558"/>
                    </a:lnTo>
                    <a:lnTo>
                      <a:pt x="349" y="555"/>
                    </a:lnTo>
                    <a:lnTo>
                      <a:pt x="352" y="551"/>
                    </a:lnTo>
                    <a:lnTo>
                      <a:pt x="369" y="531"/>
                    </a:lnTo>
                    <a:lnTo>
                      <a:pt x="371" y="527"/>
                    </a:lnTo>
                    <a:lnTo>
                      <a:pt x="371" y="525"/>
                    </a:lnTo>
                    <a:lnTo>
                      <a:pt x="373" y="522"/>
                    </a:lnTo>
                    <a:lnTo>
                      <a:pt x="373" y="518"/>
                    </a:lnTo>
                    <a:lnTo>
                      <a:pt x="371" y="511"/>
                    </a:lnTo>
                    <a:lnTo>
                      <a:pt x="365" y="492"/>
                    </a:lnTo>
                    <a:lnTo>
                      <a:pt x="321" y="395"/>
                    </a:lnTo>
                    <a:lnTo>
                      <a:pt x="316" y="384"/>
                    </a:lnTo>
                    <a:lnTo>
                      <a:pt x="314" y="373"/>
                    </a:lnTo>
                    <a:lnTo>
                      <a:pt x="312" y="362"/>
                    </a:lnTo>
                    <a:lnTo>
                      <a:pt x="316" y="323"/>
                    </a:lnTo>
                    <a:lnTo>
                      <a:pt x="314" y="316"/>
                    </a:lnTo>
                    <a:lnTo>
                      <a:pt x="314" y="312"/>
                    </a:lnTo>
                    <a:lnTo>
                      <a:pt x="312" y="310"/>
                    </a:lnTo>
                    <a:lnTo>
                      <a:pt x="310" y="303"/>
                    </a:lnTo>
                    <a:lnTo>
                      <a:pt x="310" y="303"/>
                    </a:lnTo>
                    <a:lnTo>
                      <a:pt x="310" y="301"/>
                    </a:lnTo>
                    <a:lnTo>
                      <a:pt x="314" y="290"/>
                    </a:lnTo>
                    <a:lnTo>
                      <a:pt x="323" y="270"/>
                    </a:lnTo>
                    <a:lnTo>
                      <a:pt x="330" y="261"/>
                    </a:lnTo>
                    <a:lnTo>
                      <a:pt x="332" y="259"/>
                    </a:lnTo>
                    <a:lnTo>
                      <a:pt x="336" y="257"/>
                    </a:lnTo>
                    <a:lnTo>
                      <a:pt x="338" y="257"/>
                    </a:lnTo>
                    <a:lnTo>
                      <a:pt x="343" y="255"/>
                    </a:lnTo>
                    <a:lnTo>
                      <a:pt x="349" y="255"/>
                    </a:lnTo>
                    <a:lnTo>
                      <a:pt x="354" y="257"/>
                    </a:lnTo>
                    <a:lnTo>
                      <a:pt x="360" y="259"/>
                    </a:lnTo>
                    <a:lnTo>
                      <a:pt x="365" y="259"/>
                    </a:lnTo>
                    <a:lnTo>
                      <a:pt x="369" y="263"/>
                    </a:lnTo>
                    <a:lnTo>
                      <a:pt x="373" y="268"/>
                    </a:lnTo>
                    <a:lnTo>
                      <a:pt x="391" y="288"/>
                    </a:lnTo>
                    <a:lnTo>
                      <a:pt x="393" y="290"/>
                    </a:lnTo>
                    <a:lnTo>
                      <a:pt x="395" y="290"/>
                    </a:lnTo>
                    <a:lnTo>
                      <a:pt x="398" y="292"/>
                    </a:lnTo>
                    <a:lnTo>
                      <a:pt x="400" y="290"/>
                    </a:lnTo>
                    <a:lnTo>
                      <a:pt x="402" y="290"/>
                    </a:lnTo>
                    <a:lnTo>
                      <a:pt x="404" y="288"/>
                    </a:lnTo>
                    <a:lnTo>
                      <a:pt x="406" y="285"/>
                    </a:lnTo>
                    <a:lnTo>
                      <a:pt x="411" y="279"/>
                    </a:lnTo>
                    <a:lnTo>
                      <a:pt x="420" y="263"/>
                    </a:lnTo>
                    <a:lnTo>
                      <a:pt x="422" y="261"/>
                    </a:lnTo>
                    <a:lnTo>
                      <a:pt x="422" y="259"/>
                    </a:lnTo>
                    <a:lnTo>
                      <a:pt x="426" y="244"/>
                    </a:lnTo>
                    <a:lnTo>
                      <a:pt x="426" y="242"/>
                    </a:lnTo>
                    <a:lnTo>
                      <a:pt x="424" y="235"/>
                    </a:lnTo>
                    <a:lnTo>
                      <a:pt x="431" y="182"/>
                    </a:lnTo>
                    <a:lnTo>
                      <a:pt x="431" y="182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28" name="Freeform 28"/>
              <p:cNvSpPr>
                <a:spLocks/>
              </p:cNvSpPr>
              <p:nvPr/>
            </p:nvSpPr>
            <p:spPr bwMode="auto">
              <a:xfrm>
                <a:off x="6357938" y="3989388"/>
                <a:ext cx="1090613" cy="1023937"/>
              </a:xfrm>
              <a:custGeom>
                <a:avLst/>
                <a:gdLst>
                  <a:gd name="T0" fmla="*/ 643 w 687"/>
                  <a:gd name="T1" fmla="*/ 404 h 645"/>
                  <a:gd name="T2" fmla="*/ 566 w 687"/>
                  <a:gd name="T3" fmla="*/ 268 h 645"/>
                  <a:gd name="T4" fmla="*/ 524 w 687"/>
                  <a:gd name="T5" fmla="*/ 195 h 645"/>
                  <a:gd name="T6" fmla="*/ 522 w 687"/>
                  <a:gd name="T7" fmla="*/ 191 h 645"/>
                  <a:gd name="T8" fmla="*/ 494 w 687"/>
                  <a:gd name="T9" fmla="*/ 191 h 645"/>
                  <a:gd name="T10" fmla="*/ 474 w 687"/>
                  <a:gd name="T11" fmla="*/ 184 h 645"/>
                  <a:gd name="T12" fmla="*/ 450 w 687"/>
                  <a:gd name="T13" fmla="*/ 182 h 645"/>
                  <a:gd name="T14" fmla="*/ 379 w 687"/>
                  <a:gd name="T15" fmla="*/ 211 h 645"/>
                  <a:gd name="T16" fmla="*/ 349 w 687"/>
                  <a:gd name="T17" fmla="*/ 191 h 645"/>
                  <a:gd name="T18" fmla="*/ 322 w 687"/>
                  <a:gd name="T19" fmla="*/ 184 h 645"/>
                  <a:gd name="T20" fmla="*/ 325 w 687"/>
                  <a:gd name="T21" fmla="*/ 90 h 645"/>
                  <a:gd name="T22" fmla="*/ 325 w 687"/>
                  <a:gd name="T23" fmla="*/ 0 h 645"/>
                  <a:gd name="T24" fmla="*/ 289 w 687"/>
                  <a:gd name="T25" fmla="*/ 29 h 645"/>
                  <a:gd name="T26" fmla="*/ 283 w 687"/>
                  <a:gd name="T27" fmla="*/ 75 h 645"/>
                  <a:gd name="T28" fmla="*/ 252 w 687"/>
                  <a:gd name="T29" fmla="*/ 114 h 645"/>
                  <a:gd name="T30" fmla="*/ 219 w 687"/>
                  <a:gd name="T31" fmla="*/ 140 h 645"/>
                  <a:gd name="T32" fmla="*/ 109 w 687"/>
                  <a:gd name="T33" fmla="*/ 193 h 645"/>
                  <a:gd name="T34" fmla="*/ 72 w 687"/>
                  <a:gd name="T35" fmla="*/ 195 h 645"/>
                  <a:gd name="T36" fmla="*/ 57 w 687"/>
                  <a:gd name="T37" fmla="*/ 187 h 645"/>
                  <a:gd name="T38" fmla="*/ 44 w 687"/>
                  <a:gd name="T39" fmla="*/ 191 h 645"/>
                  <a:gd name="T40" fmla="*/ 55 w 687"/>
                  <a:gd name="T41" fmla="*/ 211 h 645"/>
                  <a:gd name="T42" fmla="*/ 37 w 687"/>
                  <a:gd name="T43" fmla="*/ 248 h 645"/>
                  <a:gd name="T44" fmla="*/ 37 w 687"/>
                  <a:gd name="T45" fmla="*/ 270 h 645"/>
                  <a:gd name="T46" fmla="*/ 4 w 687"/>
                  <a:gd name="T47" fmla="*/ 342 h 645"/>
                  <a:gd name="T48" fmla="*/ 0 w 687"/>
                  <a:gd name="T49" fmla="*/ 369 h 645"/>
                  <a:gd name="T50" fmla="*/ 4 w 687"/>
                  <a:gd name="T51" fmla="*/ 388 h 645"/>
                  <a:gd name="T52" fmla="*/ 39 w 687"/>
                  <a:gd name="T53" fmla="*/ 410 h 645"/>
                  <a:gd name="T54" fmla="*/ 50 w 687"/>
                  <a:gd name="T55" fmla="*/ 441 h 645"/>
                  <a:gd name="T56" fmla="*/ 63 w 687"/>
                  <a:gd name="T57" fmla="*/ 448 h 645"/>
                  <a:gd name="T58" fmla="*/ 72 w 687"/>
                  <a:gd name="T59" fmla="*/ 450 h 645"/>
                  <a:gd name="T60" fmla="*/ 87 w 687"/>
                  <a:gd name="T61" fmla="*/ 478 h 645"/>
                  <a:gd name="T62" fmla="*/ 87 w 687"/>
                  <a:gd name="T63" fmla="*/ 507 h 645"/>
                  <a:gd name="T64" fmla="*/ 90 w 687"/>
                  <a:gd name="T65" fmla="*/ 520 h 645"/>
                  <a:gd name="T66" fmla="*/ 107 w 687"/>
                  <a:gd name="T67" fmla="*/ 542 h 645"/>
                  <a:gd name="T68" fmla="*/ 160 w 687"/>
                  <a:gd name="T69" fmla="*/ 553 h 645"/>
                  <a:gd name="T70" fmla="*/ 173 w 687"/>
                  <a:gd name="T71" fmla="*/ 557 h 645"/>
                  <a:gd name="T72" fmla="*/ 228 w 687"/>
                  <a:gd name="T73" fmla="*/ 577 h 645"/>
                  <a:gd name="T74" fmla="*/ 265 w 687"/>
                  <a:gd name="T75" fmla="*/ 593 h 645"/>
                  <a:gd name="T76" fmla="*/ 347 w 687"/>
                  <a:gd name="T77" fmla="*/ 597 h 645"/>
                  <a:gd name="T78" fmla="*/ 338 w 687"/>
                  <a:gd name="T79" fmla="*/ 588 h 645"/>
                  <a:gd name="T80" fmla="*/ 338 w 687"/>
                  <a:gd name="T81" fmla="*/ 579 h 645"/>
                  <a:gd name="T82" fmla="*/ 364 w 687"/>
                  <a:gd name="T83" fmla="*/ 582 h 645"/>
                  <a:gd name="T84" fmla="*/ 384 w 687"/>
                  <a:gd name="T85" fmla="*/ 582 h 645"/>
                  <a:gd name="T86" fmla="*/ 634 w 687"/>
                  <a:gd name="T87" fmla="*/ 584 h 645"/>
                  <a:gd name="T88" fmla="*/ 632 w 687"/>
                  <a:gd name="T89" fmla="*/ 553 h 645"/>
                  <a:gd name="T90" fmla="*/ 645 w 687"/>
                  <a:gd name="T91" fmla="*/ 542 h 645"/>
                  <a:gd name="T92" fmla="*/ 671 w 687"/>
                  <a:gd name="T93" fmla="*/ 525 h 645"/>
                  <a:gd name="T94" fmla="*/ 669 w 687"/>
                  <a:gd name="T95" fmla="*/ 511 h 645"/>
                  <a:gd name="T96" fmla="*/ 671 w 687"/>
                  <a:gd name="T97" fmla="*/ 500 h 645"/>
                  <a:gd name="T98" fmla="*/ 682 w 687"/>
                  <a:gd name="T99" fmla="*/ 489 h 645"/>
                  <a:gd name="T100" fmla="*/ 687 w 687"/>
                  <a:gd name="T101" fmla="*/ 483 h 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87" h="645">
                    <a:moveTo>
                      <a:pt x="687" y="483"/>
                    </a:moveTo>
                    <a:lnTo>
                      <a:pt x="682" y="474"/>
                    </a:lnTo>
                    <a:lnTo>
                      <a:pt x="663" y="439"/>
                    </a:lnTo>
                    <a:lnTo>
                      <a:pt x="643" y="404"/>
                    </a:lnTo>
                    <a:lnTo>
                      <a:pt x="623" y="371"/>
                    </a:lnTo>
                    <a:lnTo>
                      <a:pt x="603" y="336"/>
                    </a:lnTo>
                    <a:lnTo>
                      <a:pt x="584" y="301"/>
                    </a:lnTo>
                    <a:lnTo>
                      <a:pt x="566" y="268"/>
                    </a:lnTo>
                    <a:lnTo>
                      <a:pt x="546" y="233"/>
                    </a:lnTo>
                    <a:lnTo>
                      <a:pt x="527" y="200"/>
                    </a:lnTo>
                    <a:lnTo>
                      <a:pt x="527" y="198"/>
                    </a:lnTo>
                    <a:lnTo>
                      <a:pt x="524" y="195"/>
                    </a:lnTo>
                    <a:lnTo>
                      <a:pt x="524" y="195"/>
                    </a:lnTo>
                    <a:lnTo>
                      <a:pt x="524" y="193"/>
                    </a:lnTo>
                    <a:lnTo>
                      <a:pt x="522" y="193"/>
                    </a:lnTo>
                    <a:lnTo>
                      <a:pt x="522" y="191"/>
                    </a:lnTo>
                    <a:lnTo>
                      <a:pt x="522" y="191"/>
                    </a:lnTo>
                    <a:lnTo>
                      <a:pt x="520" y="189"/>
                    </a:lnTo>
                    <a:lnTo>
                      <a:pt x="518" y="189"/>
                    </a:lnTo>
                    <a:lnTo>
                      <a:pt x="494" y="191"/>
                    </a:lnTo>
                    <a:lnTo>
                      <a:pt x="489" y="191"/>
                    </a:lnTo>
                    <a:lnTo>
                      <a:pt x="480" y="187"/>
                    </a:lnTo>
                    <a:lnTo>
                      <a:pt x="478" y="184"/>
                    </a:lnTo>
                    <a:lnTo>
                      <a:pt x="474" y="184"/>
                    </a:lnTo>
                    <a:lnTo>
                      <a:pt x="465" y="184"/>
                    </a:lnTo>
                    <a:lnTo>
                      <a:pt x="463" y="184"/>
                    </a:lnTo>
                    <a:lnTo>
                      <a:pt x="459" y="184"/>
                    </a:lnTo>
                    <a:lnTo>
                      <a:pt x="450" y="182"/>
                    </a:lnTo>
                    <a:lnTo>
                      <a:pt x="406" y="206"/>
                    </a:lnTo>
                    <a:lnTo>
                      <a:pt x="397" y="209"/>
                    </a:lnTo>
                    <a:lnTo>
                      <a:pt x="388" y="211"/>
                    </a:lnTo>
                    <a:lnTo>
                      <a:pt x="379" y="211"/>
                    </a:lnTo>
                    <a:lnTo>
                      <a:pt x="371" y="211"/>
                    </a:lnTo>
                    <a:lnTo>
                      <a:pt x="362" y="206"/>
                    </a:lnTo>
                    <a:lnTo>
                      <a:pt x="358" y="202"/>
                    </a:lnTo>
                    <a:lnTo>
                      <a:pt x="349" y="191"/>
                    </a:lnTo>
                    <a:lnTo>
                      <a:pt x="344" y="187"/>
                    </a:lnTo>
                    <a:lnTo>
                      <a:pt x="340" y="187"/>
                    </a:lnTo>
                    <a:lnTo>
                      <a:pt x="322" y="200"/>
                    </a:lnTo>
                    <a:lnTo>
                      <a:pt x="322" y="184"/>
                    </a:lnTo>
                    <a:lnTo>
                      <a:pt x="322" y="160"/>
                    </a:lnTo>
                    <a:lnTo>
                      <a:pt x="325" y="136"/>
                    </a:lnTo>
                    <a:lnTo>
                      <a:pt x="325" y="112"/>
                    </a:lnTo>
                    <a:lnTo>
                      <a:pt x="325" y="90"/>
                    </a:lnTo>
                    <a:lnTo>
                      <a:pt x="325" y="66"/>
                    </a:lnTo>
                    <a:lnTo>
                      <a:pt x="325" y="42"/>
                    </a:lnTo>
                    <a:lnTo>
                      <a:pt x="325" y="18"/>
                    </a:lnTo>
                    <a:lnTo>
                      <a:pt x="325" y="0"/>
                    </a:lnTo>
                    <a:lnTo>
                      <a:pt x="325" y="2"/>
                    </a:lnTo>
                    <a:lnTo>
                      <a:pt x="298" y="20"/>
                    </a:lnTo>
                    <a:lnTo>
                      <a:pt x="294" y="24"/>
                    </a:lnTo>
                    <a:lnTo>
                      <a:pt x="289" y="29"/>
                    </a:lnTo>
                    <a:lnTo>
                      <a:pt x="287" y="37"/>
                    </a:lnTo>
                    <a:lnTo>
                      <a:pt x="287" y="42"/>
                    </a:lnTo>
                    <a:lnTo>
                      <a:pt x="285" y="68"/>
                    </a:lnTo>
                    <a:lnTo>
                      <a:pt x="283" y="75"/>
                    </a:lnTo>
                    <a:lnTo>
                      <a:pt x="281" y="79"/>
                    </a:lnTo>
                    <a:lnTo>
                      <a:pt x="276" y="88"/>
                    </a:lnTo>
                    <a:lnTo>
                      <a:pt x="259" y="110"/>
                    </a:lnTo>
                    <a:lnTo>
                      <a:pt x="252" y="114"/>
                    </a:lnTo>
                    <a:lnTo>
                      <a:pt x="250" y="116"/>
                    </a:lnTo>
                    <a:lnTo>
                      <a:pt x="239" y="125"/>
                    </a:lnTo>
                    <a:lnTo>
                      <a:pt x="228" y="132"/>
                    </a:lnTo>
                    <a:lnTo>
                      <a:pt x="219" y="140"/>
                    </a:lnTo>
                    <a:lnTo>
                      <a:pt x="210" y="145"/>
                    </a:lnTo>
                    <a:lnTo>
                      <a:pt x="208" y="147"/>
                    </a:lnTo>
                    <a:lnTo>
                      <a:pt x="191" y="151"/>
                    </a:lnTo>
                    <a:lnTo>
                      <a:pt x="109" y="193"/>
                    </a:lnTo>
                    <a:lnTo>
                      <a:pt x="107" y="195"/>
                    </a:lnTo>
                    <a:lnTo>
                      <a:pt x="103" y="195"/>
                    </a:lnTo>
                    <a:lnTo>
                      <a:pt x="76" y="198"/>
                    </a:lnTo>
                    <a:lnTo>
                      <a:pt x="72" y="195"/>
                    </a:lnTo>
                    <a:lnTo>
                      <a:pt x="70" y="195"/>
                    </a:lnTo>
                    <a:lnTo>
                      <a:pt x="63" y="189"/>
                    </a:lnTo>
                    <a:lnTo>
                      <a:pt x="59" y="187"/>
                    </a:lnTo>
                    <a:lnTo>
                      <a:pt x="57" y="187"/>
                    </a:lnTo>
                    <a:lnTo>
                      <a:pt x="48" y="187"/>
                    </a:lnTo>
                    <a:lnTo>
                      <a:pt x="46" y="187"/>
                    </a:lnTo>
                    <a:lnTo>
                      <a:pt x="44" y="189"/>
                    </a:lnTo>
                    <a:lnTo>
                      <a:pt x="44" y="191"/>
                    </a:lnTo>
                    <a:lnTo>
                      <a:pt x="44" y="193"/>
                    </a:lnTo>
                    <a:lnTo>
                      <a:pt x="55" y="206"/>
                    </a:lnTo>
                    <a:lnTo>
                      <a:pt x="55" y="209"/>
                    </a:lnTo>
                    <a:lnTo>
                      <a:pt x="55" y="211"/>
                    </a:lnTo>
                    <a:lnTo>
                      <a:pt x="55" y="215"/>
                    </a:lnTo>
                    <a:lnTo>
                      <a:pt x="41" y="239"/>
                    </a:lnTo>
                    <a:lnTo>
                      <a:pt x="39" y="244"/>
                    </a:lnTo>
                    <a:lnTo>
                      <a:pt x="37" y="248"/>
                    </a:lnTo>
                    <a:lnTo>
                      <a:pt x="37" y="252"/>
                    </a:lnTo>
                    <a:lnTo>
                      <a:pt x="37" y="257"/>
                    </a:lnTo>
                    <a:lnTo>
                      <a:pt x="37" y="257"/>
                    </a:lnTo>
                    <a:lnTo>
                      <a:pt x="37" y="270"/>
                    </a:lnTo>
                    <a:lnTo>
                      <a:pt x="33" y="279"/>
                    </a:lnTo>
                    <a:lnTo>
                      <a:pt x="8" y="325"/>
                    </a:lnTo>
                    <a:lnTo>
                      <a:pt x="6" y="336"/>
                    </a:lnTo>
                    <a:lnTo>
                      <a:pt x="4" y="342"/>
                    </a:lnTo>
                    <a:lnTo>
                      <a:pt x="2" y="353"/>
                    </a:lnTo>
                    <a:lnTo>
                      <a:pt x="2" y="360"/>
                    </a:lnTo>
                    <a:lnTo>
                      <a:pt x="0" y="367"/>
                    </a:lnTo>
                    <a:lnTo>
                      <a:pt x="0" y="369"/>
                    </a:lnTo>
                    <a:lnTo>
                      <a:pt x="2" y="386"/>
                    </a:lnTo>
                    <a:lnTo>
                      <a:pt x="4" y="386"/>
                    </a:lnTo>
                    <a:lnTo>
                      <a:pt x="4" y="388"/>
                    </a:lnTo>
                    <a:lnTo>
                      <a:pt x="4" y="388"/>
                    </a:lnTo>
                    <a:lnTo>
                      <a:pt x="8" y="393"/>
                    </a:lnTo>
                    <a:lnTo>
                      <a:pt x="24" y="402"/>
                    </a:lnTo>
                    <a:lnTo>
                      <a:pt x="37" y="408"/>
                    </a:lnTo>
                    <a:lnTo>
                      <a:pt x="39" y="410"/>
                    </a:lnTo>
                    <a:lnTo>
                      <a:pt x="41" y="413"/>
                    </a:lnTo>
                    <a:lnTo>
                      <a:pt x="41" y="417"/>
                    </a:lnTo>
                    <a:lnTo>
                      <a:pt x="48" y="437"/>
                    </a:lnTo>
                    <a:lnTo>
                      <a:pt x="50" y="441"/>
                    </a:lnTo>
                    <a:lnTo>
                      <a:pt x="50" y="443"/>
                    </a:lnTo>
                    <a:lnTo>
                      <a:pt x="52" y="446"/>
                    </a:lnTo>
                    <a:lnTo>
                      <a:pt x="59" y="448"/>
                    </a:lnTo>
                    <a:lnTo>
                      <a:pt x="63" y="448"/>
                    </a:lnTo>
                    <a:lnTo>
                      <a:pt x="68" y="448"/>
                    </a:lnTo>
                    <a:lnTo>
                      <a:pt x="70" y="450"/>
                    </a:lnTo>
                    <a:lnTo>
                      <a:pt x="72" y="450"/>
                    </a:lnTo>
                    <a:lnTo>
                      <a:pt x="72" y="450"/>
                    </a:lnTo>
                    <a:lnTo>
                      <a:pt x="74" y="454"/>
                    </a:lnTo>
                    <a:lnTo>
                      <a:pt x="76" y="457"/>
                    </a:lnTo>
                    <a:lnTo>
                      <a:pt x="81" y="465"/>
                    </a:lnTo>
                    <a:lnTo>
                      <a:pt x="87" y="478"/>
                    </a:lnTo>
                    <a:lnTo>
                      <a:pt x="90" y="487"/>
                    </a:lnTo>
                    <a:lnTo>
                      <a:pt x="92" y="494"/>
                    </a:lnTo>
                    <a:lnTo>
                      <a:pt x="92" y="498"/>
                    </a:lnTo>
                    <a:lnTo>
                      <a:pt x="87" y="507"/>
                    </a:lnTo>
                    <a:lnTo>
                      <a:pt x="87" y="509"/>
                    </a:lnTo>
                    <a:lnTo>
                      <a:pt x="87" y="516"/>
                    </a:lnTo>
                    <a:lnTo>
                      <a:pt x="87" y="518"/>
                    </a:lnTo>
                    <a:lnTo>
                      <a:pt x="90" y="520"/>
                    </a:lnTo>
                    <a:lnTo>
                      <a:pt x="94" y="531"/>
                    </a:lnTo>
                    <a:lnTo>
                      <a:pt x="98" y="536"/>
                    </a:lnTo>
                    <a:lnTo>
                      <a:pt x="103" y="540"/>
                    </a:lnTo>
                    <a:lnTo>
                      <a:pt x="107" y="542"/>
                    </a:lnTo>
                    <a:lnTo>
                      <a:pt x="142" y="553"/>
                    </a:lnTo>
                    <a:lnTo>
                      <a:pt x="147" y="553"/>
                    </a:lnTo>
                    <a:lnTo>
                      <a:pt x="151" y="553"/>
                    </a:lnTo>
                    <a:lnTo>
                      <a:pt x="160" y="553"/>
                    </a:lnTo>
                    <a:lnTo>
                      <a:pt x="164" y="553"/>
                    </a:lnTo>
                    <a:lnTo>
                      <a:pt x="166" y="553"/>
                    </a:lnTo>
                    <a:lnTo>
                      <a:pt x="169" y="555"/>
                    </a:lnTo>
                    <a:lnTo>
                      <a:pt x="173" y="557"/>
                    </a:lnTo>
                    <a:lnTo>
                      <a:pt x="175" y="560"/>
                    </a:lnTo>
                    <a:lnTo>
                      <a:pt x="195" y="566"/>
                    </a:lnTo>
                    <a:lnTo>
                      <a:pt x="224" y="575"/>
                    </a:lnTo>
                    <a:lnTo>
                      <a:pt x="228" y="577"/>
                    </a:lnTo>
                    <a:lnTo>
                      <a:pt x="250" y="593"/>
                    </a:lnTo>
                    <a:lnTo>
                      <a:pt x="252" y="593"/>
                    </a:lnTo>
                    <a:lnTo>
                      <a:pt x="259" y="593"/>
                    </a:lnTo>
                    <a:lnTo>
                      <a:pt x="265" y="593"/>
                    </a:lnTo>
                    <a:lnTo>
                      <a:pt x="316" y="601"/>
                    </a:lnTo>
                    <a:lnTo>
                      <a:pt x="340" y="601"/>
                    </a:lnTo>
                    <a:lnTo>
                      <a:pt x="344" y="599"/>
                    </a:lnTo>
                    <a:lnTo>
                      <a:pt x="347" y="597"/>
                    </a:lnTo>
                    <a:lnTo>
                      <a:pt x="347" y="595"/>
                    </a:lnTo>
                    <a:lnTo>
                      <a:pt x="344" y="593"/>
                    </a:lnTo>
                    <a:lnTo>
                      <a:pt x="340" y="590"/>
                    </a:lnTo>
                    <a:lnTo>
                      <a:pt x="338" y="588"/>
                    </a:lnTo>
                    <a:lnTo>
                      <a:pt x="336" y="586"/>
                    </a:lnTo>
                    <a:lnTo>
                      <a:pt x="333" y="584"/>
                    </a:lnTo>
                    <a:lnTo>
                      <a:pt x="336" y="582"/>
                    </a:lnTo>
                    <a:lnTo>
                      <a:pt x="338" y="579"/>
                    </a:lnTo>
                    <a:lnTo>
                      <a:pt x="340" y="579"/>
                    </a:lnTo>
                    <a:lnTo>
                      <a:pt x="347" y="579"/>
                    </a:lnTo>
                    <a:lnTo>
                      <a:pt x="355" y="582"/>
                    </a:lnTo>
                    <a:lnTo>
                      <a:pt x="364" y="582"/>
                    </a:lnTo>
                    <a:lnTo>
                      <a:pt x="371" y="582"/>
                    </a:lnTo>
                    <a:lnTo>
                      <a:pt x="377" y="584"/>
                    </a:lnTo>
                    <a:lnTo>
                      <a:pt x="379" y="582"/>
                    </a:lnTo>
                    <a:lnTo>
                      <a:pt x="384" y="582"/>
                    </a:lnTo>
                    <a:lnTo>
                      <a:pt x="509" y="643"/>
                    </a:lnTo>
                    <a:lnTo>
                      <a:pt x="513" y="645"/>
                    </a:lnTo>
                    <a:lnTo>
                      <a:pt x="516" y="643"/>
                    </a:lnTo>
                    <a:lnTo>
                      <a:pt x="634" y="584"/>
                    </a:lnTo>
                    <a:lnTo>
                      <a:pt x="634" y="584"/>
                    </a:lnTo>
                    <a:lnTo>
                      <a:pt x="632" y="566"/>
                    </a:lnTo>
                    <a:lnTo>
                      <a:pt x="632" y="557"/>
                    </a:lnTo>
                    <a:lnTo>
                      <a:pt x="632" y="553"/>
                    </a:lnTo>
                    <a:lnTo>
                      <a:pt x="639" y="549"/>
                    </a:lnTo>
                    <a:lnTo>
                      <a:pt x="641" y="544"/>
                    </a:lnTo>
                    <a:lnTo>
                      <a:pt x="643" y="540"/>
                    </a:lnTo>
                    <a:lnTo>
                      <a:pt x="645" y="542"/>
                    </a:lnTo>
                    <a:lnTo>
                      <a:pt x="650" y="536"/>
                    </a:lnTo>
                    <a:lnTo>
                      <a:pt x="652" y="531"/>
                    </a:lnTo>
                    <a:lnTo>
                      <a:pt x="656" y="529"/>
                    </a:lnTo>
                    <a:lnTo>
                      <a:pt x="671" y="525"/>
                    </a:lnTo>
                    <a:lnTo>
                      <a:pt x="671" y="522"/>
                    </a:lnTo>
                    <a:lnTo>
                      <a:pt x="676" y="516"/>
                    </a:lnTo>
                    <a:lnTo>
                      <a:pt x="674" y="514"/>
                    </a:lnTo>
                    <a:lnTo>
                      <a:pt x="669" y="511"/>
                    </a:lnTo>
                    <a:lnTo>
                      <a:pt x="667" y="509"/>
                    </a:lnTo>
                    <a:lnTo>
                      <a:pt x="667" y="507"/>
                    </a:lnTo>
                    <a:lnTo>
                      <a:pt x="669" y="503"/>
                    </a:lnTo>
                    <a:lnTo>
                      <a:pt x="671" y="500"/>
                    </a:lnTo>
                    <a:lnTo>
                      <a:pt x="676" y="498"/>
                    </a:lnTo>
                    <a:lnTo>
                      <a:pt x="680" y="496"/>
                    </a:lnTo>
                    <a:lnTo>
                      <a:pt x="682" y="494"/>
                    </a:lnTo>
                    <a:lnTo>
                      <a:pt x="682" y="489"/>
                    </a:lnTo>
                    <a:lnTo>
                      <a:pt x="685" y="487"/>
                    </a:lnTo>
                    <a:lnTo>
                      <a:pt x="685" y="485"/>
                    </a:lnTo>
                    <a:lnTo>
                      <a:pt x="687" y="483"/>
                    </a:lnTo>
                    <a:lnTo>
                      <a:pt x="687" y="483"/>
                    </a:lnTo>
                    <a:lnTo>
                      <a:pt x="687" y="483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29" name="Freeform 29"/>
              <p:cNvSpPr>
                <a:spLocks/>
              </p:cNvSpPr>
              <p:nvPr/>
            </p:nvSpPr>
            <p:spPr bwMode="auto">
              <a:xfrm>
                <a:off x="4754563" y="1049338"/>
                <a:ext cx="2317750" cy="2549525"/>
              </a:xfrm>
              <a:custGeom>
                <a:avLst/>
                <a:gdLst>
                  <a:gd name="T0" fmla="*/ 1365 w 1460"/>
                  <a:gd name="T1" fmla="*/ 715 h 1606"/>
                  <a:gd name="T2" fmla="*/ 1440 w 1460"/>
                  <a:gd name="T3" fmla="*/ 496 h 1606"/>
                  <a:gd name="T4" fmla="*/ 1407 w 1460"/>
                  <a:gd name="T5" fmla="*/ 478 h 1606"/>
                  <a:gd name="T6" fmla="*/ 1376 w 1460"/>
                  <a:gd name="T7" fmla="*/ 456 h 1606"/>
                  <a:gd name="T8" fmla="*/ 1339 w 1460"/>
                  <a:gd name="T9" fmla="*/ 450 h 1606"/>
                  <a:gd name="T10" fmla="*/ 1280 w 1460"/>
                  <a:gd name="T11" fmla="*/ 406 h 1606"/>
                  <a:gd name="T12" fmla="*/ 1225 w 1460"/>
                  <a:gd name="T13" fmla="*/ 428 h 1606"/>
                  <a:gd name="T14" fmla="*/ 1176 w 1460"/>
                  <a:gd name="T15" fmla="*/ 421 h 1606"/>
                  <a:gd name="T16" fmla="*/ 1113 w 1460"/>
                  <a:gd name="T17" fmla="*/ 399 h 1606"/>
                  <a:gd name="T18" fmla="*/ 1029 w 1460"/>
                  <a:gd name="T19" fmla="*/ 441 h 1606"/>
                  <a:gd name="T20" fmla="*/ 955 w 1460"/>
                  <a:gd name="T21" fmla="*/ 441 h 1606"/>
                  <a:gd name="T22" fmla="*/ 909 w 1460"/>
                  <a:gd name="T23" fmla="*/ 445 h 1606"/>
                  <a:gd name="T24" fmla="*/ 860 w 1460"/>
                  <a:gd name="T25" fmla="*/ 410 h 1606"/>
                  <a:gd name="T26" fmla="*/ 863 w 1460"/>
                  <a:gd name="T27" fmla="*/ 353 h 1606"/>
                  <a:gd name="T28" fmla="*/ 832 w 1460"/>
                  <a:gd name="T29" fmla="*/ 327 h 1606"/>
                  <a:gd name="T30" fmla="*/ 805 w 1460"/>
                  <a:gd name="T31" fmla="*/ 283 h 1606"/>
                  <a:gd name="T32" fmla="*/ 783 w 1460"/>
                  <a:gd name="T33" fmla="*/ 237 h 1606"/>
                  <a:gd name="T34" fmla="*/ 746 w 1460"/>
                  <a:gd name="T35" fmla="*/ 221 h 1606"/>
                  <a:gd name="T36" fmla="*/ 709 w 1460"/>
                  <a:gd name="T37" fmla="*/ 195 h 1606"/>
                  <a:gd name="T38" fmla="*/ 645 w 1460"/>
                  <a:gd name="T39" fmla="*/ 153 h 1606"/>
                  <a:gd name="T40" fmla="*/ 641 w 1460"/>
                  <a:gd name="T41" fmla="*/ 120 h 1606"/>
                  <a:gd name="T42" fmla="*/ 588 w 1460"/>
                  <a:gd name="T43" fmla="*/ 57 h 1606"/>
                  <a:gd name="T44" fmla="*/ 560 w 1460"/>
                  <a:gd name="T45" fmla="*/ 28 h 1606"/>
                  <a:gd name="T46" fmla="*/ 496 w 1460"/>
                  <a:gd name="T47" fmla="*/ 2 h 1606"/>
                  <a:gd name="T48" fmla="*/ 439 w 1460"/>
                  <a:gd name="T49" fmla="*/ 24 h 1606"/>
                  <a:gd name="T50" fmla="*/ 423 w 1460"/>
                  <a:gd name="T51" fmla="*/ 35 h 1606"/>
                  <a:gd name="T52" fmla="*/ 472 w 1460"/>
                  <a:gd name="T53" fmla="*/ 92 h 1606"/>
                  <a:gd name="T54" fmla="*/ 467 w 1460"/>
                  <a:gd name="T55" fmla="*/ 129 h 1606"/>
                  <a:gd name="T56" fmla="*/ 445 w 1460"/>
                  <a:gd name="T57" fmla="*/ 164 h 1606"/>
                  <a:gd name="T58" fmla="*/ 329 w 1460"/>
                  <a:gd name="T59" fmla="*/ 379 h 1606"/>
                  <a:gd name="T60" fmla="*/ 76 w 1460"/>
                  <a:gd name="T61" fmla="*/ 520 h 1606"/>
                  <a:gd name="T62" fmla="*/ 33 w 1460"/>
                  <a:gd name="T63" fmla="*/ 674 h 1606"/>
                  <a:gd name="T64" fmla="*/ 46 w 1460"/>
                  <a:gd name="T65" fmla="*/ 788 h 1606"/>
                  <a:gd name="T66" fmla="*/ 8 w 1460"/>
                  <a:gd name="T67" fmla="*/ 908 h 1606"/>
                  <a:gd name="T68" fmla="*/ 164 w 1460"/>
                  <a:gd name="T69" fmla="*/ 1055 h 1606"/>
                  <a:gd name="T70" fmla="*/ 274 w 1460"/>
                  <a:gd name="T71" fmla="*/ 1095 h 1606"/>
                  <a:gd name="T72" fmla="*/ 417 w 1460"/>
                  <a:gd name="T73" fmla="*/ 1145 h 1606"/>
                  <a:gd name="T74" fmla="*/ 406 w 1460"/>
                  <a:gd name="T75" fmla="*/ 1286 h 1606"/>
                  <a:gd name="T76" fmla="*/ 316 w 1460"/>
                  <a:gd name="T77" fmla="*/ 1297 h 1606"/>
                  <a:gd name="T78" fmla="*/ 358 w 1460"/>
                  <a:gd name="T79" fmla="*/ 1547 h 1606"/>
                  <a:gd name="T80" fmla="*/ 415 w 1460"/>
                  <a:gd name="T81" fmla="*/ 1558 h 1606"/>
                  <a:gd name="T82" fmla="*/ 432 w 1460"/>
                  <a:gd name="T83" fmla="*/ 1527 h 1606"/>
                  <a:gd name="T84" fmla="*/ 502 w 1460"/>
                  <a:gd name="T85" fmla="*/ 1503 h 1606"/>
                  <a:gd name="T86" fmla="*/ 599 w 1460"/>
                  <a:gd name="T87" fmla="*/ 1376 h 1606"/>
                  <a:gd name="T88" fmla="*/ 711 w 1460"/>
                  <a:gd name="T89" fmla="*/ 1398 h 1606"/>
                  <a:gd name="T90" fmla="*/ 753 w 1460"/>
                  <a:gd name="T91" fmla="*/ 1360 h 1606"/>
                  <a:gd name="T92" fmla="*/ 768 w 1460"/>
                  <a:gd name="T93" fmla="*/ 1262 h 1606"/>
                  <a:gd name="T94" fmla="*/ 867 w 1460"/>
                  <a:gd name="T95" fmla="*/ 1172 h 1606"/>
                  <a:gd name="T96" fmla="*/ 902 w 1460"/>
                  <a:gd name="T97" fmla="*/ 1005 h 1606"/>
                  <a:gd name="T98" fmla="*/ 922 w 1460"/>
                  <a:gd name="T99" fmla="*/ 941 h 1606"/>
                  <a:gd name="T100" fmla="*/ 972 w 1460"/>
                  <a:gd name="T101" fmla="*/ 924 h 1606"/>
                  <a:gd name="T102" fmla="*/ 1005 w 1460"/>
                  <a:gd name="T103" fmla="*/ 897 h 1606"/>
                  <a:gd name="T104" fmla="*/ 1069 w 1460"/>
                  <a:gd name="T105" fmla="*/ 851 h 1606"/>
                  <a:gd name="T106" fmla="*/ 1128 w 1460"/>
                  <a:gd name="T107" fmla="*/ 829 h 1606"/>
                  <a:gd name="T108" fmla="*/ 1172 w 1460"/>
                  <a:gd name="T109" fmla="*/ 821 h 1606"/>
                  <a:gd name="T110" fmla="*/ 1209 w 1460"/>
                  <a:gd name="T111" fmla="*/ 814 h 1606"/>
                  <a:gd name="T112" fmla="*/ 1267 w 1460"/>
                  <a:gd name="T113" fmla="*/ 803 h 1606"/>
                  <a:gd name="T114" fmla="*/ 1319 w 1460"/>
                  <a:gd name="T115" fmla="*/ 770 h 1606"/>
                  <a:gd name="T116" fmla="*/ 1357 w 1460"/>
                  <a:gd name="T117" fmla="*/ 772 h 1606"/>
                  <a:gd name="T118" fmla="*/ 1407 w 1460"/>
                  <a:gd name="T119" fmla="*/ 794 h 1606"/>
                  <a:gd name="T120" fmla="*/ 1449 w 1460"/>
                  <a:gd name="T121" fmla="*/ 801 h 1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60" h="1606">
                    <a:moveTo>
                      <a:pt x="1460" y="781"/>
                    </a:moveTo>
                    <a:lnTo>
                      <a:pt x="1453" y="772"/>
                    </a:lnTo>
                    <a:lnTo>
                      <a:pt x="1451" y="766"/>
                    </a:lnTo>
                    <a:lnTo>
                      <a:pt x="1447" y="761"/>
                    </a:lnTo>
                    <a:lnTo>
                      <a:pt x="1442" y="757"/>
                    </a:lnTo>
                    <a:lnTo>
                      <a:pt x="1422" y="748"/>
                    </a:lnTo>
                    <a:lnTo>
                      <a:pt x="1418" y="744"/>
                    </a:lnTo>
                    <a:lnTo>
                      <a:pt x="1416" y="737"/>
                    </a:lnTo>
                    <a:lnTo>
                      <a:pt x="1414" y="731"/>
                    </a:lnTo>
                    <a:lnTo>
                      <a:pt x="1411" y="724"/>
                    </a:lnTo>
                    <a:lnTo>
                      <a:pt x="1407" y="717"/>
                    </a:lnTo>
                    <a:lnTo>
                      <a:pt x="1403" y="711"/>
                    </a:lnTo>
                    <a:lnTo>
                      <a:pt x="1394" y="706"/>
                    </a:lnTo>
                    <a:lnTo>
                      <a:pt x="1387" y="704"/>
                    </a:lnTo>
                    <a:lnTo>
                      <a:pt x="1383" y="704"/>
                    </a:lnTo>
                    <a:lnTo>
                      <a:pt x="1378" y="706"/>
                    </a:lnTo>
                    <a:lnTo>
                      <a:pt x="1372" y="713"/>
                    </a:lnTo>
                    <a:lnTo>
                      <a:pt x="1365" y="715"/>
                    </a:lnTo>
                    <a:lnTo>
                      <a:pt x="1361" y="715"/>
                    </a:lnTo>
                    <a:lnTo>
                      <a:pt x="1352" y="713"/>
                    </a:lnTo>
                    <a:lnTo>
                      <a:pt x="1350" y="711"/>
                    </a:lnTo>
                    <a:lnTo>
                      <a:pt x="1324" y="698"/>
                    </a:lnTo>
                    <a:lnTo>
                      <a:pt x="1317" y="698"/>
                    </a:lnTo>
                    <a:lnTo>
                      <a:pt x="1321" y="687"/>
                    </a:lnTo>
                    <a:lnTo>
                      <a:pt x="1337" y="665"/>
                    </a:lnTo>
                    <a:lnTo>
                      <a:pt x="1352" y="641"/>
                    </a:lnTo>
                    <a:lnTo>
                      <a:pt x="1365" y="619"/>
                    </a:lnTo>
                    <a:lnTo>
                      <a:pt x="1381" y="597"/>
                    </a:lnTo>
                    <a:lnTo>
                      <a:pt x="1396" y="573"/>
                    </a:lnTo>
                    <a:lnTo>
                      <a:pt x="1409" y="551"/>
                    </a:lnTo>
                    <a:lnTo>
                      <a:pt x="1425" y="529"/>
                    </a:lnTo>
                    <a:lnTo>
                      <a:pt x="1440" y="505"/>
                    </a:lnTo>
                    <a:lnTo>
                      <a:pt x="1442" y="498"/>
                    </a:lnTo>
                    <a:lnTo>
                      <a:pt x="1442" y="498"/>
                    </a:lnTo>
                    <a:lnTo>
                      <a:pt x="1442" y="498"/>
                    </a:lnTo>
                    <a:lnTo>
                      <a:pt x="1440" y="496"/>
                    </a:lnTo>
                    <a:lnTo>
                      <a:pt x="1438" y="494"/>
                    </a:lnTo>
                    <a:lnTo>
                      <a:pt x="1438" y="491"/>
                    </a:lnTo>
                    <a:lnTo>
                      <a:pt x="1436" y="483"/>
                    </a:lnTo>
                    <a:lnTo>
                      <a:pt x="1433" y="483"/>
                    </a:lnTo>
                    <a:lnTo>
                      <a:pt x="1429" y="485"/>
                    </a:lnTo>
                    <a:lnTo>
                      <a:pt x="1429" y="487"/>
                    </a:lnTo>
                    <a:lnTo>
                      <a:pt x="1427" y="487"/>
                    </a:lnTo>
                    <a:lnTo>
                      <a:pt x="1427" y="489"/>
                    </a:lnTo>
                    <a:lnTo>
                      <a:pt x="1425" y="489"/>
                    </a:lnTo>
                    <a:lnTo>
                      <a:pt x="1422" y="489"/>
                    </a:lnTo>
                    <a:lnTo>
                      <a:pt x="1422" y="487"/>
                    </a:lnTo>
                    <a:lnTo>
                      <a:pt x="1422" y="485"/>
                    </a:lnTo>
                    <a:lnTo>
                      <a:pt x="1422" y="483"/>
                    </a:lnTo>
                    <a:lnTo>
                      <a:pt x="1418" y="480"/>
                    </a:lnTo>
                    <a:lnTo>
                      <a:pt x="1416" y="483"/>
                    </a:lnTo>
                    <a:lnTo>
                      <a:pt x="1411" y="483"/>
                    </a:lnTo>
                    <a:lnTo>
                      <a:pt x="1409" y="483"/>
                    </a:lnTo>
                    <a:lnTo>
                      <a:pt x="1407" y="478"/>
                    </a:lnTo>
                    <a:lnTo>
                      <a:pt x="1405" y="469"/>
                    </a:lnTo>
                    <a:lnTo>
                      <a:pt x="1403" y="467"/>
                    </a:lnTo>
                    <a:lnTo>
                      <a:pt x="1398" y="465"/>
                    </a:lnTo>
                    <a:lnTo>
                      <a:pt x="1394" y="467"/>
                    </a:lnTo>
                    <a:lnTo>
                      <a:pt x="1389" y="469"/>
                    </a:lnTo>
                    <a:lnTo>
                      <a:pt x="1385" y="469"/>
                    </a:lnTo>
                    <a:lnTo>
                      <a:pt x="1385" y="469"/>
                    </a:lnTo>
                    <a:lnTo>
                      <a:pt x="1383" y="467"/>
                    </a:lnTo>
                    <a:lnTo>
                      <a:pt x="1383" y="465"/>
                    </a:lnTo>
                    <a:lnTo>
                      <a:pt x="1383" y="465"/>
                    </a:lnTo>
                    <a:lnTo>
                      <a:pt x="1383" y="463"/>
                    </a:lnTo>
                    <a:lnTo>
                      <a:pt x="1387" y="463"/>
                    </a:lnTo>
                    <a:lnTo>
                      <a:pt x="1387" y="463"/>
                    </a:lnTo>
                    <a:lnTo>
                      <a:pt x="1389" y="458"/>
                    </a:lnTo>
                    <a:lnTo>
                      <a:pt x="1385" y="456"/>
                    </a:lnTo>
                    <a:lnTo>
                      <a:pt x="1383" y="456"/>
                    </a:lnTo>
                    <a:lnTo>
                      <a:pt x="1378" y="456"/>
                    </a:lnTo>
                    <a:lnTo>
                      <a:pt x="1376" y="456"/>
                    </a:lnTo>
                    <a:lnTo>
                      <a:pt x="1372" y="458"/>
                    </a:lnTo>
                    <a:lnTo>
                      <a:pt x="1370" y="458"/>
                    </a:lnTo>
                    <a:lnTo>
                      <a:pt x="1368" y="456"/>
                    </a:lnTo>
                    <a:lnTo>
                      <a:pt x="1368" y="456"/>
                    </a:lnTo>
                    <a:lnTo>
                      <a:pt x="1365" y="454"/>
                    </a:lnTo>
                    <a:lnTo>
                      <a:pt x="1365" y="452"/>
                    </a:lnTo>
                    <a:lnTo>
                      <a:pt x="1363" y="450"/>
                    </a:lnTo>
                    <a:lnTo>
                      <a:pt x="1359" y="447"/>
                    </a:lnTo>
                    <a:lnTo>
                      <a:pt x="1357" y="447"/>
                    </a:lnTo>
                    <a:lnTo>
                      <a:pt x="1352" y="447"/>
                    </a:lnTo>
                    <a:lnTo>
                      <a:pt x="1350" y="445"/>
                    </a:lnTo>
                    <a:lnTo>
                      <a:pt x="1348" y="443"/>
                    </a:lnTo>
                    <a:lnTo>
                      <a:pt x="1346" y="441"/>
                    </a:lnTo>
                    <a:lnTo>
                      <a:pt x="1341" y="443"/>
                    </a:lnTo>
                    <a:lnTo>
                      <a:pt x="1341" y="445"/>
                    </a:lnTo>
                    <a:lnTo>
                      <a:pt x="1341" y="447"/>
                    </a:lnTo>
                    <a:lnTo>
                      <a:pt x="1341" y="447"/>
                    </a:lnTo>
                    <a:lnTo>
                      <a:pt x="1339" y="450"/>
                    </a:lnTo>
                    <a:lnTo>
                      <a:pt x="1332" y="450"/>
                    </a:lnTo>
                    <a:lnTo>
                      <a:pt x="1330" y="447"/>
                    </a:lnTo>
                    <a:lnTo>
                      <a:pt x="1330" y="445"/>
                    </a:lnTo>
                    <a:lnTo>
                      <a:pt x="1330" y="443"/>
                    </a:lnTo>
                    <a:lnTo>
                      <a:pt x="1330" y="441"/>
                    </a:lnTo>
                    <a:lnTo>
                      <a:pt x="1330" y="439"/>
                    </a:lnTo>
                    <a:lnTo>
                      <a:pt x="1324" y="434"/>
                    </a:lnTo>
                    <a:lnTo>
                      <a:pt x="1324" y="434"/>
                    </a:lnTo>
                    <a:lnTo>
                      <a:pt x="1324" y="430"/>
                    </a:lnTo>
                    <a:lnTo>
                      <a:pt x="1321" y="428"/>
                    </a:lnTo>
                    <a:lnTo>
                      <a:pt x="1321" y="426"/>
                    </a:lnTo>
                    <a:lnTo>
                      <a:pt x="1317" y="426"/>
                    </a:lnTo>
                    <a:lnTo>
                      <a:pt x="1313" y="426"/>
                    </a:lnTo>
                    <a:lnTo>
                      <a:pt x="1306" y="423"/>
                    </a:lnTo>
                    <a:lnTo>
                      <a:pt x="1299" y="419"/>
                    </a:lnTo>
                    <a:lnTo>
                      <a:pt x="1291" y="408"/>
                    </a:lnTo>
                    <a:lnTo>
                      <a:pt x="1284" y="404"/>
                    </a:lnTo>
                    <a:lnTo>
                      <a:pt x="1280" y="406"/>
                    </a:lnTo>
                    <a:lnTo>
                      <a:pt x="1275" y="406"/>
                    </a:lnTo>
                    <a:lnTo>
                      <a:pt x="1269" y="401"/>
                    </a:lnTo>
                    <a:lnTo>
                      <a:pt x="1262" y="401"/>
                    </a:lnTo>
                    <a:lnTo>
                      <a:pt x="1260" y="404"/>
                    </a:lnTo>
                    <a:lnTo>
                      <a:pt x="1262" y="408"/>
                    </a:lnTo>
                    <a:lnTo>
                      <a:pt x="1262" y="415"/>
                    </a:lnTo>
                    <a:lnTo>
                      <a:pt x="1262" y="415"/>
                    </a:lnTo>
                    <a:lnTo>
                      <a:pt x="1260" y="415"/>
                    </a:lnTo>
                    <a:lnTo>
                      <a:pt x="1256" y="415"/>
                    </a:lnTo>
                    <a:lnTo>
                      <a:pt x="1251" y="412"/>
                    </a:lnTo>
                    <a:lnTo>
                      <a:pt x="1249" y="412"/>
                    </a:lnTo>
                    <a:lnTo>
                      <a:pt x="1245" y="412"/>
                    </a:lnTo>
                    <a:lnTo>
                      <a:pt x="1240" y="415"/>
                    </a:lnTo>
                    <a:lnTo>
                      <a:pt x="1236" y="423"/>
                    </a:lnTo>
                    <a:lnTo>
                      <a:pt x="1231" y="426"/>
                    </a:lnTo>
                    <a:lnTo>
                      <a:pt x="1227" y="428"/>
                    </a:lnTo>
                    <a:lnTo>
                      <a:pt x="1225" y="430"/>
                    </a:lnTo>
                    <a:lnTo>
                      <a:pt x="1225" y="428"/>
                    </a:lnTo>
                    <a:lnTo>
                      <a:pt x="1223" y="426"/>
                    </a:lnTo>
                    <a:lnTo>
                      <a:pt x="1220" y="426"/>
                    </a:lnTo>
                    <a:lnTo>
                      <a:pt x="1216" y="428"/>
                    </a:lnTo>
                    <a:lnTo>
                      <a:pt x="1214" y="430"/>
                    </a:lnTo>
                    <a:lnTo>
                      <a:pt x="1209" y="430"/>
                    </a:lnTo>
                    <a:lnTo>
                      <a:pt x="1207" y="428"/>
                    </a:lnTo>
                    <a:lnTo>
                      <a:pt x="1194" y="434"/>
                    </a:lnTo>
                    <a:lnTo>
                      <a:pt x="1187" y="434"/>
                    </a:lnTo>
                    <a:lnTo>
                      <a:pt x="1185" y="432"/>
                    </a:lnTo>
                    <a:lnTo>
                      <a:pt x="1187" y="430"/>
                    </a:lnTo>
                    <a:lnTo>
                      <a:pt x="1190" y="428"/>
                    </a:lnTo>
                    <a:lnTo>
                      <a:pt x="1190" y="426"/>
                    </a:lnTo>
                    <a:lnTo>
                      <a:pt x="1190" y="423"/>
                    </a:lnTo>
                    <a:lnTo>
                      <a:pt x="1185" y="419"/>
                    </a:lnTo>
                    <a:lnTo>
                      <a:pt x="1181" y="412"/>
                    </a:lnTo>
                    <a:lnTo>
                      <a:pt x="1181" y="412"/>
                    </a:lnTo>
                    <a:lnTo>
                      <a:pt x="1176" y="415"/>
                    </a:lnTo>
                    <a:lnTo>
                      <a:pt x="1176" y="421"/>
                    </a:lnTo>
                    <a:lnTo>
                      <a:pt x="1174" y="423"/>
                    </a:lnTo>
                    <a:lnTo>
                      <a:pt x="1172" y="423"/>
                    </a:lnTo>
                    <a:lnTo>
                      <a:pt x="1170" y="419"/>
                    </a:lnTo>
                    <a:lnTo>
                      <a:pt x="1170" y="412"/>
                    </a:lnTo>
                    <a:lnTo>
                      <a:pt x="1168" y="408"/>
                    </a:lnTo>
                    <a:lnTo>
                      <a:pt x="1166" y="408"/>
                    </a:lnTo>
                    <a:lnTo>
                      <a:pt x="1157" y="404"/>
                    </a:lnTo>
                    <a:lnTo>
                      <a:pt x="1152" y="404"/>
                    </a:lnTo>
                    <a:lnTo>
                      <a:pt x="1148" y="399"/>
                    </a:lnTo>
                    <a:lnTo>
                      <a:pt x="1146" y="397"/>
                    </a:lnTo>
                    <a:lnTo>
                      <a:pt x="1141" y="397"/>
                    </a:lnTo>
                    <a:lnTo>
                      <a:pt x="1135" y="399"/>
                    </a:lnTo>
                    <a:lnTo>
                      <a:pt x="1130" y="401"/>
                    </a:lnTo>
                    <a:lnTo>
                      <a:pt x="1128" y="397"/>
                    </a:lnTo>
                    <a:lnTo>
                      <a:pt x="1130" y="390"/>
                    </a:lnTo>
                    <a:lnTo>
                      <a:pt x="1128" y="390"/>
                    </a:lnTo>
                    <a:lnTo>
                      <a:pt x="1124" y="393"/>
                    </a:lnTo>
                    <a:lnTo>
                      <a:pt x="1113" y="399"/>
                    </a:lnTo>
                    <a:lnTo>
                      <a:pt x="1111" y="399"/>
                    </a:lnTo>
                    <a:lnTo>
                      <a:pt x="1111" y="401"/>
                    </a:lnTo>
                    <a:lnTo>
                      <a:pt x="1104" y="410"/>
                    </a:lnTo>
                    <a:lnTo>
                      <a:pt x="1095" y="417"/>
                    </a:lnTo>
                    <a:lnTo>
                      <a:pt x="1093" y="419"/>
                    </a:lnTo>
                    <a:lnTo>
                      <a:pt x="1093" y="423"/>
                    </a:lnTo>
                    <a:lnTo>
                      <a:pt x="1091" y="426"/>
                    </a:lnTo>
                    <a:lnTo>
                      <a:pt x="1086" y="426"/>
                    </a:lnTo>
                    <a:lnTo>
                      <a:pt x="1075" y="426"/>
                    </a:lnTo>
                    <a:lnTo>
                      <a:pt x="1069" y="426"/>
                    </a:lnTo>
                    <a:lnTo>
                      <a:pt x="1065" y="428"/>
                    </a:lnTo>
                    <a:lnTo>
                      <a:pt x="1058" y="432"/>
                    </a:lnTo>
                    <a:lnTo>
                      <a:pt x="1051" y="441"/>
                    </a:lnTo>
                    <a:lnTo>
                      <a:pt x="1047" y="441"/>
                    </a:lnTo>
                    <a:lnTo>
                      <a:pt x="1036" y="439"/>
                    </a:lnTo>
                    <a:lnTo>
                      <a:pt x="1034" y="439"/>
                    </a:lnTo>
                    <a:lnTo>
                      <a:pt x="1029" y="441"/>
                    </a:lnTo>
                    <a:lnTo>
                      <a:pt x="1029" y="441"/>
                    </a:lnTo>
                    <a:lnTo>
                      <a:pt x="1029" y="445"/>
                    </a:lnTo>
                    <a:lnTo>
                      <a:pt x="1027" y="445"/>
                    </a:lnTo>
                    <a:lnTo>
                      <a:pt x="1027" y="447"/>
                    </a:lnTo>
                    <a:lnTo>
                      <a:pt x="1023" y="447"/>
                    </a:lnTo>
                    <a:lnTo>
                      <a:pt x="1014" y="450"/>
                    </a:lnTo>
                    <a:lnTo>
                      <a:pt x="1010" y="450"/>
                    </a:lnTo>
                    <a:lnTo>
                      <a:pt x="1007" y="447"/>
                    </a:lnTo>
                    <a:lnTo>
                      <a:pt x="1003" y="447"/>
                    </a:lnTo>
                    <a:lnTo>
                      <a:pt x="1001" y="445"/>
                    </a:lnTo>
                    <a:lnTo>
                      <a:pt x="1001" y="443"/>
                    </a:lnTo>
                    <a:lnTo>
                      <a:pt x="999" y="441"/>
                    </a:lnTo>
                    <a:lnTo>
                      <a:pt x="979" y="439"/>
                    </a:lnTo>
                    <a:lnTo>
                      <a:pt x="977" y="437"/>
                    </a:lnTo>
                    <a:lnTo>
                      <a:pt x="968" y="430"/>
                    </a:lnTo>
                    <a:lnTo>
                      <a:pt x="964" y="428"/>
                    </a:lnTo>
                    <a:lnTo>
                      <a:pt x="961" y="428"/>
                    </a:lnTo>
                    <a:lnTo>
                      <a:pt x="959" y="430"/>
                    </a:lnTo>
                    <a:lnTo>
                      <a:pt x="955" y="441"/>
                    </a:lnTo>
                    <a:lnTo>
                      <a:pt x="950" y="443"/>
                    </a:lnTo>
                    <a:lnTo>
                      <a:pt x="948" y="443"/>
                    </a:lnTo>
                    <a:lnTo>
                      <a:pt x="948" y="443"/>
                    </a:lnTo>
                    <a:lnTo>
                      <a:pt x="946" y="439"/>
                    </a:lnTo>
                    <a:lnTo>
                      <a:pt x="946" y="437"/>
                    </a:lnTo>
                    <a:lnTo>
                      <a:pt x="946" y="434"/>
                    </a:lnTo>
                    <a:lnTo>
                      <a:pt x="944" y="434"/>
                    </a:lnTo>
                    <a:lnTo>
                      <a:pt x="942" y="434"/>
                    </a:lnTo>
                    <a:lnTo>
                      <a:pt x="942" y="437"/>
                    </a:lnTo>
                    <a:lnTo>
                      <a:pt x="939" y="439"/>
                    </a:lnTo>
                    <a:lnTo>
                      <a:pt x="939" y="441"/>
                    </a:lnTo>
                    <a:lnTo>
                      <a:pt x="935" y="437"/>
                    </a:lnTo>
                    <a:lnTo>
                      <a:pt x="931" y="437"/>
                    </a:lnTo>
                    <a:lnTo>
                      <a:pt x="926" y="439"/>
                    </a:lnTo>
                    <a:lnTo>
                      <a:pt x="922" y="441"/>
                    </a:lnTo>
                    <a:lnTo>
                      <a:pt x="920" y="443"/>
                    </a:lnTo>
                    <a:lnTo>
                      <a:pt x="917" y="443"/>
                    </a:lnTo>
                    <a:lnTo>
                      <a:pt x="909" y="445"/>
                    </a:lnTo>
                    <a:lnTo>
                      <a:pt x="906" y="445"/>
                    </a:lnTo>
                    <a:lnTo>
                      <a:pt x="906" y="443"/>
                    </a:lnTo>
                    <a:lnTo>
                      <a:pt x="904" y="441"/>
                    </a:lnTo>
                    <a:lnTo>
                      <a:pt x="900" y="432"/>
                    </a:lnTo>
                    <a:lnTo>
                      <a:pt x="898" y="430"/>
                    </a:lnTo>
                    <a:lnTo>
                      <a:pt x="898" y="428"/>
                    </a:lnTo>
                    <a:lnTo>
                      <a:pt x="884" y="421"/>
                    </a:lnTo>
                    <a:lnTo>
                      <a:pt x="884" y="423"/>
                    </a:lnTo>
                    <a:lnTo>
                      <a:pt x="882" y="428"/>
                    </a:lnTo>
                    <a:lnTo>
                      <a:pt x="880" y="430"/>
                    </a:lnTo>
                    <a:lnTo>
                      <a:pt x="878" y="426"/>
                    </a:lnTo>
                    <a:lnTo>
                      <a:pt x="876" y="423"/>
                    </a:lnTo>
                    <a:lnTo>
                      <a:pt x="869" y="421"/>
                    </a:lnTo>
                    <a:lnTo>
                      <a:pt x="865" y="419"/>
                    </a:lnTo>
                    <a:lnTo>
                      <a:pt x="865" y="419"/>
                    </a:lnTo>
                    <a:lnTo>
                      <a:pt x="865" y="412"/>
                    </a:lnTo>
                    <a:lnTo>
                      <a:pt x="863" y="412"/>
                    </a:lnTo>
                    <a:lnTo>
                      <a:pt x="860" y="410"/>
                    </a:lnTo>
                    <a:lnTo>
                      <a:pt x="860" y="410"/>
                    </a:lnTo>
                    <a:lnTo>
                      <a:pt x="860" y="408"/>
                    </a:lnTo>
                    <a:lnTo>
                      <a:pt x="858" y="406"/>
                    </a:lnTo>
                    <a:lnTo>
                      <a:pt x="858" y="404"/>
                    </a:lnTo>
                    <a:lnTo>
                      <a:pt x="858" y="401"/>
                    </a:lnTo>
                    <a:lnTo>
                      <a:pt x="858" y="399"/>
                    </a:lnTo>
                    <a:lnTo>
                      <a:pt x="860" y="399"/>
                    </a:lnTo>
                    <a:lnTo>
                      <a:pt x="867" y="393"/>
                    </a:lnTo>
                    <a:lnTo>
                      <a:pt x="869" y="388"/>
                    </a:lnTo>
                    <a:lnTo>
                      <a:pt x="873" y="379"/>
                    </a:lnTo>
                    <a:lnTo>
                      <a:pt x="871" y="377"/>
                    </a:lnTo>
                    <a:lnTo>
                      <a:pt x="871" y="373"/>
                    </a:lnTo>
                    <a:lnTo>
                      <a:pt x="869" y="368"/>
                    </a:lnTo>
                    <a:lnTo>
                      <a:pt x="867" y="364"/>
                    </a:lnTo>
                    <a:lnTo>
                      <a:pt x="865" y="360"/>
                    </a:lnTo>
                    <a:lnTo>
                      <a:pt x="863" y="358"/>
                    </a:lnTo>
                    <a:lnTo>
                      <a:pt x="863" y="355"/>
                    </a:lnTo>
                    <a:lnTo>
                      <a:pt x="863" y="353"/>
                    </a:lnTo>
                    <a:lnTo>
                      <a:pt x="865" y="349"/>
                    </a:lnTo>
                    <a:lnTo>
                      <a:pt x="865" y="347"/>
                    </a:lnTo>
                    <a:lnTo>
                      <a:pt x="865" y="342"/>
                    </a:lnTo>
                    <a:lnTo>
                      <a:pt x="860" y="338"/>
                    </a:lnTo>
                    <a:lnTo>
                      <a:pt x="858" y="336"/>
                    </a:lnTo>
                    <a:lnTo>
                      <a:pt x="860" y="329"/>
                    </a:lnTo>
                    <a:lnTo>
                      <a:pt x="858" y="327"/>
                    </a:lnTo>
                    <a:lnTo>
                      <a:pt x="858" y="325"/>
                    </a:lnTo>
                    <a:lnTo>
                      <a:pt x="856" y="325"/>
                    </a:lnTo>
                    <a:lnTo>
                      <a:pt x="854" y="322"/>
                    </a:lnTo>
                    <a:lnTo>
                      <a:pt x="849" y="318"/>
                    </a:lnTo>
                    <a:lnTo>
                      <a:pt x="847" y="318"/>
                    </a:lnTo>
                    <a:lnTo>
                      <a:pt x="847" y="322"/>
                    </a:lnTo>
                    <a:lnTo>
                      <a:pt x="845" y="322"/>
                    </a:lnTo>
                    <a:lnTo>
                      <a:pt x="838" y="322"/>
                    </a:lnTo>
                    <a:lnTo>
                      <a:pt x="836" y="322"/>
                    </a:lnTo>
                    <a:lnTo>
                      <a:pt x="834" y="325"/>
                    </a:lnTo>
                    <a:lnTo>
                      <a:pt x="832" y="327"/>
                    </a:lnTo>
                    <a:lnTo>
                      <a:pt x="830" y="327"/>
                    </a:lnTo>
                    <a:lnTo>
                      <a:pt x="825" y="322"/>
                    </a:lnTo>
                    <a:lnTo>
                      <a:pt x="823" y="320"/>
                    </a:lnTo>
                    <a:lnTo>
                      <a:pt x="821" y="320"/>
                    </a:lnTo>
                    <a:lnTo>
                      <a:pt x="819" y="320"/>
                    </a:lnTo>
                    <a:lnTo>
                      <a:pt x="816" y="320"/>
                    </a:lnTo>
                    <a:lnTo>
                      <a:pt x="814" y="320"/>
                    </a:lnTo>
                    <a:lnTo>
                      <a:pt x="812" y="320"/>
                    </a:lnTo>
                    <a:lnTo>
                      <a:pt x="812" y="320"/>
                    </a:lnTo>
                    <a:lnTo>
                      <a:pt x="812" y="318"/>
                    </a:lnTo>
                    <a:lnTo>
                      <a:pt x="812" y="316"/>
                    </a:lnTo>
                    <a:lnTo>
                      <a:pt x="799" y="309"/>
                    </a:lnTo>
                    <a:lnTo>
                      <a:pt x="797" y="305"/>
                    </a:lnTo>
                    <a:lnTo>
                      <a:pt x="797" y="298"/>
                    </a:lnTo>
                    <a:lnTo>
                      <a:pt x="799" y="292"/>
                    </a:lnTo>
                    <a:lnTo>
                      <a:pt x="801" y="289"/>
                    </a:lnTo>
                    <a:lnTo>
                      <a:pt x="805" y="285"/>
                    </a:lnTo>
                    <a:lnTo>
                      <a:pt x="805" y="283"/>
                    </a:lnTo>
                    <a:lnTo>
                      <a:pt x="803" y="274"/>
                    </a:lnTo>
                    <a:lnTo>
                      <a:pt x="803" y="272"/>
                    </a:lnTo>
                    <a:lnTo>
                      <a:pt x="803" y="270"/>
                    </a:lnTo>
                    <a:lnTo>
                      <a:pt x="803" y="268"/>
                    </a:lnTo>
                    <a:lnTo>
                      <a:pt x="801" y="265"/>
                    </a:lnTo>
                    <a:lnTo>
                      <a:pt x="797" y="263"/>
                    </a:lnTo>
                    <a:lnTo>
                      <a:pt x="794" y="261"/>
                    </a:lnTo>
                    <a:lnTo>
                      <a:pt x="788" y="257"/>
                    </a:lnTo>
                    <a:lnTo>
                      <a:pt x="786" y="254"/>
                    </a:lnTo>
                    <a:lnTo>
                      <a:pt x="790" y="250"/>
                    </a:lnTo>
                    <a:lnTo>
                      <a:pt x="790" y="248"/>
                    </a:lnTo>
                    <a:lnTo>
                      <a:pt x="788" y="248"/>
                    </a:lnTo>
                    <a:lnTo>
                      <a:pt x="786" y="246"/>
                    </a:lnTo>
                    <a:lnTo>
                      <a:pt x="786" y="246"/>
                    </a:lnTo>
                    <a:lnTo>
                      <a:pt x="786" y="243"/>
                    </a:lnTo>
                    <a:lnTo>
                      <a:pt x="786" y="239"/>
                    </a:lnTo>
                    <a:lnTo>
                      <a:pt x="783" y="237"/>
                    </a:lnTo>
                    <a:lnTo>
                      <a:pt x="783" y="237"/>
                    </a:lnTo>
                    <a:lnTo>
                      <a:pt x="783" y="237"/>
                    </a:lnTo>
                    <a:lnTo>
                      <a:pt x="781" y="237"/>
                    </a:lnTo>
                    <a:lnTo>
                      <a:pt x="779" y="237"/>
                    </a:lnTo>
                    <a:lnTo>
                      <a:pt x="779" y="235"/>
                    </a:lnTo>
                    <a:lnTo>
                      <a:pt x="779" y="235"/>
                    </a:lnTo>
                    <a:lnTo>
                      <a:pt x="777" y="230"/>
                    </a:lnTo>
                    <a:lnTo>
                      <a:pt x="777" y="228"/>
                    </a:lnTo>
                    <a:lnTo>
                      <a:pt x="777" y="228"/>
                    </a:lnTo>
                    <a:lnTo>
                      <a:pt x="772" y="226"/>
                    </a:lnTo>
                    <a:lnTo>
                      <a:pt x="768" y="224"/>
                    </a:lnTo>
                    <a:lnTo>
                      <a:pt x="766" y="221"/>
                    </a:lnTo>
                    <a:lnTo>
                      <a:pt x="762" y="221"/>
                    </a:lnTo>
                    <a:lnTo>
                      <a:pt x="759" y="219"/>
                    </a:lnTo>
                    <a:lnTo>
                      <a:pt x="757" y="217"/>
                    </a:lnTo>
                    <a:lnTo>
                      <a:pt x="755" y="213"/>
                    </a:lnTo>
                    <a:lnTo>
                      <a:pt x="753" y="215"/>
                    </a:lnTo>
                    <a:lnTo>
                      <a:pt x="748" y="219"/>
                    </a:lnTo>
                    <a:lnTo>
                      <a:pt x="746" y="221"/>
                    </a:lnTo>
                    <a:lnTo>
                      <a:pt x="744" y="221"/>
                    </a:lnTo>
                    <a:lnTo>
                      <a:pt x="740" y="221"/>
                    </a:lnTo>
                    <a:lnTo>
                      <a:pt x="735" y="219"/>
                    </a:lnTo>
                    <a:lnTo>
                      <a:pt x="733" y="217"/>
                    </a:lnTo>
                    <a:lnTo>
                      <a:pt x="731" y="215"/>
                    </a:lnTo>
                    <a:lnTo>
                      <a:pt x="729" y="210"/>
                    </a:lnTo>
                    <a:lnTo>
                      <a:pt x="724" y="202"/>
                    </a:lnTo>
                    <a:lnTo>
                      <a:pt x="724" y="202"/>
                    </a:lnTo>
                    <a:lnTo>
                      <a:pt x="720" y="199"/>
                    </a:lnTo>
                    <a:lnTo>
                      <a:pt x="715" y="202"/>
                    </a:lnTo>
                    <a:lnTo>
                      <a:pt x="713" y="199"/>
                    </a:lnTo>
                    <a:lnTo>
                      <a:pt x="713" y="197"/>
                    </a:lnTo>
                    <a:lnTo>
                      <a:pt x="713" y="195"/>
                    </a:lnTo>
                    <a:lnTo>
                      <a:pt x="713" y="193"/>
                    </a:lnTo>
                    <a:lnTo>
                      <a:pt x="713" y="193"/>
                    </a:lnTo>
                    <a:lnTo>
                      <a:pt x="711" y="193"/>
                    </a:lnTo>
                    <a:lnTo>
                      <a:pt x="711" y="193"/>
                    </a:lnTo>
                    <a:lnTo>
                      <a:pt x="709" y="195"/>
                    </a:lnTo>
                    <a:lnTo>
                      <a:pt x="709" y="195"/>
                    </a:lnTo>
                    <a:lnTo>
                      <a:pt x="707" y="197"/>
                    </a:lnTo>
                    <a:lnTo>
                      <a:pt x="707" y="197"/>
                    </a:lnTo>
                    <a:lnTo>
                      <a:pt x="704" y="195"/>
                    </a:lnTo>
                    <a:lnTo>
                      <a:pt x="702" y="195"/>
                    </a:lnTo>
                    <a:lnTo>
                      <a:pt x="700" y="193"/>
                    </a:lnTo>
                    <a:lnTo>
                      <a:pt x="698" y="180"/>
                    </a:lnTo>
                    <a:lnTo>
                      <a:pt x="696" y="178"/>
                    </a:lnTo>
                    <a:lnTo>
                      <a:pt x="691" y="184"/>
                    </a:lnTo>
                    <a:lnTo>
                      <a:pt x="687" y="184"/>
                    </a:lnTo>
                    <a:lnTo>
                      <a:pt x="676" y="180"/>
                    </a:lnTo>
                    <a:lnTo>
                      <a:pt x="665" y="178"/>
                    </a:lnTo>
                    <a:lnTo>
                      <a:pt x="658" y="175"/>
                    </a:lnTo>
                    <a:lnTo>
                      <a:pt x="656" y="169"/>
                    </a:lnTo>
                    <a:lnTo>
                      <a:pt x="652" y="160"/>
                    </a:lnTo>
                    <a:lnTo>
                      <a:pt x="652" y="158"/>
                    </a:lnTo>
                    <a:lnTo>
                      <a:pt x="645" y="156"/>
                    </a:lnTo>
                    <a:lnTo>
                      <a:pt x="645" y="153"/>
                    </a:lnTo>
                    <a:lnTo>
                      <a:pt x="645" y="151"/>
                    </a:lnTo>
                    <a:lnTo>
                      <a:pt x="650" y="151"/>
                    </a:lnTo>
                    <a:lnTo>
                      <a:pt x="652" y="151"/>
                    </a:lnTo>
                    <a:lnTo>
                      <a:pt x="654" y="151"/>
                    </a:lnTo>
                    <a:lnTo>
                      <a:pt x="656" y="149"/>
                    </a:lnTo>
                    <a:lnTo>
                      <a:pt x="654" y="147"/>
                    </a:lnTo>
                    <a:lnTo>
                      <a:pt x="652" y="145"/>
                    </a:lnTo>
                    <a:lnTo>
                      <a:pt x="652" y="142"/>
                    </a:lnTo>
                    <a:lnTo>
                      <a:pt x="652" y="140"/>
                    </a:lnTo>
                    <a:lnTo>
                      <a:pt x="652" y="138"/>
                    </a:lnTo>
                    <a:lnTo>
                      <a:pt x="647" y="138"/>
                    </a:lnTo>
                    <a:lnTo>
                      <a:pt x="645" y="138"/>
                    </a:lnTo>
                    <a:lnTo>
                      <a:pt x="645" y="138"/>
                    </a:lnTo>
                    <a:lnTo>
                      <a:pt x="639" y="131"/>
                    </a:lnTo>
                    <a:lnTo>
                      <a:pt x="636" y="127"/>
                    </a:lnTo>
                    <a:lnTo>
                      <a:pt x="636" y="125"/>
                    </a:lnTo>
                    <a:lnTo>
                      <a:pt x="639" y="123"/>
                    </a:lnTo>
                    <a:lnTo>
                      <a:pt x="641" y="120"/>
                    </a:lnTo>
                    <a:lnTo>
                      <a:pt x="641" y="118"/>
                    </a:lnTo>
                    <a:lnTo>
                      <a:pt x="632" y="101"/>
                    </a:lnTo>
                    <a:lnTo>
                      <a:pt x="632" y="99"/>
                    </a:lnTo>
                    <a:lnTo>
                      <a:pt x="632" y="99"/>
                    </a:lnTo>
                    <a:lnTo>
                      <a:pt x="632" y="96"/>
                    </a:lnTo>
                    <a:lnTo>
                      <a:pt x="632" y="94"/>
                    </a:lnTo>
                    <a:lnTo>
                      <a:pt x="630" y="94"/>
                    </a:lnTo>
                    <a:lnTo>
                      <a:pt x="628" y="94"/>
                    </a:lnTo>
                    <a:lnTo>
                      <a:pt x="628" y="94"/>
                    </a:lnTo>
                    <a:lnTo>
                      <a:pt x="625" y="90"/>
                    </a:lnTo>
                    <a:lnTo>
                      <a:pt x="623" y="88"/>
                    </a:lnTo>
                    <a:lnTo>
                      <a:pt x="621" y="85"/>
                    </a:lnTo>
                    <a:lnTo>
                      <a:pt x="610" y="79"/>
                    </a:lnTo>
                    <a:lnTo>
                      <a:pt x="603" y="74"/>
                    </a:lnTo>
                    <a:lnTo>
                      <a:pt x="597" y="68"/>
                    </a:lnTo>
                    <a:lnTo>
                      <a:pt x="590" y="59"/>
                    </a:lnTo>
                    <a:lnTo>
                      <a:pt x="590" y="57"/>
                    </a:lnTo>
                    <a:lnTo>
                      <a:pt x="588" y="57"/>
                    </a:lnTo>
                    <a:lnTo>
                      <a:pt x="586" y="59"/>
                    </a:lnTo>
                    <a:lnTo>
                      <a:pt x="586" y="59"/>
                    </a:lnTo>
                    <a:lnTo>
                      <a:pt x="584" y="59"/>
                    </a:lnTo>
                    <a:lnTo>
                      <a:pt x="581" y="59"/>
                    </a:lnTo>
                    <a:lnTo>
                      <a:pt x="579" y="59"/>
                    </a:lnTo>
                    <a:lnTo>
                      <a:pt x="579" y="57"/>
                    </a:lnTo>
                    <a:lnTo>
                      <a:pt x="579" y="57"/>
                    </a:lnTo>
                    <a:lnTo>
                      <a:pt x="577" y="57"/>
                    </a:lnTo>
                    <a:lnTo>
                      <a:pt x="577" y="55"/>
                    </a:lnTo>
                    <a:lnTo>
                      <a:pt x="575" y="55"/>
                    </a:lnTo>
                    <a:lnTo>
                      <a:pt x="570" y="55"/>
                    </a:lnTo>
                    <a:lnTo>
                      <a:pt x="566" y="52"/>
                    </a:lnTo>
                    <a:lnTo>
                      <a:pt x="566" y="52"/>
                    </a:lnTo>
                    <a:lnTo>
                      <a:pt x="562" y="52"/>
                    </a:lnTo>
                    <a:lnTo>
                      <a:pt x="564" y="50"/>
                    </a:lnTo>
                    <a:lnTo>
                      <a:pt x="568" y="46"/>
                    </a:lnTo>
                    <a:lnTo>
                      <a:pt x="562" y="33"/>
                    </a:lnTo>
                    <a:lnTo>
                      <a:pt x="560" y="28"/>
                    </a:lnTo>
                    <a:lnTo>
                      <a:pt x="555" y="26"/>
                    </a:lnTo>
                    <a:lnTo>
                      <a:pt x="553" y="26"/>
                    </a:lnTo>
                    <a:lnTo>
                      <a:pt x="549" y="33"/>
                    </a:lnTo>
                    <a:lnTo>
                      <a:pt x="546" y="35"/>
                    </a:lnTo>
                    <a:lnTo>
                      <a:pt x="544" y="35"/>
                    </a:lnTo>
                    <a:lnTo>
                      <a:pt x="542" y="35"/>
                    </a:lnTo>
                    <a:lnTo>
                      <a:pt x="535" y="33"/>
                    </a:lnTo>
                    <a:lnTo>
                      <a:pt x="531" y="31"/>
                    </a:lnTo>
                    <a:lnTo>
                      <a:pt x="529" y="28"/>
                    </a:lnTo>
                    <a:lnTo>
                      <a:pt x="522" y="22"/>
                    </a:lnTo>
                    <a:lnTo>
                      <a:pt x="520" y="20"/>
                    </a:lnTo>
                    <a:lnTo>
                      <a:pt x="518" y="20"/>
                    </a:lnTo>
                    <a:lnTo>
                      <a:pt x="516" y="20"/>
                    </a:lnTo>
                    <a:lnTo>
                      <a:pt x="513" y="20"/>
                    </a:lnTo>
                    <a:lnTo>
                      <a:pt x="511" y="17"/>
                    </a:lnTo>
                    <a:lnTo>
                      <a:pt x="505" y="6"/>
                    </a:lnTo>
                    <a:lnTo>
                      <a:pt x="500" y="4"/>
                    </a:lnTo>
                    <a:lnTo>
                      <a:pt x="496" y="2"/>
                    </a:lnTo>
                    <a:lnTo>
                      <a:pt x="489" y="0"/>
                    </a:lnTo>
                    <a:lnTo>
                      <a:pt x="485" y="0"/>
                    </a:lnTo>
                    <a:lnTo>
                      <a:pt x="483" y="0"/>
                    </a:lnTo>
                    <a:lnTo>
                      <a:pt x="480" y="2"/>
                    </a:lnTo>
                    <a:lnTo>
                      <a:pt x="478" y="4"/>
                    </a:lnTo>
                    <a:lnTo>
                      <a:pt x="478" y="9"/>
                    </a:lnTo>
                    <a:lnTo>
                      <a:pt x="476" y="11"/>
                    </a:lnTo>
                    <a:lnTo>
                      <a:pt x="474" y="13"/>
                    </a:lnTo>
                    <a:lnTo>
                      <a:pt x="470" y="13"/>
                    </a:lnTo>
                    <a:lnTo>
                      <a:pt x="467" y="17"/>
                    </a:lnTo>
                    <a:lnTo>
                      <a:pt x="463" y="20"/>
                    </a:lnTo>
                    <a:lnTo>
                      <a:pt x="461" y="20"/>
                    </a:lnTo>
                    <a:lnTo>
                      <a:pt x="459" y="22"/>
                    </a:lnTo>
                    <a:lnTo>
                      <a:pt x="456" y="22"/>
                    </a:lnTo>
                    <a:lnTo>
                      <a:pt x="450" y="22"/>
                    </a:lnTo>
                    <a:lnTo>
                      <a:pt x="448" y="22"/>
                    </a:lnTo>
                    <a:lnTo>
                      <a:pt x="443" y="24"/>
                    </a:lnTo>
                    <a:lnTo>
                      <a:pt x="439" y="24"/>
                    </a:lnTo>
                    <a:lnTo>
                      <a:pt x="426" y="17"/>
                    </a:lnTo>
                    <a:lnTo>
                      <a:pt x="423" y="15"/>
                    </a:lnTo>
                    <a:lnTo>
                      <a:pt x="421" y="15"/>
                    </a:lnTo>
                    <a:lnTo>
                      <a:pt x="417" y="17"/>
                    </a:lnTo>
                    <a:lnTo>
                      <a:pt x="415" y="15"/>
                    </a:lnTo>
                    <a:lnTo>
                      <a:pt x="410" y="15"/>
                    </a:lnTo>
                    <a:lnTo>
                      <a:pt x="408" y="13"/>
                    </a:lnTo>
                    <a:lnTo>
                      <a:pt x="404" y="15"/>
                    </a:lnTo>
                    <a:lnTo>
                      <a:pt x="404" y="17"/>
                    </a:lnTo>
                    <a:lnTo>
                      <a:pt x="404" y="22"/>
                    </a:lnTo>
                    <a:lnTo>
                      <a:pt x="406" y="26"/>
                    </a:lnTo>
                    <a:lnTo>
                      <a:pt x="408" y="28"/>
                    </a:lnTo>
                    <a:lnTo>
                      <a:pt x="410" y="28"/>
                    </a:lnTo>
                    <a:lnTo>
                      <a:pt x="415" y="28"/>
                    </a:lnTo>
                    <a:lnTo>
                      <a:pt x="415" y="28"/>
                    </a:lnTo>
                    <a:lnTo>
                      <a:pt x="417" y="28"/>
                    </a:lnTo>
                    <a:lnTo>
                      <a:pt x="421" y="33"/>
                    </a:lnTo>
                    <a:lnTo>
                      <a:pt x="423" y="35"/>
                    </a:lnTo>
                    <a:lnTo>
                      <a:pt x="428" y="35"/>
                    </a:lnTo>
                    <a:lnTo>
                      <a:pt x="430" y="37"/>
                    </a:lnTo>
                    <a:lnTo>
                      <a:pt x="432" y="39"/>
                    </a:lnTo>
                    <a:lnTo>
                      <a:pt x="439" y="61"/>
                    </a:lnTo>
                    <a:lnTo>
                      <a:pt x="443" y="68"/>
                    </a:lnTo>
                    <a:lnTo>
                      <a:pt x="448" y="77"/>
                    </a:lnTo>
                    <a:lnTo>
                      <a:pt x="452" y="79"/>
                    </a:lnTo>
                    <a:lnTo>
                      <a:pt x="454" y="81"/>
                    </a:lnTo>
                    <a:lnTo>
                      <a:pt x="454" y="81"/>
                    </a:lnTo>
                    <a:lnTo>
                      <a:pt x="456" y="81"/>
                    </a:lnTo>
                    <a:lnTo>
                      <a:pt x="459" y="81"/>
                    </a:lnTo>
                    <a:lnTo>
                      <a:pt x="459" y="83"/>
                    </a:lnTo>
                    <a:lnTo>
                      <a:pt x="467" y="88"/>
                    </a:lnTo>
                    <a:lnTo>
                      <a:pt x="467" y="90"/>
                    </a:lnTo>
                    <a:lnTo>
                      <a:pt x="467" y="92"/>
                    </a:lnTo>
                    <a:lnTo>
                      <a:pt x="470" y="92"/>
                    </a:lnTo>
                    <a:lnTo>
                      <a:pt x="470" y="92"/>
                    </a:lnTo>
                    <a:lnTo>
                      <a:pt x="472" y="92"/>
                    </a:lnTo>
                    <a:lnTo>
                      <a:pt x="472" y="92"/>
                    </a:lnTo>
                    <a:lnTo>
                      <a:pt x="474" y="94"/>
                    </a:lnTo>
                    <a:lnTo>
                      <a:pt x="476" y="99"/>
                    </a:lnTo>
                    <a:lnTo>
                      <a:pt x="474" y="105"/>
                    </a:lnTo>
                    <a:lnTo>
                      <a:pt x="474" y="107"/>
                    </a:lnTo>
                    <a:lnTo>
                      <a:pt x="476" y="107"/>
                    </a:lnTo>
                    <a:lnTo>
                      <a:pt x="476" y="110"/>
                    </a:lnTo>
                    <a:lnTo>
                      <a:pt x="476" y="112"/>
                    </a:lnTo>
                    <a:lnTo>
                      <a:pt x="474" y="114"/>
                    </a:lnTo>
                    <a:lnTo>
                      <a:pt x="474" y="114"/>
                    </a:lnTo>
                    <a:lnTo>
                      <a:pt x="472" y="114"/>
                    </a:lnTo>
                    <a:lnTo>
                      <a:pt x="470" y="116"/>
                    </a:lnTo>
                    <a:lnTo>
                      <a:pt x="467" y="118"/>
                    </a:lnTo>
                    <a:lnTo>
                      <a:pt x="470" y="120"/>
                    </a:lnTo>
                    <a:lnTo>
                      <a:pt x="470" y="123"/>
                    </a:lnTo>
                    <a:lnTo>
                      <a:pt x="470" y="125"/>
                    </a:lnTo>
                    <a:lnTo>
                      <a:pt x="470" y="127"/>
                    </a:lnTo>
                    <a:lnTo>
                      <a:pt x="467" y="129"/>
                    </a:lnTo>
                    <a:lnTo>
                      <a:pt x="467" y="131"/>
                    </a:lnTo>
                    <a:lnTo>
                      <a:pt x="476" y="160"/>
                    </a:lnTo>
                    <a:lnTo>
                      <a:pt x="476" y="162"/>
                    </a:lnTo>
                    <a:lnTo>
                      <a:pt x="476" y="164"/>
                    </a:lnTo>
                    <a:lnTo>
                      <a:pt x="476" y="167"/>
                    </a:lnTo>
                    <a:lnTo>
                      <a:pt x="478" y="169"/>
                    </a:lnTo>
                    <a:lnTo>
                      <a:pt x="478" y="171"/>
                    </a:lnTo>
                    <a:lnTo>
                      <a:pt x="480" y="173"/>
                    </a:lnTo>
                    <a:lnTo>
                      <a:pt x="480" y="173"/>
                    </a:lnTo>
                    <a:lnTo>
                      <a:pt x="478" y="173"/>
                    </a:lnTo>
                    <a:lnTo>
                      <a:pt x="470" y="173"/>
                    </a:lnTo>
                    <a:lnTo>
                      <a:pt x="463" y="175"/>
                    </a:lnTo>
                    <a:lnTo>
                      <a:pt x="459" y="175"/>
                    </a:lnTo>
                    <a:lnTo>
                      <a:pt x="456" y="173"/>
                    </a:lnTo>
                    <a:lnTo>
                      <a:pt x="456" y="171"/>
                    </a:lnTo>
                    <a:lnTo>
                      <a:pt x="452" y="169"/>
                    </a:lnTo>
                    <a:lnTo>
                      <a:pt x="448" y="164"/>
                    </a:lnTo>
                    <a:lnTo>
                      <a:pt x="445" y="164"/>
                    </a:lnTo>
                    <a:lnTo>
                      <a:pt x="443" y="175"/>
                    </a:lnTo>
                    <a:lnTo>
                      <a:pt x="439" y="197"/>
                    </a:lnTo>
                    <a:lnTo>
                      <a:pt x="432" y="219"/>
                    </a:lnTo>
                    <a:lnTo>
                      <a:pt x="428" y="241"/>
                    </a:lnTo>
                    <a:lnTo>
                      <a:pt x="421" y="263"/>
                    </a:lnTo>
                    <a:lnTo>
                      <a:pt x="419" y="272"/>
                    </a:lnTo>
                    <a:lnTo>
                      <a:pt x="417" y="278"/>
                    </a:lnTo>
                    <a:lnTo>
                      <a:pt x="415" y="281"/>
                    </a:lnTo>
                    <a:lnTo>
                      <a:pt x="412" y="285"/>
                    </a:lnTo>
                    <a:lnTo>
                      <a:pt x="401" y="294"/>
                    </a:lnTo>
                    <a:lnTo>
                      <a:pt x="395" y="303"/>
                    </a:lnTo>
                    <a:lnTo>
                      <a:pt x="386" y="314"/>
                    </a:lnTo>
                    <a:lnTo>
                      <a:pt x="375" y="325"/>
                    </a:lnTo>
                    <a:lnTo>
                      <a:pt x="366" y="336"/>
                    </a:lnTo>
                    <a:lnTo>
                      <a:pt x="358" y="347"/>
                    </a:lnTo>
                    <a:lnTo>
                      <a:pt x="349" y="358"/>
                    </a:lnTo>
                    <a:lnTo>
                      <a:pt x="338" y="368"/>
                    </a:lnTo>
                    <a:lnTo>
                      <a:pt x="329" y="379"/>
                    </a:lnTo>
                    <a:lnTo>
                      <a:pt x="320" y="390"/>
                    </a:lnTo>
                    <a:lnTo>
                      <a:pt x="309" y="397"/>
                    </a:lnTo>
                    <a:lnTo>
                      <a:pt x="298" y="406"/>
                    </a:lnTo>
                    <a:lnTo>
                      <a:pt x="287" y="415"/>
                    </a:lnTo>
                    <a:lnTo>
                      <a:pt x="276" y="423"/>
                    </a:lnTo>
                    <a:lnTo>
                      <a:pt x="265" y="432"/>
                    </a:lnTo>
                    <a:lnTo>
                      <a:pt x="254" y="441"/>
                    </a:lnTo>
                    <a:lnTo>
                      <a:pt x="243" y="450"/>
                    </a:lnTo>
                    <a:lnTo>
                      <a:pt x="232" y="456"/>
                    </a:lnTo>
                    <a:lnTo>
                      <a:pt x="221" y="465"/>
                    </a:lnTo>
                    <a:lnTo>
                      <a:pt x="213" y="469"/>
                    </a:lnTo>
                    <a:lnTo>
                      <a:pt x="210" y="472"/>
                    </a:lnTo>
                    <a:lnTo>
                      <a:pt x="193" y="478"/>
                    </a:lnTo>
                    <a:lnTo>
                      <a:pt x="169" y="487"/>
                    </a:lnTo>
                    <a:lnTo>
                      <a:pt x="147" y="494"/>
                    </a:lnTo>
                    <a:lnTo>
                      <a:pt x="123" y="502"/>
                    </a:lnTo>
                    <a:lnTo>
                      <a:pt x="98" y="511"/>
                    </a:lnTo>
                    <a:lnTo>
                      <a:pt x="76" y="520"/>
                    </a:lnTo>
                    <a:lnTo>
                      <a:pt x="52" y="526"/>
                    </a:lnTo>
                    <a:lnTo>
                      <a:pt x="28" y="535"/>
                    </a:lnTo>
                    <a:lnTo>
                      <a:pt x="6" y="544"/>
                    </a:lnTo>
                    <a:lnTo>
                      <a:pt x="0" y="546"/>
                    </a:lnTo>
                    <a:lnTo>
                      <a:pt x="0" y="546"/>
                    </a:lnTo>
                    <a:lnTo>
                      <a:pt x="4" y="566"/>
                    </a:lnTo>
                    <a:lnTo>
                      <a:pt x="8" y="579"/>
                    </a:lnTo>
                    <a:lnTo>
                      <a:pt x="8" y="584"/>
                    </a:lnTo>
                    <a:lnTo>
                      <a:pt x="8" y="599"/>
                    </a:lnTo>
                    <a:lnTo>
                      <a:pt x="8" y="603"/>
                    </a:lnTo>
                    <a:lnTo>
                      <a:pt x="11" y="605"/>
                    </a:lnTo>
                    <a:lnTo>
                      <a:pt x="19" y="621"/>
                    </a:lnTo>
                    <a:lnTo>
                      <a:pt x="24" y="634"/>
                    </a:lnTo>
                    <a:lnTo>
                      <a:pt x="26" y="641"/>
                    </a:lnTo>
                    <a:lnTo>
                      <a:pt x="28" y="658"/>
                    </a:lnTo>
                    <a:lnTo>
                      <a:pt x="33" y="669"/>
                    </a:lnTo>
                    <a:lnTo>
                      <a:pt x="33" y="671"/>
                    </a:lnTo>
                    <a:lnTo>
                      <a:pt x="33" y="674"/>
                    </a:lnTo>
                    <a:lnTo>
                      <a:pt x="33" y="678"/>
                    </a:lnTo>
                    <a:lnTo>
                      <a:pt x="33" y="684"/>
                    </a:lnTo>
                    <a:lnTo>
                      <a:pt x="33" y="689"/>
                    </a:lnTo>
                    <a:lnTo>
                      <a:pt x="33" y="693"/>
                    </a:lnTo>
                    <a:lnTo>
                      <a:pt x="35" y="695"/>
                    </a:lnTo>
                    <a:lnTo>
                      <a:pt x="35" y="698"/>
                    </a:lnTo>
                    <a:lnTo>
                      <a:pt x="44" y="709"/>
                    </a:lnTo>
                    <a:lnTo>
                      <a:pt x="44" y="713"/>
                    </a:lnTo>
                    <a:lnTo>
                      <a:pt x="46" y="717"/>
                    </a:lnTo>
                    <a:lnTo>
                      <a:pt x="48" y="720"/>
                    </a:lnTo>
                    <a:lnTo>
                      <a:pt x="48" y="731"/>
                    </a:lnTo>
                    <a:lnTo>
                      <a:pt x="50" y="737"/>
                    </a:lnTo>
                    <a:lnTo>
                      <a:pt x="50" y="739"/>
                    </a:lnTo>
                    <a:lnTo>
                      <a:pt x="52" y="742"/>
                    </a:lnTo>
                    <a:lnTo>
                      <a:pt x="52" y="744"/>
                    </a:lnTo>
                    <a:lnTo>
                      <a:pt x="48" y="750"/>
                    </a:lnTo>
                    <a:lnTo>
                      <a:pt x="48" y="757"/>
                    </a:lnTo>
                    <a:lnTo>
                      <a:pt x="46" y="788"/>
                    </a:lnTo>
                    <a:lnTo>
                      <a:pt x="46" y="801"/>
                    </a:lnTo>
                    <a:lnTo>
                      <a:pt x="46" y="814"/>
                    </a:lnTo>
                    <a:lnTo>
                      <a:pt x="44" y="818"/>
                    </a:lnTo>
                    <a:lnTo>
                      <a:pt x="41" y="823"/>
                    </a:lnTo>
                    <a:lnTo>
                      <a:pt x="37" y="829"/>
                    </a:lnTo>
                    <a:lnTo>
                      <a:pt x="33" y="843"/>
                    </a:lnTo>
                    <a:lnTo>
                      <a:pt x="28" y="851"/>
                    </a:lnTo>
                    <a:lnTo>
                      <a:pt x="26" y="853"/>
                    </a:lnTo>
                    <a:lnTo>
                      <a:pt x="24" y="856"/>
                    </a:lnTo>
                    <a:lnTo>
                      <a:pt x="19" y="860"/>
                    </a:lnTo>
                    <a:lnTo>
                      <a:pt x="17" y="864"/>
                    </a:lnTo>
                    <a:lnTo>
                      <a:pt x="13" y="869"/>
                    </a:lnTo>
                    <a:lnTo>
                      <a:pt x="8" y="880"/>
                    </a:lnTo>
                    <a:lnTo>
                      <a:pt x="8" y="886"/>
                    </a:lnTo>
                    <a:lnTo>
                      <a:pt x="6" y="895"/>
                    </a:lnTo>
                    <a:lnTo>
                      <a:pt x="6" y="902"/>
                    </a:lnTo>
                    <a:lnTo>
                      <a:pt x="8" y="904"/>
                    </a:lnTo>
                    <a:lnTo>
                      <a:pt x="8" y="908"/>
                    </a:lnTo>
                    <a:lnTo>
                      <a:pt x="11" y="913"/>
                    </a:lnTo>
                    <a:lnTo>
                      <a:pt x="13" y="922"/>
                    </a:lnTo>
                    <a:lnTo>
                      <a:pt x="15" y="948"/>
                    </a:lnTo>
                    <a:lnTo>
                      <a:pt x="19" y="968"/>
                    </a:lnTo>
                    <a:lnTo>
                      <a:pt x="33" y="996"/>
                    </a:lnTo>
                    <a:lnTo>
                      <a:pt x="37" y="1001"/>
                    </a:lnTo>
                    <a:lnTo>
                      <a:pt x="44" y="1007"/>
                    </a:lnTo>
                    <a:lnTo>
                      <a:pt x="50" y="1009"/>
                    </a:lnTo>
                    <a:lnTo>
                      <a:pt x="72" y="1018"/>
                    </a:lnTo>
                    <a:lnTo>
                      <a:pt x="83" y="1025"/>
                    </a:lnTo>
                    <a:lnTo>
                      <a:pt x="90" y="1031"/>
                    </a:lnTo>
                    <a:lnTo>
                      <a:pt x="92" y="1033"/>
                    </a:lnTo>
                    <a:lnTo>
                      <a:pt x="96" y="1038"/>
                    </a:lnTo>
                    <a:lnTo>
                      <a:pt x="105" y="1047"/>
                    </a:lnTo>
                    <a:lnTo>
                      <a:pt x="114" y="1049"/>
                    </a:lnTo>
                    <a:lnTo>
                      <a:pt x="118" y="1051"/>
                    </a:lnTo>
                    <a:lnTo>
                      <a:pt x="158" y="1053"/>
                    </a:lnTo>
                    <a:lnTo>
                      <a:pt x="164" y="1055"/>
                    </a:lnTo>
                    <a:lnTo>
                      <a:pt x="169" y="1058"/>
                    </a:lnTo>
                    <a:lnTo>
                      <a:pt x="173" y="1060"/>
                    </a:lnTo>
                    <a:lnTo>
                      <a:pt x="182" y="1066"/>
                    </a:lnTo>
                    <a:lnTo>
                      <a:pt x="186" y="1073"/>
                    </a:lnTo>
                    <a:lnTo>
                      <a:pt x="191" y="1080"/>
                    </a:lnTo>
                    <a:lnTo>
                      <a:pt x="197" y="1097"/>
                    </a:lnTo>
                    <a:lnTo>
                      <a:pt x="202" y="1106"/>
                    </a:lnTo>
                    <a:lnTo>
                      <a:pt x="206" y="1112"/>
                    </a:lnTo>
                    <a:lnTo>
                      <a:pt x="213" y="1117"/>
                    </a:lnTo>
                    <a:lnTo>
                      <a:pt x="215" y="1117"/>
                    </a:lnTo>
                    <a:lnTo>
                      <a:pt x="221" y="1119"/>
                    </a:lnTo>
                    <a:lnTo>
                      <a:pt x="224" y="1119"/>
                    </a:lnTo>
                    <a:lnTo>
                      <a:pt x="228" y="1119"/>
                    </a:lnTo>
                    <a:lnTo>
                      <a:pt x="232" y="1119"/>
                    </a:lnTo>
                    <a:lnTo>
                      <a:pt x="239" y="1117"/>
                    </a:lnTo>
                    <a:lnTo>
                      <a:pt x="265" y="1097"/>
                    </a:lnTo>
                    <a:lnTo>
                      <a:pt x="272" y="1095"/>
                    </a:lnTo>
                    <a:lnTo>
                      <a:pt x="274" y="1095"/>
                    </a:lnTo>
                    <a:lnTo>
                      <a:pt x="278" y="1097"/>
                    </a:lnTo>
                    <a:lnTo>
                      <a:pt x="281" y="1097"/>
                    </a:lnTo>
                    <a:lnTo>
                      <a:pt x="285" y="1099"/>
                    </a:lnTo>
                    <a:lnTo>
                      <a:pt x="289" y="1104"/>
                    </a:lnTo>
                    <a:lnTo>
                      <a:pt x="294" y="1110"/>
                    </a:lnTo>
                    <a:lnTo>
                      <a:pt x="307" y="1126"/>
                    </a:lnTo>
                    <a:lnTo>
                      <a:pt x="311" y="1128"/>
                    </a:lnTo>
                    <a:lnTo>
                      <a:pt x="314" y="1130"/>
                    </a:lnTo>
                    <a:lnTo>
                      <a:pt x="322" y="1132"/>
                    </a:lnTo>
                    <a:lnTo>
                      <a:pt x="325" y="1132"/>
                    </a:lnTo>
                    <a:lnTo>
                      <a:pt x="329" y="1132"/>
                    </a:lnTo>
                    <a:lnTo>
                      <a:pt x="336" y="1132"/>
                    </a:lnTo>
                    <a:lnTo>
                      <a:pt x="353" y="1130"/>
                    </a:lnTo>
                    <a:lnTo>
                      <a:pt x="366" y="1130"/>
                    </a:lnTo>
                    <a:lnTo>
                      <a:pt x="388" y="1137"/>
                    </a:lnTo>
                    <a:lnTo>
                      <a:pt x="399" y="1139"/>
                    </a:lnTo>
                    <a:lnTo>
                      <a:pt x="410" y="1143"/>
                    </a:lnTo>
                    <a:lnTo>
                      <a:pt x="417" y="1145"/>
                    </a:lnTo>
                    <a:lnTo>
                      <a:pt x="428" y="1159"/>
                    </a:lnTo>
                    <a:lnTo>
                      <a:pt x="430" y="1161"/>
                    </a:lnTo>
                    <a:lnTo>
                      <a:pt x="434" y="1167"/>
                    </a:lnTo>
                    <a:lnTo>
                      <a:pt x="434" y="1170"/>
                    </a:lnTo>
                    <a:lnTo>
                      <a:pt x="437" y="1172"/>
                    </a:lnTo>
                    <a:lnTo>
                      <a:pt x="437" y="1176"/>
                    </a:lnTo>
                    <a:lnTo>
                      <a:pt x="437" y="1178"/>
                    </a:lnTo>
                    <a:lnTo>
                      <a:pt x="430" y="1231"/>
                    </a:lnTo>
                    <a:lnTo>
                      <a:pt x="432" y="1238"/>
                    </a:lnTo>
                    <a:lnTo>
                      <a:pt x="432" y="1240"/>
                    </a:lnTo>
                    <a:lnTo>
                      <a:pt x="428" y="1255"/>
                    </a:lnTo>
                    <a:lnTo>
                      <a:pt x="428" y="1257"/>
                    </a:lnTo>
                    <a:lnTo>
                      <a:pt x="426" y="1259"/>
                    </a:lnTo>
                    <a:lnTo>
                      <a:pt x="417" y="1275"/>
                    </a:lnTo>
                    <a:lnTo>
                      <a:pt x="412" y="1281"/>
                    </a:lnTo>
                    <a:lnTo>
                      <a:pt x="410" y="1284"/>
                    </a:lnTo>
                    <a:lnTo>
                      <a:pt x="408" y="1286"/>
                    </a:lnTo>
                    <a:lnTo>
                      <a:pt x="406" y="1286"/>
                    </a:lnTo>
                    <a:lnTo>
                      <a:pt x="404" y="1288"/>
                    </a:lnTo>
                    <a:lnTo>
                      <a:pt x="401" y="1286"/>
                    </a:lnTo>
                    <a:lnTo>
                      <a:pt x="399" y="1286"/>
                    </a:lnTo>
                    <a:lnTo>
                      <a:pt x="397" y="1284"/>
                    </a:lnTo>
                    <a:lnTo>
                      <a:pt x="379" y="1264"/>
                    </a:lnTo>
                    <a:lnTo>
                      <a:pt x="375" y="1259"/>
                    </a:lnTo>
                    <a:lnTo>
                      <a:pt x="371" y="1255"/>
                    </a:lnTo>
                    <a:lnTo>
                      <a:pt x="366" y="1255"/>
                    </a:lnTo>
                    <a:lnTo>
                      <a:pt x="360" y="1253"/>
                    </a:lnTo>
                    <a:lnTo>
                      <a:pt x="355" y="1251"/>
                    </a:lnTo>
                    <a:lnTo>
                      <a:pt x="349" y="1251"/>
                    </a:lnTo>
                    <a:lnTo>
                      <a:pt x="344" y="1253"/>
                    </a:lnTo>
                    <a:lnTo>
                      <a:pt x="342" y="1253"/>
                    </a:lnTo>
                    <a:lnTo>
                      <a:pt x="338" y="1255"/>
                    </a:lnTo>
                    <a:lnTo>
                      <a:pt x="336" y="1257"/>
                    </a:lnTo>
                    <a:lnTo>
                      <a:pt x="329" y="1266"/>
                    </a:lnTo>
                    <a:lnTo>
                      <a:pt x="320" y="1286"/>
                    </a:lnTo>
                    <a:lnTo>
                      <a:pt x="316" y="1297"/>
                    </a:lnTo>
                    <a:lnTo>
                      <a:pt x="316" y="1299"/>
                    </a:lnTo>
                    <a:lnTo>
                      <a:pt x="316" y="1299"/>
                    </a:lnTo>
                    <a:lnTo>
                      <a:pt x="318" y="1306"/>
                    </a:lnTo>
                    <a:lnTo>
                      <a:pt x="320" y="1308"/>
                    </a:lnTo>
                    <a:lnTo>
                      <a:pt x="320" y="1312"/>
                    </a:lnTo>
                    <a:lnTo>
                      <a:pt x="322" y="1319"/>
                    </a:lnTo>
                    <a:lnTo>
                      <a:pt x="318" y="1358"/>
                    </a:lnTo>
                    <a:lnTo>
                      <a:pt x="320" y="1369"/>
                    </a:lnTo>
                    <a:lnTo>
                      <a:pt x="322" y="1380"/>
                    </a:lnTo>
                    <a:lnTo>
                      <a:pt x="327" y="1391"/>
                    </a:lnTo>
                    <a:lnTo>
                      <a:pt x="371" y="1488"/>
                    </a:lnTo>
                    <a:lnTo>
                      <a:pt x="377" y="1507"/>
                    </a:lnTo>
                    <a:lnTo>
                      <a:pt x="379" y="1514"/>
                    </a:lnTo>
                    <a:lnTo>
                      <a:pt x="379" y="1518"/>
                    </a:lnTo>
                    <a:lnTo>
                      <a:pt x="377" y="1521"/>
                    </a:lnTo>
                    <a:lnTo>
                      <a:pt x="377" y="1523"/>
                    </a:lnTo>
                    <a:lnTo>
                      <a:pt x="375" y="1527"/>
                    </a:lnTo>
                    <a:lnTo>
                      <a:pt x="358" y="1547"/>
                    </a:lnTo>
                    <a:lnTo>
                      <a:pt x="355" y="1551"/>
                    </a:lnTo>
                    <a:lnTo>
                      <a:pt x="355" y="1554"/>
                    </a:lnTo>
                    <a:lnTo>
                      <a:pt x="353" y="1565"/>
                    </a:lnTo>
                    <a:lnTo>
                      <a:pt x="351" y="1573"/>
                    </a:lnTo>
                    <a:lnTo>
                      <a:pt x="347" y="1591"/>
                    </a:lnTo>
                    <a:lnTo>
                      <a:pt x="342" y="1606"/>
                    </a:lnTo>
                    <a:lnTo>
                      <a:pt x="360" y="1597"/>
                    </a:lnTo>
                    <a:lnTo>
                      <a:pt x="369" y="1591"/>
                    </a:lnTo>
                    <a:lnTo>
                      <a:pt x="373" y="1584"/>
                    </a:lnTo>
                    <a:lnTo>
                      <a:pt x="379" y="1580"/>
                    </a:lnTo>
                    <a:lnTo>
                      <a:pt x="393" y="1571"/>
                    </a:lnTo>
                    <a:lnTo>
                      <a:pt x="397" y="1569"/>
                    </a:lnTo>
                    <a:lnTo>
                      <a:pt x="399" y="1565"/>
                    </a:lnTo>
                    <a:lnTo>
                      <a:pt x="401" y="1562"/>
                    </a:lnTo>
                    <a:lnTo>
                      <a:pt x="404" y="1558"/>
                    </a:lnTo>
                    <a:lnTo>
                      <a:pt x="406" y="1558"/>
                    </a:lnTo>
                    <a:lnTo>
                      <a:pt x="410" y="1558"/>
                    </a:lnTo>
                    <a:lnTo>
                      <a:pt x="415" y="1558"/>
                    </a:lnTo>
                    <a:lnTo>
                      <a:pt x="417" y="1560"/>
                    </a:lnTo>
                    <a:lnTo>
                      <a:pt x="419" y="1560"/>
                    </a:lnTo>
                    <a:lnTo>
                      <a:pt x="432" y="1573"/>
                    </a:lnTo>
                    <a:lnTo>
                      <a:pt x="434" y="1573"/>
                    </a:lnTo>
                    <a:lnTo>
                      <a:pt x="439" y="1576"/>
                    </a:lnTo>
                    <a:lnTo>
                      <a:pt x="443" y="1576"/>
                    </a:lnTo>
                    <a:lnTo>
                      <a:pt x="445" y="1573"/>
                    </a:lnTo>
                    <a:lnTo>
                      <a:pt x="445" y="1571"/>
                    </a:lnTo>
                    <a:lnTo>
                      <a:pt x="445" y="1569"/>
                    </a:lnTo>
                    <a:lnTo>
                      <a:pt x="445" y="1567"/>
                    </a:lnTo>
                    <a:lnTo>
                      <a:pt x="434" y="1554"/>
                    </a:lnTo>
                    <a:lnTo>
                      <a:pt x="432" y="1549"/>
                    </a:lnTo>
                    <a:lnTo>
                      <a:pt x="430" y="1547"/>
                    </a:lnTo>
                    <a:lnTo>
                      <a:pt x="428" y="1540"/>
                    </a:lnTo>
                    <a:lnTo>
                      <a:pt x="428" y="1536"/>
                    </a:lnTo>
                    <a:lnTo>
                      <a:pt x="428" y="1534"/>
                    </a:lnTo>
                    <a:lnTo>
                      <a:pt x="430" y="1529"/>
                    </a:lnTo>
                    <a:lnTo>
                      <a:pt x="432" y="1527"/>
                    </a:lnTo>
                    <a:lnTo>
                      <a:pt x="437" y="1525"/>
                    </a:lnTo>
                    <a:lnTo>
                      <a:pt x="439" y="1523"/>
                    </a:lnTo>
                    <a:lnTo>
                      <a:pt x="441" y="1523"/>
                    </a:lnTo>
                    <a:lnTo>
                      <a:pt x="443" y="1523"/>
                    </a:lnTo>
                    <a:lnTo>
                      <a:pt x="448" y="1523"/>
                    </a:lnTo>
                    <a:lnTo>
                      <a:pt x="450" y="1521"/>
                    </a:lnTo>
                    <a:lnTo>
                      <a:pt x="452" y="1518"/>
                    </a:lnTo>
                    <a:lnTo>
                      <a:pt x="452" y="1516"/>
                    </a:lnTo>
                    <a:lnTo>
                      <a:pt x="454" y="1514"/>
                    </a:lnTo>
                    <a:lnTo>
                      <a:pt x="454" y="1510"/>
                    </a:lnTo>
                    <a:lnTo>
                      <a:pt x="456" y="1507"/>
                    </a:lnTo>
                    <a:lnTo>
                      <a:pt x="459" y="1505"/>
                    </a:lnTo>
                    <a:lnTo>
                      <a:pt x="461" y="1505"/>
                    </a:lnTo>
                    <a:lnTo>
                      <a:pt x="463" y="1505"/>
                    </a:lnTo>
                    <a:lnTo>
                      <a:pt x="465" y="1507"/>
                    </a:lnTo>
                    <a:lnTo>
                      <a:pt x="489" y="1507"/>
                    </a:lnTo>
                    <a:lnTo>
                      <a:pt x="498" y="1505"/>
                    </a:lnTo>
                    <a:lnTo>
                      <a:pt x="502" y="1503"/>
                    </a:lnTo>
                    <a:lnTo>
                      <a:pt x="507" y="1501"/>
                    </a:lnTo>
                    <a:lnTo>
                      <a:pt x="518" y="1494"/>
                    </a:lnTo>
                    <a:lnTo>
                      <a:pt x="522" y="1490"/>
                    </a:lnTo>
                    <a:lnTo>
                      <a:pt x="538" y="1486"/>
                    </a:lnTo>
                    <a:lnTo>
                      <a:pt x="581" y="1479"/>
                    </a:lnTo>
                    <a:lnTo>
                      <a:pt x="586" y="1477"/>
                    </a:lnTo>
                    <a:lnTo>
                      <a:pt x="597" y="1470"/>
                    </a:lnTo>
                    <a:lnTo>
                      <a:pt x="601" y="1468"/>
                    </a:lnTo>
                    <a:lnTo>
                      <a:pt x="603" y="1466"/>
                    </a:lnTo>
                    <a:lnTo>
                      <a:pt x="606" y="1464"/>
                    </a:lnTo>
                    <a:lnTo>
                      <a:pt x="606" y="1461"/>
                    </a:lnTo>
                    <a:lnTo>
                      <a:pt x="606" y="1457"/>
                    </a:lnTo>
                    <a:lnTo>
                      <a:pt x="608" y="1442"/>
                    </a:lnTo>
                    <a:lnTo>
                      <a:pt x="603" y="1424"/>
                    </a:lnTo>
                    <a:lnTo>
                      <a:pt x="606" y="1411"/>
                    </a:lnTo>
                    <a:lnTo>
                      <a:pt x="603" y="1404"/>
                    </a:lnTo>
                    <a:lnTo>
                      <a:pt x="599" y="1380"/>
                    </a:lnTo>
                    <a:lnTo>
                      <a:pt x="599" y="1376"/>
                    </a:lnTo>
                    <a:lnTo>
                      <a:pt x="597" y="1371"/>
                    </a:lnTo>
                    <a:lnTo>
                      <a:pt x="597" y="1369"/>
                    </a:lnTo>
                    <a:lnTo>
                      <a:pt x="597" y="1365"/>
                    </a:lnTo>
                    <a:lnTo>
                      <a:pt x="597" y="1360"/>
                    </a:lnTo>
                    <a:lnTo>
                      <a:pt x="599" y="1358"/>
                    </a:lnTo>
                    <a:lnTo>
                      <a:pt x="601" y="1358"/>
                    </a:lnTo>
                    <a:lnTo>
                      <a:pt x="606" y="1358"/>
                    </a:lnTo>
                    <a:lnTo>
                      <a:pt x="612" y="1358"/>
                    </a:lnTo>
                    <a:lnTo>
                      <a:pt x="630" y="1369"/>
                    </a:lnTo>
                    <a:lnTo>
                      <a:pt x="639" y="1374"/>
                    </a:lnTo>
                    <a:lnTo>
                      <a:pt x="652" y="1374"/>
                    </a:lnTo>
                    <a:lnTo>
                      <a:pt x="656" y="1374"/>
                    </a:lnTo>
                    <a:lnTo>
                      <a:pt x="667" y="1376"/>
                    </a:lnTo>
                    <a:lnTo>
                      <a:pt x="696" y="1387"/>
                    </a:lnTo>
                    <a:lnTo>
                      <a:pt x="704" y="1391"/>
                    </a:lnTo>
                    <a:lnTo>
                      <a:pt x="707" y="1393"/>
                    </a:lnTo>
                    <a:lnTo>
                      <a:pt x="709" y="1396"/>
                    </a:lnTo>
                    <a:lnTo>
                      <a:pt x="711" y="1398"/>
                    </a:lnTo>
                    <a:lnTo>
                      <a:pt x="711" y="1398"/>
                    </a:lnTo>
                    <a:lnTo>
                      <a:pt x="711" y="1398"/>
                    </a:lnTo>
                    <a:lnTo>
                      <a:pt x="713" y="1396"/>
                    </a:lnTo>
                    <a:lnTo>
                      <a:pt x="718" y="1391"/>
                    </a:lnTo>
                    <a:lnTo>
                      <a:pt x="718" y="1387"/>
                    </a:lnTo>
                    <a:lnTo>
                      <a:pt x="718" y="1385"/>
                    </a:lnTo>
                    <a:lnTo>
                      <a:pt x="720" y="1382"/>
                    </a:lnTo>
                    <a:lnTo>
                      <a:pt x="718" y="1378"/>
                    </a:lnTo>
                    <a:lnTo>
                      <a:pt x="713" y="1367"/>
                    </a:lnTo>
                    <a:lnTo>
                      <a:pt x="711" y="1365"/>
                    </a:lnTo>
                    <a:lnTo>
                      <a:pt x="715" y="1365"/>
                    </a:lnTo>
                    <a:lnTo>
                      <a:pt x="724" y="1367"/>
                    </a:lnTo>
                    <a:lnTo>
                      <a:pt x="726" y="1367"/>
                    </a:lnTo>
                    <a:lnTo>
                      <a:pt x="731" y="1367"/>
                    </a:lnTo>
                    <a:lnTo>
                      <a:pt x="737" y="1363"/>
                    </a:lnTo>
                    <a:lnTo>
                      <a:pt x="742" y="1360"/>
                    </a:lnTo>
                    <a:lnTo>
                      <a:pt x="746" y="1360"/>
                    </a:lnTo>
                    <a:lnTo>
                      <a:pt x="753" y="1360"/>
                    </a:lnTo>
                    <a:lnTo>
                      <a:pt x="757" y="1360"/>
                    </a:lnTo>
                    <a:lnTo>
                      <a:pt x="759" y="1358"/>
                    </a:lnTo>
                    <a:lnTo>
                      <a:pt x="762" y="1354"/>
                    </a:lnTo>
                    <a:lnTo>
                      <a:pt x="762" y="1352"/>
                    </a:lnTo>
                    <a:lnTo>
                      <a:pt x="759" y="1347"/>
                    </a:lnTo>
                    <a:lnTo>
                      <a:pt x="759" y="1341"/>
                    </a:lnTo>
                    <a:lnTo>
                      <a:pt x="746" y="1321"/>
                    </a:lnTo>
                    <a:lnTo>
                      <a:pt x="744" y="1319"/>
                    </a:lnTo>
                    <a:lnTo>
                      <a:pt x="744" y="1317"/>
                    </a:lnTo>
                    <a:lnTo>
                      <a:pt x="744" y="1312"/>
                    </a:lnTo>
                    <a:lnTo>
                      <a:pt x="748" y="1308"/>
                    </a:lnTo>
                    <a:lnTo>
                      <a:pt x="753" y="1290"/>
                    </a:lnTo>
                    <a:lnTo>
                      <a:pt x="753" y="1279"/>
                    </a:lnTo>
                    <a:lnTo>
                      <a:pt x="753" y="1277"/>
                    </a:lnTo>
                    <a:lnTo>
                      <a:pt x="755" y="1275"/>
                    </a:lnTo>
                    <a:lnTo>
                      <a:pt x="764" y="1270"/>
                    </a:lnTo>
                    <a:lnTo>
                      <a:pt x="766" y="1268"/>
                    </a:lnTo>
                    <a:lnTo>
                      <a:pt x="768" y="1262"/>
                    </a:lnTo>
                    <a:lnTo>
                      <a:pt x="770" y="1259"/>
                    </a:lnTo>
                    <a:lnTo>
                      <a:pt x="775" y="1257"/>
                    </a:lnTo>
                    <a:lnTo>
                      <a:pt x="783" y="1251"/>
                    </a:lnTo>
                    <a:lnTo>
                      <a:pt x="799" y="1242"/>
                    </a:lnTo>
                    <a:lnTo>
                      <a:pt x="812" y="1231"/>
                    </a:lnTo>
                    <a:lnTo>
                      <a:pt x="819" y="1227"/>
                    </a:lnTo>
                    <a:lnTo>
                      <a:pt x="825" y="1220"/>
                    </a:lnTo>
                    <a:lnTo>
                      <a:pt x="830" y="1218"/>
                    </a:lnTo>
                    <a:lnTo>
                      <a:pt x="843" y="1218"/>
                    </a:lnTo>
                    <a:lnTo>
                      <a:pt x="852" y="1216"/>
                    </a:lnTo>
                    <a:lnTo>
                      <a:pt x="858" y="1213"/>
                    </a:lnTo>
                    <a:lnTo>
                      <a:pt x="863" y="1207"/>
                    </a:lnTo>
                    <a:lnTo>
                      <a:pt x="867" y="1200"/>
                    </a:lnTo>
                    <a:lnTo>
                      <a:pt x="871" y="1191"/>
                    </a:lnTo>
                    <a:lnTo>
                      <a:pt x="871" y="1187"/>
                    </a:lnTo>
                    <a:lnTo>
                      <a:pt x="871" y="1185"/>
                    </a:lnTo>
                    <a:lnTo>
                      <a:pt x="869" y="1180"/>
                    </a:lnTo>
                    <a:lnTo>
                      <a:pt x="867" y="1172"/>
                    </a:lnTo>
                    <a:lnTo>
                      <a:pt x="865" y="1167"/>
                    </a:lnTo>
                    <a:lnTo>
                      <a:pt x="863" y="1152"/>
                    </a:lnTo>
                    <a:lnTo>
                      <a:pt x="863" y="1148"/>
                    </a:lnTo>
                    <a:lnTo>
                      <a:pt x="854" y="1139"/>
                    </a:lnTo>
                    <a:lnTo>
                      <a:pt x="852" y="1134"/>
                    </a:lnTo>
                    <a:lnTo>
                      <a:pt x="852" y="1126"/>
                    </a:lnTo>
                    <a:lnTo>
                      <a:pt x="854" y="1119"/>
                    </a:lnTo>
                    <a:lnTo>
                      <a:pt x="858" y="1112"/>
                    </a:lnTo>
                    <a:lnTo>
                      <a:pt x="869" y="1088"/>
                    </a:lnTo>
                    <a:lnTo>
                      <a:pt x="876" y="1082"/>
                    </a:lnTo>
                    <a:lnTo>
                      <a:pt x="895" y="1055"/>
                    </a:lnTo>
                    <a:lnTo>
                      <a:pt x="898" y="1051"/>
                    </a:lnTo>
                    <a:lnTo>
                      <a:pt x="900" y="1047"/>
                    </a:lnTo>
                    <a:lnTo>
                      <a:pt x="902" y="1029"/>
                    </a:lnTo>
                    <a:lnTo>
                      <a:pt x="902" y="1022"/>
                    </a:lnTo>
                    <a:lnTo>
                      <a:pt x="900" y="1018"/>
                    </a:lnTo>
                    <a:lnTo>
                      <a:pt x="900" y="1011"/>
                    </a:lnTo>
                    <a:lnTo>
                      <a:pt x="902" y="1005"/>
                    </a:lnTo>
                    <a:lnTo>
                      <a:pt x="906" y="994"/>
                    </a:lnTo>
                    <a:lnTo>
                      <a:pt x="909" y="990"/>
                    </a:lnTo>
                    <a:lnTo>
                      <a:pt x="909" y="983"/>
                    </a:lnTo>
                    <a:lnTo>
                      <a:pt x="911" y="981"/>
                    </a:lnTo>
                    <a:lnTo>
                      <a:pt x="913" y="976"/>
                    </a:lnTo>
                    <a:lnTo>
                      <a:pt x="913" y="974"/>
                    </a:lnTo>
                    <a:lnTo>
                      <a:pt x="915" y="972"/>
                    </a:lnTo>
                    <a:lnTo>
                      <a:pt x="913" y="961"/>
                    </a:lnTo>
                    <a:lnTo>
                      <a:pt x="913" y="957"/>
                    </a:lnTo>
                    <a:lnTo>
                      <a:pt x="911" y="954"/>
                    </a:lnTo>
                    <a:lnTo>
                      <a:pt x="909" y="952"/>
                    </a:lnTo>
                    <a:lnTo>
                      <a:pt x="911" y="948"/>
                    </a:lnTo>
                    <a:lnTo>
                      <a:pt x="915" y="948"/>
                    </a:lnTo>
                    <a:lnTo>
                      <a:pt x="917" y="948"/>
                    </a:lnTo>
                    <a:lnTo>
                      <a:pt x="917" y="948"/>
                    </a:lnTo>
                    <a:lnTo>
                      <a:pt x="922" y="946"/>
                    </a:lnTo>
                    <a:lnTo>
                      <a:pt x="922" y="946"/>
                    </a:lnTo>
                    <a:lnTo>
                      <a:pt x="922" y="941"/>
                    </a:lnTo>
                    <a:lnTo>
                      <a:pt x="922" y="941"/>
                    </a:lnTo>
                    <a:lnTo>
                      <a:pt x="924" y="941"/>
                    </a:lnTo>
                    <a:lnTo>
                      <a:pt x="926" y="941"/>
                    </a:lnTo>
                    <a:lnTo>
                      <a:pt x="926" y="941"/>
                    </a:lnTo>
                    <a:lnTo>
                      <a:pt x="933" y="941"/>
                    </a:lnTo>
                    <a:lnTo>
                      <a:pt x="937" y="939"/>
                    </a:lnTo>
                    <a:lnTo>
                      <a:pt x="939" y="937"/>
                    </a:lnTo>
                    <a:lnTo>
                      <a:pt x="942" y="935"/>
                    </a:lnTo>
                    <a:lnTo>
                      <a:pt x="946" y="935"/>
                    </a:lnTo>
                    <a:lnTo>
                      <a:pt x="948" y="937"/>
                    </a:lnTo>
                    <a:lnTo>
                      <a:pt x="959" y="937"/>
                    </a:lnTo>
                    <a:lnTo>
                      <a:pt x="961" y="935"/>
                    </a:lnTo>
                    <a:lnTo>
                      <a:pt x="964" y="935"/>
                    </a:lnTo>
                    <a:lnTo>
                      <a:pt x="964" y="932"/>
                    </a:lnTo>
                    <a:lnTo>
                      <a:pt x="964" y="930"/>
                    </a:lnTo>
                    <a:lnTo>
                      <a:pt x="964" y="928"/>
                    </a:lnTo>
                    <a:lnTo>
                      <a:pt x="966" y="926"/>
                    </a:lnTo>
                    <a:lnTo>
                      <a:pt x="972" y="924"/>
                    </a:lnTo>
                    <a:lnTo>
                      <a:pt x="977" y="919"/>
                    </a:lnTo>
                    <a:lnTo>
                      <a:pt x="979" y="917"/>
                    </a:lnTo>
                    <a:lnTo>
                      <a:pt x="983" y="915"/>
                    </a:lnTo>
                    <a:lnTo>
                      <a:pt x="985" y="915"/>
                    </a:lnTo>
                    <a:lnTo>
                      <a:pt x="988" y="915"/>
                    </a:lnTo>
                    <a:lnTo>
                      <a:pt x="990" y="913"/>
                    </a:lnTo>
                    <a:lnTo>
                      <a:pt x="990" y="911"/>
                    </a:lnTo>
                    <a:lnTo>
                      <a:pt x="992" y="911"/>
                    </a:lnTo>
                    <a:lnTo>
                      <a:pt x="992" y="908"/>
                    </a:lnTo>
                    <a:lnTo>
                      <a:pt x="992" y="908"/>
                    </a:lnTo>
                    <a:lnTo>
                      <a:pt x="992" y="906"/>
                    </a:lnTo>
                    <a:lnTo>
                      <a:pt x="992" y="906"/>
                    </a:lnTo>
                    <a:lnTo>
                      <a:pt x="992" y="906"/>
                    </a:lnTo>
                    <a:lnTo>
                      <a:pt x="996" y="906"/>
                    </a:lnTo>
                    <a:lnTo>
                      <a:pt x="996" y="906"/>
                    </a:lnTo>
                    <a:lnTo>
                      <a:pt x="1001" y="904"/>
                    </a:lnTo>
                    <a:lnTo>
                      <a:pt x="1003" y="902"/>
                    </a:lnTo>
                    <a:lnTo>
                      <a:pt x="1005" y="897"/>
                    </a:lnTo>
                    <a:lnTo>
                      <a:pt x="1007" y="889"/>
                    </a:lnTo>
                    <a:lnTo>
                      <a:pt x="1010" y="886"/>
                    </a:lnTo>
                    <a:lnTo>
                      <a:pt x="1016" y="884"/>
                    </a:lnTo>
                    <a:lnTo>
                      <a:pt x="1018" y="882"/>
                    </a:lnTo>
                    <a:lnTo>
                      <a:pt x="1018" y="882"/>
                    </a:lnTo>
                    <a:lnTo>
                      <a:pt x="1018" y="880"/>
                    </a:lnTo>
                    <a:lnTo>
                      <a:pt x="1021" y="880"/>
                    </a:lnTo>
                    <a:lnTo>
                      <a:pt x="1027" y="880"/>
                    </a:lnTo>
                    <a:lnTo>
                      <a:pt x="1032" y="880"/>
                    </a:lnTo>
                    <a:lnTo>
                      <a:pt x="1034" y="880"/>
                    </a:lnTo>
                    <a:lnTo>
                      <a:pt x="1038" y="878"/>
                    </a:lnTo>
                    <a:lnTo>
                      <a:pt x="1047" y="871"/>
                    </a:lnTo>
                    <a:lnTo>
                      <a:pt x="1058" y="864"/>
                    </a:lnTo>
                    <a:lnTo>
                      <a:pt x="1060" y="862"/>
                    </a:lnTo>
                    <a:lnTo>
                      <a:pt x="1062" y="858"/>
                    </a:lnTo>
                    <a:lnTo>
                      <a:pt x="1067" y="851"/>
                    </a:lnTo>
                    <a:lnTo>
                      <a:pt x="1067" y="851"/>
                    </a:lnTo>
                    <a:lnTo>
                      <a:pt x="1069" y="851"/>
                    </a:lnTo>
                    <a:lnTo>
                      <a:pt x="1071" y="851"/>
                    </a:lnTo>
                    <a:lnTo>
                      <a:pt x="1073" y="851"/>
                    </a:lnTo>
                    <a:lnTo>
                      <a:pt x="1073" y="851"/>
                    </a:lnTo>
                    <a:lnTo>
                      <a:pt x="1075" y="851"/>
                    </a:lnTo>
                    <a:lnTo>
                      <a:pt x="1080" y="847"/>
                    </a:lnTo>
                    <a:lnTo>
                      <a:pt x="1084" y="847"/>
                    </a:lnTo>
                    <a:lnTo>
                      <a:pt x="1093" y="838"/>
                    </a:lnTo>
                    <a:lnTo>
                      <a:pt x="1097" y="834"/>
                    </a:lnTo>
                    <a:lnTo>
                      <a:pt x="1102" y="834"/>
                    </a:lnTo>
                    <a:lnTo>
                      <a:pt x="1117" y="832"/>
                    </a:lnTo>
                    <a:lnTo>
                      <a:pt x="1117" y="832"/>
                    </a:lnTo>
                    <a:lnTo>
                      <a:pt x="1119" y="829"/>
                    </a:lnTo>
                    <a:lnTo>
                      <a:pt x="1119" y="829"/>
                    </a:lnTo>
                    <a:lnTo>
                      <a:pt x="1119" y="827"/>
                    </a:lnTo>
                    <a:lnTo>
                      <a:pt x="1122" y="827"/>
                    </a:lnTo>
                    <a:lnTo>
                      <a:pt x="1122" y="827"/>
                    </a:lnTo>
                    <a:lnTo>
                      <a:pt x="1126" y="829"/>
                    </a:lnTo>
                    <a:lnTo>
                      <a:pt x="1128" y="829"/>
                    </a:lnTo>
                    <a:lnTo>
                      <a:pt x="1133" y="829"/>
                    </a:lnTo>
                    <a:lnTo>
                      <a:pt x="1135" y="827"/>
                    </a:lnTo>
                    <a:lnTo>
                      <a:pt x="1137" y="827"/>
                    </a:lnTo>
                    <a:lnTo>
                      <a:pt x="1139" y="829"/>
                    </a:lnTo>
                    <a:lnTo>
                      <a:pt x="1141" y="832"/>
                    </a:lnTo>
                    <a:lnTo>
                      <a:pt x="1144" y="832"/>
                    </a:lnTo>
                    <a:lnTo>
                      <a:pt x="1144" y="832"/>
                    </a:lnTo>
                    <a:lnTo>
                      <a:pt x="1148" y="832"/>
                    </a:lnTo>
                    <a:lnTo>
                      <a:pt x="1150" y="827"/>
                    </a:lnTo>
                    <a:lnTo>
                      <a:pt x="1152" y="827"/>
                    </a:lnTo>
                    <a:lnTo>
                      <a:pt x="1152" y="832"/>
                    </a:lnTo>
                    <a:lnTo>
                      <a:pt x="1161" y="827"/>
                    </a:lnTo>
                    <a:lnTo>
                      <a:pt x="1163" y="827"/>
                    </a:lnTo>
                    <a:lnTo>
                      <a:pt x="1168" y="827"/>
                    </a:lnTo>
                    <a:lnTo>
                      <a:pt x="1170" y="827"/>
                    </a:lnTo>
                    <a:lnTo>
                      <a:pt x="1170" y="827"/>
                    </a:lnTo>
                    <a:lnTo>
                      <a:pt x="1172" y="823"/>
                    </a:lnTo>
                    <a:lnTo>
                      <a:pt x="1172" y="821"/>
                    </a:lnTo>
                    <a:lnTo>
                      <a:pt x="1174" y="821"/>
                    </a:lnTo>
                    <a:lnTo>
                      <a:pt x="1179" y="821"/>
                    </a:lnTo>
                    <a:lnTo>
                      <a:pt x="1183" y="821"/>
                    </a:lnTo>
                    <a:lnTo>
                      <a:pt x="1192" y="818"/>
                    </a:lnTo>
                    <a:lnTo>
                      <a:pt x="1194" y="818"/>
                    </a:lnTo>
                    <a:lnTo>
                      <a:pt x="1196" y="821"/>
                    </a:lnTo>
                    <a:lnTo>
                      <a:pt x="1198" y="823"/>
                    </a:lnTo>
                    <a:lnTo>
                      <a:pt x="1198" y="823"/>
                    </a:lnTo>
                    <a:lnTo>
                      <a:pt x="1201" y="823"/>
                    </a:lnTo>
                    <a:lnTo>
                      <a:pt x="1203" y="821"/>
                    </a:lnTo>
                    <a:lnTo>
                      <a:pt x="1205" y="818"/>
                    </a:lnTo>
                    <a:lnTo>
                      <a:pt x="1205" y="818"/>
                    </a:lnTo>
                    <a:lnTo>
                      <a:pt x="1207" y="818"/>
                    </a:lnTo>
                    <a:lnTo>
                      <a:pt x="1207" y="821"/>
                    </a:lnTo>
                    <a:lnTo>
                      <a:pt x="1207" y="821"/>
                    </a:lnTo>
                    <a:lnTo>
                      <a:pt x="1209" y="816"/>
                    </a:lnTo>
                    <a:lnTo>
                      <a:pt x="1209" y="816"/>
                    </a:lnTo>
                    <a:lnTo>
                      <a:pt x="1209" y="814"/>
                    </a:lnTo>
                    <a:lnTo>
                      <a:pt x="1209" y="812"/>
                    </a:lnTo>
                    <a:lnTo>
                      <a:pt x="1214" y="810"/>
                    </a:lnTo>
                    <a:lnTo>
                      <a:pt x="1218" y="807"/>
                    </a:lnTo>
                    <a:lnTo>
                      <a:pt x="1223" y="807"/>
                    </a:lnTo>
                    <a:lnTo>
                      <a:pt x="1227" y="814"/>
                    </a:lnTo>
                    <a:lnTo>
                      <a:pt x="1229" y="812"/>
                    </a:lnTo>
                    <a:lnTo>
                      <a:pt x="1231" y="807"/>
                    </a:lnTo>
                    <a:lnTo>
                      <a:pt x="1236" y="805"/>
                    </a:lnTo>
                    <a:lnTo>
                      <a:pt x="1236" y="807"/>
                    </a:lnTo>
                    <a:lnTo>
                      <a:pt x="1238" y="810"/>
                    </a:lnTo>
                    <a:lnTo>
                      <a:pt x="1240" y="812"/>
                    </a:lnTo>
                    <a:lnTo>
                      <a:pt x="1242" y="812"/>
                    </a:lnTo>
                    <a:lnTo>
                      <a:pt x="1245" y="812"/>
                    </a:lnTo>
                    <a:lnTo>
                      <a:pt x="1247" y="807"/>
                    </a:lnTo>
                    <a:lnTo>
                      <a:pt x="1251" y="805"/>
                    </a:lnTo>
                    <a:lnTo>
                      <a:pt x="1262" y="810"/>
                    </a:lnTo>
                    <a:lnTo>
                      <a:pt x="1264" y="807"/>
                    </a:lnTo>
                    <a:lnTo>
                      <a:pt x="1267" y="803"/>
                    </a:lnTo>
                    <a:lnTo>
                      <a:pt x="1269" y="805"/>
                    </a:lnTo>
                    <a:lnTo>
                      <a:pt x="1273" y="810"/>
                    </a:lnTo>
                    <a:lnTo>
                      <a:pt x="1275" y="805"/>
                    </a:lnTo>
                    <a:lnTo>
                      <a:pt x="1277" y="801"/>
                    </a:lnTo>
                    <a:lnTo>
                      <a:pt x="1280" y="799"/>
                    </a:lnTo>
                    <a:lnTo>
                      <a:pt x="1286" y="794"/>
                    </a:lnTo>
                    <a:lnTo>
                      <a:pt x="1288" y="790"/>
                    </a:lnTo>
                    <a:lnTo>
                      <a:pt x="1288" y="788"/>
                    </a:lnTo>
                    <a:lnTo>
                      <a:pt x="1291" y="783"/>
                    </a:lnTo>
                    <a:lnTo>
                      <a:pt x="1293" y="783"/>
                    </a:lnTo>
                    <a:lnTo>
                      <a:pt x="1295" y="781"/>
                    </a:lnTo>
                    <a:lnTo>
                      <a:pt x="1297" y="781"/>
                    </a:lnTo>
                    <a:lnTo>
                      <a:pt x="1295" y="777"/>
                    </a:lnTo>
                    <a:lnTo>
                      <a:pt x="1295" y="772"/>
                    </a:lnTo>
                    <a:lnTo>
                      <a:pt x="1297" y="770"/>
                    </a:lnTo>
                    <a:lnTo>
                      <a:pt x="1306" y="766"/>
                    </a:lnTo>
                    <a:lnTo>
                      <a:pt x="1308" y="766"/>
                    </a:lnTo>
                    <a:lnTo>
                      <a:pt x="1319" y="770"/>
                    </a:lnTo>
                    <a:lnTo>
                      <a:pt x="1324" y="770"/>
                    </a:lnTo>
                    <a:lnTo>
                      <a:pt x="1326" y="768"/>
                    </a:lnTo>
                    <a:lnTo>
                      <a:pt x="1328" y="764"/>
                    </a:lnTo>
                    <a:lnTo>
                      <a:pt x="1330" y="761"/>
                    </a:lnTo>
                    <a:lnTo>
                      <a:pt x="1332" y="759"/>
                    </a:lnTo>
                    <a:lnTo>
                      <a:pt x="1335" y="759"/>
                    </a:lnTo>
                    <a:lnTo>
                      <a:pt x="1335" y="764"/>
                    </a:lnTo>
                    <a:lnTo>
                      <a:pt x="1335" y="766"/>
                    </a:lnTo>
                    <a:lnTo>
                      <a:pt x="1335" y="768"/>
                    </a:lnTo>
                    <a:lnTo>
                      <a:pt x="1343" y="774"/>
                    </a:lnTo>
                    <a:lnTo>
                      <a:pt x="1346" y="772"/>
                    </a:lnTo>
                    <a:lnTo>
                      <a:pt x="1346" y="768"/>
                    </a:lnTo>
                    <a:lnTo>
                      <a:pt x="1348" y="766"/>
                    </a:lnTo>
                    <a:lnTo>
                      <a:pt x="1350" y="764"/>
                    </a:lnTo>
                    <a:lnTo>
                      <a:pt x="1354" y="766"/>
                    </a:lnTo>
                    <a:lnTo>
                      <a:pt x="1354" y="768"/>
                    </a:lnTo>
                    <a:lnTo>
                      <a:pt x="1354" y="770"/>
                    </a:lnTo>
                    <a:lnTo>
                      <a:pt x="1357" y="772"/>
                    </a:lnTo>
                    <a:lnTo>
                      <a:pt x="1359" y="770"/>
                    </a:lnTo>
                    <a:lnTo>
                      <a:pt x="1368" y="764"/>
                    </a:lnTo>
                    <a:lnTo>
                      <a:pt x="1370" y="764"/>
                    </a:lnTo>
                    <a:lnTo>
                      <a:pt x="1372" y="764"/>
                    </a:lnTo>
                    <a:lnTo>
                      <a:pt x="1376" y="764"/>
                    </a:lnTo>
                    <a:lnTo>
                      <a:pt x="1378" y="764"/>
                    </a:lnTo>
                    <a:lnTo>
                      <a:pt x="1383" y="768"/>
                    </a:lnTo>
                    <a:lnTo>
                      <a:pt x="1385" y="768"/>
                    </a:lnTo>
                    <a:lnTo>
                      <a:pt x="1389" y="764"/>
                    </a:lnTo>
                    <a:lnTo>
                      <a:pt x="1392" y="764"/>
                    </a:lnTo>
                    <a:lnTo>
                      <a:pt x="1394" y="766"/>
                    </a:lnTo>
                    <a:lnTo>
                      <a:pt x="1394" y="770"/>
                    </a:lnTo>
                    <a:lnTo>
                      <a:pt x="1396" y="772"/>
                    </a:lnTo>
                    <a:lnTo>
                      <a:pt x="1394" y="781"/>
                    </a:lnTo>
                    <a:lnTo>
                      <a:pt x="1394" y="783"/>
                    </a:lnTo>
                    <a:lnTo>
                      <a:pt x="1396" y="785"/>
                    </a:lnTo>
                    <a:lnTo>
                      <a:pt x="1405" y="794"/>
                    </a:lnTo>
                    <a:lnTo>
                      <a:pt x="1407" y="794"/>
                    </a:lnTo>
                    <a:lnTo>
                      <a:pt x="1407" y="794"/>
                    </a:lnTo>
                    <a:lnTo>
                      <a:pt x="1409" y="794"/>
                    </a:lnTo>
                    <a:lnTo>
                      <a:pt x="1411" y="796"/>
                    </a:lnTo>
                    <a:lnTo>
                      <a:pt x="1411" y="799"/>
                    </a:lnTo>
                    <a:lnTo>
                      <a:pt x="1414" y="801"/>
                    </a:lnTo>
                    <a:lnTo>
                      <a:pt x="1418" y="799"/>
                    </a:lnTo>
                    <a:lnTo>
                      <a:pt x="1420" y="792"/>
                    </a:lnTo>
                    <a:lnTo>
                      <a:pt x="1422" y="788"/>
                    </a:lnTo>
                    <a:lnTo>
                      <a:pt x="1427" y="785"/>
                    </a:lnTo>
                    <a:lnTo>
                      <a:pt x="1431" y="785"/>
                    </a:lnTo>
                    <a:lnTo>
                      <a:pt x="1436" y="788"/>
                    </a:lnTo>
                    <a:lnTo>
                      <a:pt x="1436" y="790"/>
                    </a:lnTo>
                    <a:lnTo>
                      <a:pt x="1438" y="794"/>
                    </a:lnTo>
                    <a:lnTo>
                      <a:pt x="1438" y="796"/>
                    </a:lnTo>
                    <a:lnTo>
                      <a:pt x="1440" y="799"/>
                    </a:lnTo>
                    <a:lnTo>
                      <a:pt x="1442" y="801"/>
                    </a:lnTo>
                    <a:lnTo>
                      <a:pt x="1447" y="801"/>
                    </a:lnTo>
                    <a:lnTo>
                      <a:pt x="1449" y="801"/>
                    </a:lnTo>
                    <a:lnTo>
                      <a:pt x="1455" y="796"/>
                    </a:lnTo>
                    <a:lnTo>
                      <a:pt x="1458" y="792"/>
                    </a:lnTo>
                    <a:lnTo>
                      <a:pt x="1460" y="788"/>
                    </a:lnTo>
                    <a:lnTo>
                      <a:pt x="1460" y="781"/>
                    </a:lnTo>
                    <a:lnTo>
                      <a:pt x="1460" y="781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  <p:sp>
            <p:nvSpPr>
              <p:cNvPr id="30" name="Freeform 30"/>
              <p:cNvSpPr>
                <a:spLocks/>
              </p:cNvSpPr>
              <p:nvPr/>
            </p:nvSpPr>
            <p:spPr bwMode="auto">
              <a:xfrm>
                <a:off x="4471988" y="1916113"/>
                <a:ext cx="473075" cy="1198562"/>
              </a:xfrm>
              <a:custGeom>
                <a:avLst/>
                <a:gdLst>
                  <a:gd name="T0" fmla="*/ 281 w 298"/>
                  <a:gd name="T1" fmla="*/ 588 h 755"/>
                  <a:gd name="T2" fmla="*/ 226 w 298"/>
                  <a:gd name="T3" fmla="*/ 566 h 755"/>
                  <a:gd name="T4" fmla="*/ 197 w 298"/>
                  <a:gd name="T5" fmla="*/ 501 h 755"/>
                  <a:gd name="T6" fmla="*/ 197 w 298"/>
                  <a:gd name="T7" fmla="*/ 468 h 755"/>
                  <a:gd name="T8" fmla="*/ 191 w 298"/>
                  <a:gd name="T9" fmla="*/ 376 h 755"/>
                  <a:gd name="T10" fmla="*/ 186 w 298"/>
                  <a:gd name="T11" fmla="*/ 340 h 755"/>
                  <a:gd name="T12" fmla="*/ 204 w 298"/>
                  <a:gd name="T13" fmla="*/ 307 h 755"/>
                  <a:gd name="T14" fmla="*/ 224 w 298"/>
                  <a:gd name="T15" fmla="*/ 268 h 755"/>
                  <a:gd name="T16" fmla="*/ 230 w 298"/>
                  <a:gd name="T17" fmla="*/ 196 h 755"/>
                  <a:gd name="T18" fmla="*/ 222 w 298"/>
                  <a:gd name="T19" fmla="*/ 167 h 755"/>
                  <a:gd name="T20" fmla="*/ 211 w 298"/>
                  <a:gd name="T21" fmla="*/ 138 h 755"/>
                  <a:gd name="T22" fmla="*/ 204 w 298"/>
                  <a:gd name="T23" fmla="*/ 95 h 755"/>
                  <a:gd name="T24" fmla="*/ 186 w 298"/>
                  <a:gd name="T25" fmla="*/ 38 h 755"/>
                  <a:gd name="T26" fmla="*/ 169 w 298"/>
                  <a:gd name="T27" fmla="*/ 5 h 755"/>
                  <a:gd name="T28" fmla="*/ 116 w 298"/>
                  <a:gd name="T29" fmla="*/ 66 h 755"/>
                  <a:gd name="T30" fmla="*/ 114 w 298"/>
                  <a:gd name="T31" fmla="*/ 86 h 755"/>
                  <a:gd name="T32" fmla="*/ 101 w 298"/>
                  <a:gd name="T33" fmla="*/ 99 h 755"/>
                  <a:gd name="T34" fmla="*/ 81 w 298"/>
                  <a:gd name="T35" fmla="*/ 77 h 755"/>
                  <a:gd name="T36" fmla="*/ 77 w 298"/>
                  <a:gd name="T37" fmla="*/ 97 h 755"/>
                  <a:gd name="T38" fmla="*/ 68 w 298"/>
                  <a:gd name="T39" fmla="*/ 125 h 755"/>
                  <a:gd name="T40" fmla="*/ 63 w 298"/>
                  <a:gd name="T41" fmla="*/ 134 h 755"/>
                  <a:gd name="T42" fmla="*/ 57 w 298"/>
                  <a:gd name="T43" fmla="*/ 158 h 755"/>
                  <a:gd name="T44" fmla="*/ 50 w 298"/>
                  <a:gd name="T45" fmla="*/ 182 h 755"/>
                  <a:gd name="T46" fmla="*/ 37 w 298"/>
                  <a:gd name="T47" fmla="*/ 191 h 755"/>
                  <a:gd name="T48" fmla="*/ 17 w 298"/>
                  <a:gd name="T49" fmla="*/ 248 h 755"/>
                  <a:gd name="T50" fmla="*/ 24 w 298"/>
                  <a:gd name="T51" fmla="*/ 277 h 755"/>
                  <a:gd name="T52" fmla="*/ 17 w 298"/>
                  <a:gd name="T53" fmla="*/ 297 h 755"/>
                  <a:gd name="T54" fmla="*/ 31 w 298"/>
                  <a:gd name="T55" fmla="*/ 351 h 755"/>
                  <a:gd name="T56" fmla="*/ 35 w 298"/>
                  <a:gd name="T57" fmla="*/ 378 h 755"/>
                  <a:gd name="T58" fmla="*/ 22 w 298"/>
                  <a:gd name="T59" fmla="*/ 406 h 755"/>
                  <a:gd name="T60" fmla="*/ 28 w 298"/>
                  <a:gd name="T61" fmla="*/ 463 h 755"/>
                  <a:gd name="T62" fmla="*/ 28 w 298"/>
                  <a:gd name="T63" fmla="*/ 476 h 755"/>
                  <a:gd name="T64" fmla="*/ 9 w 298"/>
                  <a:gd name="T65" fmla="*/ 503 h 755"/>
                  <a:gd name="T66" fmla="*/ 4 w 298"/>
                  <a:gd name="T67" fmla="*/ 509 h 755"/>
                  <a:gd name="T68" fmla="*/ 9 w 298"/>
                  <a:gd name="T69" fmla="*/ 514 h 755"/>
                  <a:gd name="T70" fmla="*/ 2 w 298"/>
                  <a:gd name="T71" fmla="*/ 520 h 755"/>
                  <a:gd name="T72" fmla="*/ 2 w 298"/>
                  <a:gd name="T73" fmla="*/ 536 h 755"/>
                  <a:gd name="T74" fmla="*/ 13 w 298"/>
                  <a:gd name="T75" fmla="*/ 555 h 755"/>
                  <a:gd name="T76" fmla="*/ 28 w 298"/>
                  <a:gd name="T77" fmla="*/ 575 h 755"/>
                  <a:gd name="T78" fmla="*/ 39 w 298"/>
                  <a:gd name="T79" fmla="*/ 580 h 755"/>
                  <a:gd name="T80" fmla="*/ 63 w 298"/>
                  <a:gd name="T81" fmla="*/ 604 h 755"/>
                  <a:gd name="T82" fmla="*/ 107 w 298"/>
                  <a:gd name="T83" fmla="*/ 648 h 755"/>
                  <a:gd name="T84" fmla="*/ 121 w 298"/>
                  <a:gd name="T85" fmla="*/ 665 h 755"/>
                  <a:gd name="T86" fmla="*/ 140 w 298"/>
                  <a:gd name="T87" fmla="*/ 720 h 755"/>
                  <a:gd name="T88" fmla="*/ 140 w 298"/>
                  <a:gd name="T89" fmla="*/ 729 h 755"/>
                  <a:gd name="T90" fmla="*/ 143 w 298"/>
                  <a:gd name="T91" fmla="*/ 751 h 755"/>
                  <a:gd name="T92" fmla="*/ 167 w 298"/>
                  <a:gd name="T93" fmla="*/ 749 h 755"/>
                  <a:gd name="T94" fmla="*/ 186 w 298"/>
                  <a:gd name="T95" fmla="*/ 746 h 755"/>
                  <a:gd name="T96" fmla="*/ 193 w 298"/>
                  <a:gd name="T97" fmla="*/ 696 h 755"/>
                  <a:gd name="T98" fmla="*/ 204 w 298"/>
                  <a:gd name="T99" fmla="*/ 672 h 755"/>
                  <a:gd name="T100" fmla="*/ 235 w 298"/>
                  <a:gd name="T101" fmla="*/ 678 h 755"/>
                  <a:gd name="T102" fmla="*/ 265 w 298"/>
                  <a:gd name="T103" fmla="*/ 672 h 755"/>
                  <a:gd name="T104" fmla="*/ 279 w 298"/>
                  <a:gd name="T105" fmla="*/ 648 h 7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98" h="755">
                    <a:moveTo>
                      <a:pt x="298" y="621"/>
                    </a:moveTo>
                    <a:lnTo>
                      <a:pt x="294" y="608"/>
                    </a:lnTo>
                    <a:lnTo>
                      <a:pt x="292" y="604"/>
                    </a:lnTo>
                    <a:lnTo>
                      <a:pt x="290" y="599"/>
                    </a:lnTo>
                    <a:lnTo>
                      <a:pt x="285" y="593"/>
                    </a:lnTo>
                    <a:lnTo>
                      <a:pt x="281" y="588"/>
                    </a:lnTo>
                    <a:lnTo>
                      <a:pt x="279" y="584"/>
                    </a:lnTo>
                    <a:lnTo>
                      <a:pt x="272" y="582"/>
                    </a:lnTo>
                    <a:lnTo>
                      <a:pt x="263" y="577"/>
                    </a:lnTo>
                    <a:lnTo>
                      <a:pt x="239" y="571"/>
                    </a:lnTo>
                    <a:lnTo>
                      <a:pt x="230" y="569"/>
                    </a:lnTo>
                    <a:lnTo>
                      <a:pt x="226" y="566"/>
                    </a:lnTo>
                    <a:lnTo>
                      <a:pt x="224" y="564"/>
                    </a:lnTo>
                    <a:lnTo>
                      <a:pt x="219" y="558"/>
                    </a:lnTo>
                    <a:lnTo>
                      <a:pt x="215" y="547"/>
                    </a:lnTo>
                    <a:lnTo>
                      <a:pt x="195" y="514"/>
                    </a:lnTo>
                    <a:lnTo>
                      <a:pt x="195" y="505"/>
                    </a:lnTo>
                    <a:lnTo>
                      <a:pt x="197" y="501"/>
                    </a:lnTo>
                    <a:lnTo>
                      <a:pt x="200" y="496"/>
                    </a:lnTo>
                    <a:lnTo>
                      <a:pt x="200" y="492"/>
                    </a:lnTo>
                    <a:lnTo>
                      <a:pt x="200" y="490"/>
                    </a:lnTo>
                    <a:lnTo>
                      <a:pt x="195" y="472"/>
                    </a:lnTo>
                    <a:lnTo>
                      <a:pt x="195" y="470"/>
                    </a:lnTo>
                    <a:lnTo>
                      <a:pt x="197" y="468"/>
                    </a:lnTo>
                    <a:lnTo>
                      <a:pt x="197" y="463"/>
                    </a:lnTo>
                    <a:lnTo>
                      <a:pt x="204" y="457"/>
                    </a:lnTo>
                    <a:lnTo>
                      <a:pt x="211" y="450"/>
                    </a:lnTo>
                    <a:lnTo>
                      <a:pt x="197" y="422"/>
                    </a:lnTo>
                    <a:lnTo>
                      <a:pt x="193" y="402"/>
                    </a:lnTo>
                    <a:lnTo>
                      <a:pt x="191" y="376"/>
                    </a:lnTo>
                    <a:lnTo>
                      <a:pt x="189" y="367"/>
                    </a:lnTo>
                    <a:lnTo>
                      <a:pt x="186" y="362"/>
                    </a:lnTo>
                    <a:lnTo>
                      <a:pt x="186" y="358"/>
                    </a:lnTo>
                    <a:lnTo>
                      <a:pt x="184" y="356"/>
                    </a:lnTo>
                    <a:lnTo>
                      <a:pt x="184" y="349"/>
                    </a:lnTo>
                    <a:lnTo>
                      <a:pt x="186" y="340"/>
                    </a:lnTo>
                    <a:lnTo>
                      <a:pt x="186" y="334"/>
                    </a:lnTo>
                    <a:lnTo>
                      <a:pt x="191" y="323"/>
                    </a:lnTo>
                    <a:lnTo>
                      <a:pt x="195" y="318"/>
                    </a:lnTo>
                    <a:lnTo>
                      <a:pt x="197" y="314"/>
                    </a:lnTo>
                    <a:lnTo>
                      <a:pt x="202" y="310"/>
                    </a:lnTo>
                    <a:lnTo>
                      <a:pt x="204" y="307"/>
                    </a:lnTo>
                    <a:lnTo>
                      <a:pt x="206" y="305"/>
                    </a:lnTo>
                    <a:lnTo>
                      <a:pt x="211" y="297"/>
                    </a:lnTo>
                    <a:lnTo>
                      <a:pt x="215" y="283"/>
                    </a:lnTo>
                    <a:lnTo>
                      <a:pt x="219" y="277"/>
                    </a:lnTo>
                    <a:lnTo>
                      <a:pt x="222" y="272"/>
                    </a:lnTo>
                    <a:lnTo>
                      <a:pt x="224" y="268"/>
                    </a:lnTo>
                    <a:lnTo>
                      <a:pt x="224" y="255"/>
                    </a:lnTo>
                    <a:lnTo>
                      <a:pt x="224" y="242"/>
                    </a:lnTo>
                    <a:lnTo>
                      <a:pt x="226" y="211"/>
                    </a:lnTo>
                    <a:lnTo>
                      <a:pt x="226" y="204"/>
                    </a:lnTo>
                    <a:lnTo>
                      <a:pt x="230" y="198"/>
                    </a:lnTo>
                    <a:lnTo>
                      <a:pt x="230" y="196"/>
                    </a:lnTo>
                    <a:lnTo>
                      <a:pt x="228" y="193"/>
                    </a:lnTo>
                    <a:lnTo>
                      <a:pt x="228" y="191"/>
                    </a:lnTo>
                    <a:lnTo>
                      <a:pt x="226" y="185"/>
                    </a:lnTo>
                    <a:lnTo>
                      <a:pt x="226" y="174"/>
                    </a:lnTo>
                    <a:lnTo>
                      <a:pt x="224" y="171"/>
                    </a:lnTo>
                    <a:lnTo>
                      <a:pt x="222" y="167"/>
                    </a:lnTo>
                    <a:lnTo>
                      <a:pt x="222" y="163"/>
                    </a:lnTo>
                    <a:lnTo>
                      <a:pt x="213" y="152"/>
                    </a:lnTo>
                    <a:lnTo>
                      <a:pt x="213" y="149"/>
                    </a:lnTo>
                    <a:lnTo>
                      <a:pt x="211" y="147"/>
                    </a:lnTo>
                    <a:lnTo>
                      <a:pt x="211" y="143"/>
                    </a:lnTo>
                    <a:lnTo>
                      <a:pt x="211" y="138"/>
                    </a:lnTo>
                    <a:lnTo>
                      <a:pt x="211" y="132"/>
                    </a:lnTo>
                    <a:lnTo>
                      <a:pt x="211" y="128"/>
                    </a:lnTo>
                    <a:lnTo>
                      <a:pt x="211" y="125"/>
                    </a:lnTo>
                    <a:lnTo>
                      <a:pt x="211" y="123"/>
                    </a:lnTo>
                    <a:lnTo>
                      <a:pt x="206" y="112"/>
                    </a:lnTo>
                    <a:lnTo>
                      <a:pt x="204" y="95"/>
                    </a:lnTo>
                    <a:lnTo>
                      <a:pt x="202" y="88"/>
                    </a:lnTo>
                    <a:lnTo>
                      <a:pt x="197" y="75"/>
                    </a:lnTo>
                    <a:lnTo>
                      <a:pt x="189" y="59"/>
                    </a:lnTo>
                    <a:lnTo>
                      <a:pt x="186" y="57"/>
                    </a:lnTo>
                    <a:lnTo>
                      <a:pt x="186" y="53"/>
                    </a:lnTo>
                    <a:lnTo>
                      <a:pt x="186" y="38"/>
                    </a:lnTo>
                    <a:lnTo>
                      <a:pt x="186" y="33"/>
                    </a:lnTo>
                    <a:lnTo>
                      <a:pt x="182" y="20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71" y="2"/>
                    </a:lnTo>
                    <a:lnTo>
                      <a:pt x="169" y="5"/>
                    </a:lnTo>
                    <a:lnTo>
                      <a:pt x="153" y="16"/>
                    </a:lnTo>
                    <a:lnTo>
                      <a:pt x="136" y="40"/>
                    </a:lnTo>
                    <a:lnTo>
                      <a:pt x="127" y="49"/>
                    </a:lnTo>
                    <a:lnTo>
                      <a:pt x="123" y="51"/>
                    </a:lnTo>
                    <a:lnTo>
                      <a:pt x="118" y="62"/>
                    </a:lnTo>
                    <a:lnTo>
                      <a:pt x="116" y="66"/>
                    </a:lnTo>
                    <a:lnTo>
                      <a:pt x="110" y="70"/>
                    </a:lnTo>
                    <a:lnTo>
                      <a:pt x="107" y="73"/>
                    </a:lnTo>
                    <a:lnTo>
                      <a:pt x="107" y="77"/>
                    </a:lnTo>
                    <a:lnTo>
                      <a:pt x="110" y="81"/>
                    </a:lnTo>
                    <a:lnTo>
                      <a:pt x="112" y="84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2" y="95"/>
                    </a:lnTo>
                    <a:lnTo>
                      <a:pt x="110" y="95"/>
                    </a:lnTo>
                    <a:lnTo>
                      <a:pt x="107" y="97"/>
                    </a:lnTo>
                    <a:lnTo>
                      <a:pt x="103" y="99"/>
                    </a:lnTo>
                    <a:lnTo>
                      <a:pt x="101" y="99"/>
                    </a:lnTo>
                    <a:lnTo>
                      <a:pt x="99" y="97"/>
                    </a:lnTo>
                    <a:lnTo>
                      <a:pt x="96" y="84"/>
                    </a:lnTo>
                    <a:lnTo>
                      <a:pt x="96" y="81"/>
                    </a:lnTo>
                    <a:lnTo>
                      <a:pt x="94" y="79"/>
                    </a:lnTo>
                    <a:lnTo>
                      <a:pt x="85" y="77"/>
                    </a:lnTo>
                    <a:lnTo>
                      <a:pt x="81" y="77"/>
                    </a:lnTo>
                    <a:lnTo>
                      <a:pt x="79" y="77"/>
                    </a:lnTo>
                    <a:lnTo>
                      <a:pt x="77" y="81"/>
                    </a:lnTo>
                    <a:lnTo>
                      <a:pt x="77" y="84"/>
                    </a:lnTo>
                    <a:lnTo>
                      <a:pt x="77" y="86"/>
                    </a:lnTo>
                    <a:lnTo>
                      <a:pt x="77" y="88"/>
                    </a:lnTo>
                    <a:lnTo>
                      <a:pt x="77" y="97"/>
                    </a:lnTo>
                    <a:lnTo>
                      <a:pt x="74" y="103"/>
                    </a:lnTo>
                    <a:lnTo>
                      <a:pt x="72" y="106"/>
                    </a:lnTo>
                    <a:lnTo>
                      <a:pt x="70" y="112"/>
                    </a:lnTo>
                    <a:lnTo>
                      <a:pt x="68" y="117"/>
                    </a:lnTo>
                    <a:lnTo>
                      <a:pt x="68" y="119"/>
                    </a:lnTo>
                    <a:lnTo>
                      <a:pt x="68" y="125"/>
                    </a:lnTo>
                    <a:lnTo>
                      <a:pt x="68" y="130"/>
                    </a:lnTo>
                    <a:lnTo>
                      <a:pt x="68" y="132"/>
                    </a:lnTo>
                    <a:lnTo>
                      <a:pt x="68" y="134"/>
                    </a:lnTo>
                    <a:lnTo>
                      <a:pt x="66" y="134"/>
                    </a:lnTo>
                    <a:lnTo>
                      <a:pt x="63" y="134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6" y="149"/>
                    </a:lnTo>
                    <a:lnTo>
                      <a:pt x="66" y="152"/>
                    </a:lnTo>
                    <a:lnTo>
                      <a:pt x="61" y="156"/>
                    </a:lnTo>
                    <a:lnTo>
                      <a:pt x="59" y="158"/>
                    </a:lnTo>
                    <a:lnTo>
                      <a:pt x="57" y="158"/>
                    </a:lnTo>
                    <a:lnTo>
                      <a:pt x="57" y="160"/>
                    </a:lnTo>
                    <a:lnTo>
                      <a:pt x="55" y="163"/>
                    </a:lnTo>
                    <a:lnTo>
                      <a:pt x="52" y="167"/>
                    </a:lnTo>
                    <a:lnTo>
                      <a:pt x="50" y="180"/>
                    </a:lnTo>
                    <a:lnTo>
                      <a:pt x="50" y="182"/>
                    </a:lnTo>
                    <a:lnTo>
                      <a:pt x="50" y="182"/>
                    </a:lnTo>
                    <a:lnTo>
                      <a:pt x="48" y="185"/>
                    </a:lnTo>
                    <a:lnTo>
                      <a:pt x="46" y="185"/>
                    </a:lnTo>
                    <a:lnTo>
                      <a:pt x="44" y="185"/>
                    </a:lnTo>
                    <a:lnTo>
                      <a:pt x="42" y="187"/>
                    </a:lnTo>
                    <a:lnTo>
                      <a:pt x="39" y="187"/>
                    </a:lnTo>
                    <a:lnTo>
                      <a:pt x="37" y="191"/>
                    </a:lnTo>
                    <a:lnTo>
                      <a:pt x="37" y="202"/>
                    </a:lnTo>
                    <a:lnTo>
                      <a:pt x="37" y="211"/>
                    </a:lnTo>
                    <a:lnTo>
                      <a:pt x="24" y="235"/>
                    </a:lnTo>
                    <a:lnTo>
                      <a:pt x="24" y="242"/>
                    </a:lnTo>
                    <a:lnTo>
                      <a:pt x="22" y="246"/>
                    </a:lnTo>
                    <a:lnTo>
                      <a:pt x="17" y="248"/>
                    </a:lnTo>
                    <a:lnTo>
                      <a:pt x="17" y="253"/>
                    </a:lnTo>
                    <a:lnTo>
                      <a:pt x="17" y="259"/>
                    </a:lnTo>
                    <a:lnTo>
                      <a:pt x="17" y="266"/>
                    </a:lnTo>
                    <a:lnTo>
                      <a:pt x="20" y="270"/>
                    </a:lnTo>
                    <a:lnTo>
                      <a:pt x="24" y="272"/>
                    </a:lnTo>
                    <a:lnTo>
                      <a:pt x="24" y="277"/>
                    </a:lnTo>
                    <a:lnTo>
                      <a:pt x="22" y="279"/>
                    </a:lnTo>
                    <a:lnTo>
                      <a:pt x="20" y="283"/>
                    </a:lnTo>
                    <a:lnTo>
                      <a:pt x="17" y="288"/>
                    </a:lnTo>
                    <a:lnTo>
                      <a:pt x="17" y="290"/>
                    </a:lnTo>
                    <a:lnTo>
                      <a:pt x="17" y="294"/>
                    </a:lnTo>
                    <a:lnTo>
                      <a:pt x="17" y="297"/>
                    </a:lnTo>
                    <a:lnTo>
                      <a:pt x="11" y="301"/>
                    </a:lnTo>
                    <a:lnTo>
                      <a:pt x="13" y="307"/>
                    </a:lnTo>
                    <a:lnTo>
                      <a:pt x="22" y="321"/>
                    </a:lnTo>
                    <a:lnTo>
                      <a:pt x="24" y="338"/>
                    </a:lnTo>
                    <a:lnTo>
                      <a:pt x="26" y="345"/>
                    </a:lnTo>
                    <a:lnTo>
                      <a:pt x="31" y="351"/>
                    </a:lnTo>
                    <a:lnTo>
                      <a:pt x="35" y="356"/>
                    </a:lnTo>
                    <a:lnTo>
                      <a:pt x="35" y="358"/>
                    </a:lnTo>
                    <a:lnTo>
                      <a:pt x="35" y="369"/>
                    </a:lnTo>
                    <a:lnTo>
                      <a:pt x="35" y="371"/>
                    </a:lnTo>
                    <a:lnTo>
                      <a:pt x="35" y="373"/>
                    </a:lnTo>
                    <a:lnTo>
                      <a:pt x="35" y="378"/>
                    </a:lnTo>
                    <a:lnTo>
                      <a:pt x="33" y="380"/>
                    </a:lnTo>
                    <a:lnTo>
                      <a:pt x="28" y="382"/>
                    </a:lnTo>
                    <a:lnTo>
                      <a:pt x="28" y="384"/>
                    </a:lnTo>
                    <a:lnTo>
                      <a:pt x="24" y="397"/>
                    </a:lnTo>
                    <a:lnTo>
                      <a:pt x="22" y="402"/>
                    </a:lnTo>
                    <a:lnTo>
                      <a:pt x="22" y="406"/>
                    </a:lnTo>
                    <a:lnTo>
                      <a:pt x="22" y="408"/>
                    </a:lnTo>
                    <a:lnTo>
                      <a:pt x="24" y="413"/>
                    </a:lnTo>
                    <a:lnTo>
                      <a:pt x="26" y="422"/>
                    </a:lnTo>
                    <a:lnTo>
                      <a:pt x="28" y="428"/>
                    </a:lnTo>
                    <a:lnTo>
                      <a:pt x="31" y="448"/>
                    </a:lnTo>
                    <a:lnTo>
                      <a:pt x="28" y="463"/>
                    </a:lnTo>
                    <a:lnTo>
                      <a:pt x="31" y="468"/>
                    </a:lnTo>
                    <a:lnTo>
                      <a:pt x="31" y="468"/>
                    </a:lnTo>
                    <a:lnTo>
                      <a:pt x="31" y="470"/>
                    </a:lnTo>
                    <a:lnTo>
                      <a:pt x="31" y="472"/>
                    </a:lnTo>
                    <a:lnTo>
                      <a:pt x="31" y="474"/>
                    </a:lnTo>
                    <a:lnTo>
                      <a:pt x="28" y="476"/>
                    </a:lnTo>
                    <a:lnTo>
                      <a:pt x="24" y="481"/>
                    </a:lnTo>
                    <a:lnTo>
                      <a:pt x="24" y="481"/>
                    </a:lnTo>
                    <a:lnTo>
                      <a:pt x="24" y="483"/>
                    </a:lnTo>
                    <a:lnTo>
                      <a:pt x="13" y="496"/>
                    </a:lnTo>
                    <a:lnTo>
                      <a:pt x="13" y="496"/>
                    </a:lnTo>
                    <a:lnTo>
                      <a:pt x="9" y="503"/>
                    </a:lnTo>
                    <a:lnTo>
                      <a:pt x="9" y="505"/>
                    </a:lnTo>
                    <a:lnTo>
                      <a:pt x="9" y="505"/>
                    </a:lnTo>
                    <a:lnTo>
                      <a:pt x="4" y="505"/>
                    </a:lnTo>
                    <a:lnTo>
                      <a:pt x="4" y="507"/>
                    </a:lnTo>
                    <a:lnTo>
                      <a:pt x="4" y="507"/>
                    </a:lnTo>
                    <a:lnTo>
                      <a:pt x="4" y="509"/>
                    </a:lnTo>
                    <a:lnTo>
                      <a:pt x="4" y="509"/>
                    </a:lnTo>
                    <a:lnTo>
                      <a:pt x="4" y="509"/>
                    </a:lnTo>
                    <a:lnTo>
                      <a:pt x="6" y="512"/>
                    </a:lnTo>
                    <a:lnTo>
                      <a:pt x="9" y="512"/>
                    </a:lnTo>
                    <a:lnTo>
                      <a:pt x="9" y="512"/>
                    </a:lnTo>
                    <a:lnTo>
                      <a:pt x="9" y="514"/>
                    </a:lnTo>
                    <a:lnTo>
                      <a:pt x="6" y="516"/>
                    </a:lnTo>
                    <a:lnTo>
                      <a:pt x="6" y="518"/>
                    </a:lnTo>
                    <a:lnTo>
                      <a:pt x="4" y="518"/>
                    </a:lnTo>
                    <a:lnTo>
                      <a:pt x="4" y="518"/>
                    </a:lnTo>
                    <a:lnTo>
                      <a:pt x="2" y="518"/>
                    </a:lnTo>
                    <a:lnTo>
                      <a:pt x="2" y="520"/>
                    </a:lnTo>
                    <a:lnTo>
                      <a:pt x="2" y="520"/>
                    </a:lnTo>
                    <a:lnTo>
                      <a:pt x="0" y="523"/>
                    </a:lnTo>
                    <a:lnTo>
                      <a:pt x="0" y="525"/>
                    </a:lnTo>
                    <a:lnTo>
                      <a:pt x="0" y="527"/>
                    </a:lnTo>
                    <a:lnTo>
                      <a:pt x="0" y="534"/>
                    </a:lnTo>
                    <a:lnTo>
                      <a:pt x="2" y="536"/>
                    </a:lnTo>
                    <a:lnTo>
                      <a:pt x="4" y="540"/>
                    </a:lnTo>
                    <a:lnTo>
                      <a:pt x="6" y="542"/>
                    </a:lnTo>
                    <a:lnTo>
                      <a:pt x="6" y="545"/>
                    </a:lnTo>
                    <a:lnTo>
                      <a:pt x="9" y="547"/>
                    </a:lnTo>
                    <a:lnTo>
                      <a:pt x="11" y="553"/>
                    </a:lnTo>
                    <a:lnTo>
                      <a:pt x="13" y="555"/>
                    </a:lnTo>
                    <a:lnTo>
                      <a:pt x="24" y="569"/>
                    </a:lnTo>
                    <a:lnTo>
                      <a:pt x="26" y="571"/>
                    </a:lnTo>
                    <a:lnTo>
                      <a:pt x="26" y="571"/>
                    </a:lnTo>
                    <a:lnTo>
                      <a:pt x="26" y="573"/>
                    </a:lnTo>
                    <a:lnTo>
                      <a:pt x="28" y="575"/>
                    </a:lnTo>
                    <a:lnTo>
                      <a:pt x="28" y="575"/>
                    </a:lnTo>
                    <a:lnTo>
                      <a:pt x="31" y="577"/>
                    </a:lnTo>
                    <a:lnTo>
                      <a:pt x="33" y="577"/>
                    </a:lnTo>
                    <a:lnTo>
                      <a:pt x="35" y="580"/>
                    </a:lnTo>
                    <a:lnTo>
                      <a:pt x="37" y="580"/>
                    </a:lnTo>
                    <a:lnTo>
                      <a:pt x="39" y="580"/>
                    </a:lnTo>
                    <a:lnTo>
                      <a:pt x="39" y="580"/>
                    </a:lnTo>
                    <a:lnTo>
                      <a:pt x="42" y="580"/>
                    </a:lnTo>
                    <a:lnTo>
                      <a:pt x="46" y="584"/>
                    </a:lnTo>
                    <a:lnTo>
                      <a:pt x="55" y="588"/>
                    </a:lnTo>
                    <a:lnTo>
                      <a:pt x="59" y="593"/>
                    </a:lnTo>
                    <a:lnTo>
                      <a:pt x="61" y="595"/>
                    </a:lnTo>
                    <a:lnTo>
                      <a:pt x="63" y="604"/>
                    </a:lnTo>
                    <a:lnTo>
                      <a:pt x="70" y="615"/>
                    </a:lnTo>
                    <a:lnTo>
                      <a:pt x="79" y="630"/>
                    </a:lnTo>
                    <a:lnTo>
                      <a:pt x="83" y="634"/>
                    </a:lnTo>
                    <a:lnTo>
                      <a:pt x="94" y="641"/>
                    </a:lnTo>
                    <a:lnTo>
                      <a:pt x="99" y="645"/>
                    </a:lnTo>
                    <a:lnTo>
                      <a:pt x="107" y="648"/>
                    </a:lnTo>
                    <a:lnTo>
                      <a:pt x="112" y="650"/>
                    </a:lnTo>
                    <a:lnTo>
                      <a:pt x="112" y="652"/>
                    </a:lnTo>
                    <a:lnTo>
                      <a:pt x="114" y="656"/>
                    </a:lnTo>
                    <a:lnTo>
                      <a:pt x="114" y="659"/>
                    </a:lnTo>
                    <a:lnTo>
                      <a:pt x="118" y="663"/>
                    </a:lnTo>
                    <a:lnTo>
                      <a:pt x="121" y="665"/>
                    </a:lnTo>
                    <a:lnTo>
                      <a:pt x="129" y="687"/>
                    </a:lnTo>
                    <a:lnTo>
                      <a:pt x="138" y="703"/>
                    </a:lnTo>
                    <a:lnTo>
                      <a:pt x="140" y="707"/>
                    </a:lnTo>
                    <a:lnTo>
                      <a:pt x="140" y="711"/>
                    </a:lnTo>
                    <a:lnTo>
                      <a:pt x="140" y="720"/>
                    </a:lnTo>
                    <a:lnTo>
                      <a:pt x="140" y="720"/>
                    </a:lnTo>
                    <a:lnTo>
                      <a:pt x="140" y="720"/>
                    </a:lnTo>
                    <a:lnTo>
                      <a:pt x="138" y="722"/>
                    </a:lnTo>
                    <a:lnTo>
                      <a:pt x="138" y="724"/>
                    </a:lnTo>
                    <a:lnTo>
                      <a:pt x="138" y="724"/>
                    </a:lnTo>
                    <a:lnTo>
                      <a:pt x="140" y="727"/>
                    </a:lnTo>
                    <a:lnTo>
                      <a:pt x="140" y="729"/>
                    </a:lnTo>
                    <a:lnTo>
                      <a:pt x="140" y="731"/>
                    </a:lnTo>
                    <a:lnTo>
                      <a:pt x="140" y="735"/>
                    </a:lnTo>
                    <a:lnTo>
                      <a:pt x="140" y="740"/>
                    </a:lnTo>
                    <a:lnTo>
                      <a:pt x="143" y="744"/>
                    </a:lnTo>
                    <a:lnTo>
                      <a:pt x="143" y="751"/>
                    </a:lnTo>
                    <a:lnTo>
                      <a:pt x="143" y="751"/>
                    </a:lnTo>
                    <a:lnTo>
                      <a:pt x="145" y="755"/>
                    </a:lnTo>
                    <a:lnTo>
                      <a:pt x="149" y="753"/>
                    </a:lnTo>
                    <a:lnTo>
                      <a:pt x="156" y="751"/>
                    </a:lnTo>
                    <a:lnTo>
                      <a:pt x="160" y="751"/>
                    </a:lnTo>
                    <a:lnTo>
                      <a:pt x="164" y="749"/>
                    </a:lnTo>
                    <a:lnTo>
                      <a:pt x="167" y="749"/>
                    </a:lnTo>
                    <a:lnTo>
                      <a:pt x="171" y="751"/>
                    </a:lnTo>
                    <a:lnTo>
                      <a:pt x="175" y="751"/>
                    </a:lnTo>
                    <a:lnTo>
                      <a:pt x="180" y="753"/>
                    </a:lnTo>
                    <a:lnTo>
                      <a:pt x="191" y="751"/>
                    </a:lnTo>
                    <a:lnTo>
                      <a:pt x="189" y="749"/>
                    </a:lnTo>
                    <a:lnTo>
                      <a:pt x="186" y="746"/>
                    </a:lnTo>
                    <a:lnTo>
                      <a:pt x="184" y="744"/>
                    </a:lnTo>
                    <a:lnTo>
                      <a:pt x="184" y="742"/>
                    </a:lnTo>
                    <a:lnTo>
                      <a:pt x="184" y="738"/>
                    </a:lnTo>
                    <a:lnTo>
                      <a:pt x="184" y="731"/>
                    </a:lnTo>
                    <a:lnTo>
                      <a:pt x="191" y="716"/>
                    </a:lnTo>
                    <a:lnTo>
                      <a:pt x="193" y="696"/>
                    </a:lnTo>
                    <a:lnTo>
                      <a:pt x="191" y="685"/>
                    </a:lnTo>
                    <a:lnTo>
                      <a:pt x="193" y="681"/>
                    </a:lnTo>
                    <a:lnTo>
                      <a:pt x="195" y="676"/>
                    </a:lnTo>
                    <a:lnTo>
                      <a:pt x="195" y="674"/>
                    </a:lnTo>
                    <a:lnTo>
                      <a:pt x="202" y="672"/>
                    </a:lnTo>
                    <a:lnTo>
                      <a:pt x="204" y="672"/>
                    </a:lnTo>
                    <a:lnTo>
                      <a:pt x="211" y="674"/>
                    </a:lnTo>
                    <a:lnTo>
                      <a:pt x="215" y="678"/>
                    </a:lnTo>
                    <a:lnTo>
                      <a:pt x="217" y="678"/>
                    </a:lnTo>
                    <a:lnTo>
                      <a:pt x="222" y="681"/>
                    </a:lnTo>
                    <a:lnTo>
                      <a:pt x="224" y="681"/>
                    </a:lnTo>
                    <a:lnTo>
                      <a:pt x="235" y="678"/>
                    </a:lnTo>
                    <a:lnTo>
                      <a:pt x="237" y="678"/>
                    </a:lnTo>
                    <a:lnTo>
                      <a:pt x="244" y="681"/>
                    </a:lnTo>
                    <a:lnTo>
                      <a:pt x="246" y="681"/>
                    </a:lnTo>
                    <a:lnTo>
                      <a:pt x="259" y="676"/>
                    </a:lnTo>
                    <a:lnTo>
                      <a:pt x="263" y="674"/>
                    </a:lnTo>
                    <a:lnTo>
                      <a:pt x="265" y="672"/>
                    </a:lnTo>
                    <a:lnTo>
                      <a:pt x="268" y="667"/>
                    </a:lnTo>
                    <a:lnTo>
                      <a:pt x="270" y="663"/>
                    </a:lnTo>
                    <a:lnTo>
                      <a:pt x="270" y="659"/>
                    </a:lnTo>
                    <a:lnTo>
                      <a:pt x="272" y="654"/>
                    </a:lnTo>
                    <a:lnTo>
                      <a:pt x="274" y="652"/>
                    </a:lnTo>
                    <a:lnTo>
                      <a:pt x="279" y="648"/>
                    </a:lnTo>
                    <a:lnTo>
                      <a:pt x="294" y="634"/>
                    </a:lnTo>
                    <a:lnTo>
                      <a:pt x="298" y="628"/>
                    </a:lnTo>
                    <a:lnTo>
                      <a:pt x="298" y="621"/>
                    </a:lnTo>
                    <a:lnTo>
                      <a:pt x="298" y="621"/>
                    </a:lnTo>
                    <a:close/>
                  </a:path>
                </a:pathLst>
              </a:custGeom>
              <a:grpFill/>
              <a:ln w="3175" cap="rnd">
                <a:solidFill>
                  <a:srgbClr val="F9F9F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s-P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s-PE"/>
              </a:p>
            </p:txBody>
          </p:sp>
        </p:grpSp>
        <p:cxnSp>
          <p:nvCxnSpPr>
            <p:cNvPr id="25" name="Conector recto de flecha 24"/>
            <p:cNvCxnSpPr/>
            <p:nvPr/>
          </p:nvCxnSpPr>
          <p:spPr>
            <a:xfrm flipV="1">
              <a:off x="3571328" y="3010450"/>
              <a:ext cx="1457324" cy="51593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8224083"/>
              </p:ext>
            </p:extLst>
          </p:nvPr>
        </p:nvGraphicFramePr>
        <p:xfrm>
          <a:off x="8314380" y="4707238"/>
          <a:ext cx="3415662" cy="158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630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493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69426">
                <a:tc>
                  <a:txBody>
                    <a:bodyPr/>
                    <a:lstStyle/>
                    <a:p>
                      <a:r>
                        <a:rPr lang="es-419" sz="1600" dirty="0" smtClean="0">
                          <a:latin typeface="Corbel" panose="020B0503020204020204" pitchFamily="34" charset="0"/>
                        </a:rPr>
                        <a:t>Sur</a:t>
                      </a:r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 smtClean="0">
                          <a:latin typeface="Corbel" panose="020B0503020204020204" pitchFamily="34" charset="0"/>
                        </a:rPr>
                        <a:t>Corrupción/ coim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2%</a:t>
                      </a:r>
                      <a:endParaRPr lang="es-PE" sz="1600" b="1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Delincuencia/</a:t>
                      </a:r>
                      <a:r>
                        <a:rPr lang="es-ES" sz="1600" baseline="0" dirty="0" smtClean="0">
                          <a:latin typeface="Corbel" panose="020B0503020204020204" pitchFamily="34" charset="0"/>
                        </a:rPr>
                        <a:t> falta de seguridad</a:t>
                      </a:r>
                      <a:endParaRPr lang="es-ES" sz="1600" dirty="0" smtClean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1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Desempleo/ falta de trabajo</a:t>
                      </a:r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53" name="Tabla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025716"/>
              </p:ext>
            </p:extLst>
          </p:nvPr>
        </p:nvGraphicFramePr>
        <p:xfrm>
          <a:off x="8372457" y="1331901"/>
          <a:ext cx="3315960" cy="15849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593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565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69426">
                <a:tc>
                  <a:txBody>
                    <a:bodyPr/>
                    <a:lstStyle/>
                    <a:p>
                      <a:r>
                        <a:rPr lang="es-419" sz="1600" dirty="0" smtClean="0">
                          <a:latin typeface="Corbel" panose="020B0503020204020204" pitchFamily="34" charset="0"/>
                        </a:rPr>
                        <a:t>Oriente</a:t>
                      </a:r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 smtClean="0">
                          <a:latin typeface="Corbel" panose="020B0503020204020204" pitchFamily="34" charset="0"/>
                        </a:rPr>
                        <a:t>Corrupción/ coim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0%</a:t>
                      </a:r>
                      <a:endParaRPr lang="es-PE" sz="1600" b="1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Delincuencia/</a:t>
                      </a:r>
                      <a:r>
                        <a:rPr lang="es-ES" sz="1600" baseline="0" dirty="0" smtClean="0">
                          <a:latin typeface="Corbel" panose="020B0503020204020204" pitchFamily="34" charset="0"/>
                        </a:rPr>
                        <a:t> falta de seguridad</a:t>
                      </a:r>
                      <a:endParaRPr lang="es-ES" sz="1600" dirty="0" smtClean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4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Consumo de drog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8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54" name="Tabla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2288090"/>
              </p:ext>
            </p:extLst>
          </p:nvPr>
        </p:nvGraphicFramePr>
        <p:xfrm>
          <a:off x="930929" y="3162508"/>
          <a:ext cx="3256924" cy="15849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6736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32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69426">
                <a:tc>
                  <a:txBody>
                    <a:bodyPr/>
                    <a:lstStyle/>
                    <a:p>
                      <a:r>
                        <a:rPr lang="es-419" sz="1600" dirty="0" smtClean="0">
                          <a:latin typeface="Corbel" panose="020B0503020204020204" pitchFamily="34" charset="0"/>
                        </a:rPr>
                        <a:t>Costa Centro</a:t>
                      </a:r>
                      <a:r>
                        <a:rPr lang="es-419" sz="1600" baseline="0" dirty="0" smtClean="0">
                          <a:latin typeface="Corbel" panose="020B0503020204020204" pitchFamily="34" charset="0"/>
                        </a:rPr>
                        <a:t> (</a:t>
                      </a:r>
                      <a:r>
                        <a:rPr lang="es-419" sz="1600" dirty="0" smtClean="0">
                          <a:latin typeface="Corbel" panose="020B0503020204020204" pitchFamily="34" charset="0"/>
                        </a:rPr>
                        <a:t>Lima y otros)</a:t>
                      </a:r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Delincuencia/</a:t>
                      </a:r>
                      <a:r>
                        <a:rPr lang="es-ES" sz="1600" baseline="0" dirty="0" smtClean="0">
                          <a:latin typeface="Corbel" panose="020B0503020204020204" pitchFamily="34" charset="0"/>
                        </a:rPr>
                        <a:t> falta de seguridad</a:t>
                      </a:r>
                      <a:endParaRPr lang="es-ES" sz="1600" dirty="0" smtClean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5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 smtClean="0">
                          <a:latin typeface="Corbel" panose="020B0503020204020204" pitchFamily="34" charset="0"/>
                        </a:rPr>
                        <a:t>Corrupción/ coim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6%</a:t>
                      </a:r>
                      <a:endParaRPr lang="es-PE" sz="1600" b="1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Desempleo/ falta de trabajo</a:t>
                      </a:r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7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55" name="Tabla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2584184"/>
              </p:ext>
            </p:extLst>
          </p:nvPr>
        </p:nvGraphicFramePr>
        <p:xfrm>
          <a:off x="1184857" y="5078475"/>
          <a:ext cx="3824466" cy="13411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0608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635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42089">
                <a:tc>
                  <a:txBody>
                    <a:bodyPr/>
                    <a:lstStyle/>
                    <a:p>
                      <a:r>
                        <a:rPr lang="es-419" sz="1600" dirty="0" smtClean="0">
                          <a:latin typeface="Corbel" panose="020B0503020204020204" pitchFamily="34" charset="0"/>
                        </a:rPr>
                        <a:t>Centro</a:t>
                      </a:r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443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Delincuencia/</a:t>
                      </a:r>
                      <a:r>
                        <a:rPr lang="es-ES" sz="1600" baseline="0" dirty="0" smtClean="0">
                          <a:latin typeface="Corbel" panose="020B0503020204020204" pitchFamily="34" charset="0"/>
                        </a:rPr>
                        <a:t> falta de seguridad</a:t>
                      </a:r>
                      <a:endParaRPr lang="es-ES" sz="1600" dirty="0" smtClean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4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0121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 smtClean="0">
                          <a:latin typeface="Corbel" panose="020B0503020204020204" pitchFamily="34" charset="0"/>
                        </a:rPr>
                        <a:t>Corrupción/ coim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1%</a:t>
                      </a:r>
                      <a:endParaRPr lang="es-PE" sz="1600" b="1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2089">
                <a:tc>
                  <a:txBody>
                    <a:bodyPr/>
                    <a:lstStyle/>
                    <a:p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Desempleo/ falta de trabajo</a:t>
                      </a:r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graphicFrame>
        <p:nvGraphicFramePr>
          <p:cNvPr id="56" name="Tabla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0585615"/>
              </p:ext>
            </p:extLst>
          </p:nvPr>
        </p:nvGraphicFramePr>
        <p:xfrm>
          <a:off x="336283" y="1173246"/>
          <a:ext cx="3437228" cy="158496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9468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903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69426">
                <a:tc>
                  <a:txBody>
                    <a:bodyPr/>
                    <a:lstStyle/>
                    <a:p>
                      <a:r>
                        <a:rPr lang="es-419" sz="1600" dirty="0" smtClean="0">
                          <a:latin typeface="Corbel" panose="020B0503020204020204" pitchFamily="34" charset="0"/>
                        </a:rPr>
                        <a:t>Norte</a:t>
                      </a:r>
                      <a:r>
                        <a:rPr lang="es-419" sz="1600" baseline="0" dirty="0" smtClean="0">
                          <a:latin typeface="Corbel" panose="020B0503020204020204" pitchFamily="34" charset="0"/>
                        </a:rPr>
                        <a:t> </a:t>
                      </a:r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Delincuencia/ falta</a:t>
                      </a:r>
                      <a:r>
                        <a:rPr lang="es-ES" sz="1600" baseline="0" dirty="0" smtClean="0">
                          <a:latin typeface="Corbel" panose="020B0503020204020204" pitchFamily="34" charset="0"/>
                        </a:rPr>
                        <a:t> de seguridad</a:t>
                      </a:r>
                      <a:endParaRPr lang="es-ES" sz="1600" dirty="0" smtClean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1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dirty="0" smtClean="0">
                          <a:latin typeface="Corbel" panose="020B0503020204020204" pitchFamily="34" charset="0"/>
                        </a:rPr>
                        <a:t>Corrupción/ coim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3%</a:t>
                      </a:r>
                      <a:endParaRPr lang="es-PE" sz="1600" b="1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9426">
                <a:tc>
                  <a:txBody>
                    <a:bodyPr/>
                    <a:lstStyle/>
                    <a:p>
                      <a:r>
                        <a:rPr lang="es-ES" sz="1600" dirty="0" smtClean="0">
                          <a:latin typeface="Corbel" panose="020B0503020204020204" pitchFamily="34" charset="0"/>
                        </a:rPr>
                        <a:t>Crisis política/ Falta de democracia/ de líderes políticos</a:t>
                      </a:r>
                      <a:endParaRPr lang="es-ES" sz="1600" dirty="0">
                        <a:latin typeface="Corbel" panose="020B05030202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4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cxnSp>
        <p:nvCxnSpPr>
          <p:cNvPr id="5" name="Conector recto de flecha 4"/>
          <p:cNvCxnSpPr/>
          <p:nvPr/>
        </p:nvCxnSpPr>
        <p:spPr>
          <a:xfrm flipH="1" flipV="1">
            <a:off x="3876615" y="2409908"/>
            <a:ext cx="419276" cy="18009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cto de flecha 57"/>
          <p:cNvCxnSpPr/>
          <p:nvPr/>
        </p:nvCxnSpPr>
        <p:spPr>
          <a:xfrm flipH="1" flipV="1">
            <a:off x="4513997" y="4315349"/>
            <a:ext cx="939888" cy="232217"/>
          </a:xfrm>
          <a:prstGeom prst="straightConnector1">
            <a:avLst/>
          </a:prstGeom>
          <a:ln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de flecha 59"/>
          <p:cNvCxnSpPr/>
          <p:nvPr/>
        </p:nvCxnSpPr>
        <p:spPr>
          <a:xfrm flipH="1">
            <a:off x="5276084" y="4821469"/>
            <a:ext cx="727075" cy="679153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cto de flecha 61"/>
          <p:cNvCxnSpPr/>
          <p:nvPr/>
        </p:nvCxnSpPr>
        <p:spPr>
          <a:xfrm flipV="1">
            <a:off x="7470493" y="5399170"/>
            <a:ext cx="619435" cy="567531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recto de flecha 66"/>
          <p:cNvCxnSpPr/>
          <p:nvPr/>
        </p:nvCxnSpPr>
        <p:spPr>
          <a:xfrm flipV="1">
            <a:off x="6766946" y="1729002"/>
            <a:ext cx="1314862" cy="515145"/>
          </a:xfrm>
          <a:prstGeom prst="straightConnector1">
            <a:avLst/>
          </a:prstGeom>
          <a:ln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ítulo 10"/>
          <p:cNvSpPr txBox="1">
            <a:spLocks/>
          </p:cNvSpPr>
          <p:nvPr/>
        </p:nvSpPr>
        <p:spPr>
          <a:xfrm>
            <a:off x="336283" y="176099"/>
            <a:ext cx="8923628" cy="828871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defTabSz="914400">
              <a:spcBef>
                <a:spcPts val="0"/>
              </a:spcBef>
              <a:defRPr/>
            </a:pPr>
            <a:r>
              <a:rPr lang="es-419" b="1" dirty="0">
                <a:solidFill>
                  <a:srgbClr val="000000"/>
                </a:solidFill>
                <a:latin typeface="Corbel" panose="020B0503020204020204" pitchFamily="34" charset="0"/>
              </a:rPr>
              <a:t>Los 3 principales problemas del país - Por macro zona</a:t>
            </a:r>
          </a:p>
          <a:p>
            <a:pPr defTabSz="914400">
              <a:spcBef>
                <a:spcPts val="0"/>
              </a:spcBef>
              <a:defRPr/>
            </a:pPr>
            <a:r>
              <a:rPr lang="es-419" b="1" dirty="0">
                <a:solidFill>
                  <a:srgbClr val="000000"/>
                </a:solidFill>
                <a:latin typeface="Corbel" panose="020B0503020204020204" pitchFamily="34" charset="0"/>
              </a:rPr>
              <a:t>El sur y oriente perciben la corrupción como problema </a:t>
            </a:r>
            <a:r>
              <a:rPr lang="es-419" b="1" dirty="0" err="1">
                <a:solidFill>
                  <a:srgbClr val="000000"/>
                </a:solidFill>
                <a:latin typeface="Corbel" panose="020B0503020204020204" pitchFamily="34" charset="0"/>
              </a:rPr>
              <a:t>N°</a:t>
            </a:r>
            <a:r>
              <a:rPr lang="es-419" b="1" dirty="0">
                <a:solidFill>
                  <a:srgbClr val="000000"/>
                </a:solidFill>
                <a:latin typeface="Corbel" panose="020B0503020204020204" pitchFamily="34" charset="0"/>
              </a:rPr>
              <a:t> 1.</a:t>
            </a:r>
          </a:p>
          <a:p>
            <a:pPr defTabSz="914400">
              <a:spcBef>
                <a:spcPts val="0"/>
              </a:spcBef>
              <a:defRPr/>
            </a:pPr>
            <a:endParaRPr lang="es-419" sz="1800" dirty="0">
              <a:solidFill>
                <a:srgbClr val="000000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0799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2387831"/>
              </p:ext>
            </p:extLst>
          </p:nvPr>
        </p:nvGraphicFramePr>
        <p:xfrm>
          <a:off x="490329" y="1917393"/>
          <a:ext cx="8730943" cy="4544066"/>
        </p:xfrm>
        <a:graphic>
          <a:graphicData uri="http://schemas.openxmlformats.org/drawingml/2006/table">
            <a:tbl>
              <a:tblPr/>
              <a:tblGrid>
                <a:gridCol w="87309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90514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Que una autoridad elegida entregue contratos de grandes obras públicas a empresarios que financiaron su campañ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0514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Dar bienes o pagar una “propina” para que le perdonen una multa o para agilizar un trámite o servicio públ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0514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Que una autoridad elegida coloque a simpatizantes poco calificados en puestos clav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184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Evadir impuestos si sabe que no lo descubrirá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184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No pedir factura para evitar el IGV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0514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Que un parlamentario promueva leyes a favor de quienes financiaron su campaña polític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41569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Que un magistrado supremo influya en las decisiones de jueces o fiscales de menor jerarquía para favorecer a sus allegad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0331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omprar productos piratas o instalar servicios piratas (cable, Internet, etc.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90514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Buscar un pariente o amigo que es funcionario público para que lo favorezca en un servici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85846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edir un favor sexual a cambio de un trámite o servici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18" name="Título 10"/>
          <p:cNvSpPr txBox="1">
            <a:spLocks/>
          </p:cNvSpPr>
          <p:nvPr/>
        </p:nvSpPr>
        <p:spPr>
          <a:xfrm>
            <a:off x="371079" y="227941"/>
            <a:ext cx="9299959" cy="708266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PE" b="1" dirty="0" smtClean="0">
                <a:latin typeface="Corbel" panose="020B0503020204020204" pitchFamily="34" charset="0"/>
              </a:rPr>
              <a:t>Diversidad de prácticas corruptas personales y vinculadas a autoridades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71079" y="1010313"/>
            <a:ext cx="109462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En una escala del 1 al 4, donde 1 es Nada frecuente y 4 es Muy frecuente, ¿con qué frecuencia diría usted que ocurren estas prácticas en el país? - </a:t>
            </a:r>
            <a:r>
              <a:rPr lang="es-419" sz="1600" b="1" dirty="0">
                <a:latin typeface="Corbel" panose="020B0503020204020204" pitchFamily="34" charset="0"/>
              </a:rPr>
              <a:t>CON </a:t>
            </a:r>
            <a:r>
              <a:rPr lang="es-419" sz="1600" b="1" dirty="0" smtClean="0">
                <a:latin typeface="Corbel" panose="020B0503020204020204" pitchFamily="34" charset="0"/>
              </a:rPr>
              <a:t>TARJETA, MÚLTIPLE</a:t>
            </a:r>
          </a:p>
          <a:p>
            <a:r>
              <a:rPr lang="es-419" sz="1600" b="1" dirty="0" smtClean="0">
                <a:latin typeface="Corbel" panose="020B0503020204020204" pitchFamily="34" charset="0"/>
              </a:rPr>
              <a:t>(% MUY FRECUENTE)</a:t>
            </a:r>
            <a:endParaRPr lang="es-419" sz="1600" b="1" dirty="0">
              <a:latin typeface="Corbel" panose="020B0503020204020204" pitchFamily="34" charset="0"/>
            </a:endParaRPr>
          </a:p>
        </p:txBody>
      </p:sp>
      <p:sp>
        <p:nvSpPr>
          <p:cNvPr id="9" name="Elipse 8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graphicFrame>
        <p:nvGraphicFramePr>
          <p:cNvPr id="16" name="20 Gráfico"/>
          <p:cNvGraphicFramePr/>
          <p:nvPr>
            <p:extLst>
              <p:ext uri="{D42A27DB-BD31-4B8C-83A1-F6EECF244321}">
                <p14:modId xmlns:p14="http://schemas.microsoft.com/office/powerpoint/2010/main" val="2337675925"/>
              </p:ext>
            </p:extLst>
          </p:nvPr>
        </p:nvGraphicFramePr>
        <p:xfrm>
          <a:off x="9193914" y="1847064"/>
          <a:ext cx="3234200" cy="46758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CuadroTexto 16"/>
          <p:cNvSpPr txBox="1"/>
          <p:nvPr/>
        </p:nvSpPr>
        <p:spPr bwMode="gray">
          <a:xfrm>
            <a:off x="9671038" y="1514297"/>
            <a:ext cx="976229" cy="65402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2000" b="1" dirty="0" smtClean="0">
                <a:latin typeface="Corbel" panose="020B0503020204020204" pitchFamily="34" charset="0"/>
              </a:rPr>
              <a:t>Nacional</a:t>
            </a:r>
            <a:endParaRPr lang="es-PE" sz="2000" b="1" dirty="0">
              <a:latin typeface="Corbel" panose="020B0503020204020204" pitchFamily="34" charset="0"/>
            </a:endParaRPr>
          </a:p>
          <a:p>
            <a:pPr>
              <a:spcBef>
                <a:spcPts val="300"/>
              </a:spcBef>
            </a:pPr>
            <a:endParaRPr lang="es-PE" sz="2000" dirty="0" err="1" smtClean="0">
              <a:latin typeface="Corbel" panose="020B0503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783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371080" y="345966"/>
            <a:ext cx="8644132" cy="91616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PE" sz="2800" b="1" dirty="0">
                <a:latin typeface="Corbel" panose="020B0503020204020204" pitchFamily="34" charset="0"/>
              </a:rPr>
              <a:t>Se percibe una mayor frecuencia de prácticas corruptas en la costa</a:t>
            </a:r>
          </a:p>
        </p:txBody>
      </p:sp>
      <p:sp>
        <p:nvSpPr>
          <p:cNvPr id="3" name="Rectángulo 2"/>
          <p:cNvSpPr/>
          <p:nvPr/>
        </p:nvSpPr>
        <p:spPr>
          <a:xfrm>
            <a:off x="510017" y="1383753"/>
            <a:ext cx="98574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En una escala del 1 al 4, donde 1 es Nada frecuente y 4 es Muy frecuente, ¿con qué frecuencia diría usted que ocurren estas prácticas en el país? - </a:t>
            </a:r>
            <a:r>
              <a:rPr lang="es-419" b="1" dirty="0">
                <a:latin typeface="Corbel" panose="020B0503020204020204" pitchFamily="34" charset="0"/>
              </a:rPr>
              <a:t>CON TARJETA, MÚLTIPLE (% MUY FRECUENTE)</a:t>
            </a:r>
          </a:p>
        </p:txBody>
      </p: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xmlns="" id="{62634449-2225-45E6-A314-7C4B16CE1D0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6120832"/>
              </p:ext>
            </p:extLst>
          </p:nvPr>
        </p:nvGraphicFramePr>
        <p:xfrm>
          <a:off x="868680" y="2340551"/>
          <a:ext cx="10454640" cy="3918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9641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250590" y="274962"/>
            <a:ext cx="9047956" cy="122422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Con relación al pasado, la mayoría sigue considerando que la corrupción ha aumentado, cifra similar a la del 2017 cuando se revelaron los sobornos pagados por Odebrecht. </a:t>
            </a:r>
            <a:endParaRPr lang="es-419" sz="1800" b="1" dirty="0" smtClean="0">
              <a:solidFill>
                <a:srgbClr val="0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250588" y="1560413"/>
            <a:ext cx="114581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dirty="0" smtClean="0">
                <a:latin typeface="Corbel" panose="020B0503020204020204" pitchFamily="34" charset="0"/>
              </a:rPr>
              <a:t>¿</a:t>
            </a:r>
            <a:r>
              <a:rPr lang="es-ES" dirty="0">
                <a:latin typeface="Corbel" panose="020B0503020204020204" pitchFamily="34" charset="0"/>
              </a:rPr>
              <a:t>Cree que en los </a:t>
            </a:r>
            <a:r>
              <a:rPr lang="es-ES" b="1" u="sng" dirty="0">
                <a:latin typeface="Corbel" panose="020B0503020204020204" pitchFamily="34" charset="0"/>
              </a:rPr>
              <a:t>últimos 5 años </a:t>
            </a:r>
            <a:r>
              <a:rPr lang="es-ES" dirty="0">
                <a:latin typeface="Corbel" panose="020B0503020204020204" pitchFamily="34" charset="0"/>
              </a:rPr>
              <a:t>la corrupción en el Perú ha aumentado, sigue igual o ha disminuido</a:t>
            </a:r>
            <a:r>
              <a:rPr lang="es-ES" dirty="0" smtClean="0">
                <a:latin typeface="Corbel" panose="020B0503020204020204" pitchFamily="34" charset="0"/>
              </a:rPr>
              <a:t>?</a:t>
            </a:r>
          </a:p>
          <a:p>
            <a:pPr>
              <a:defRPr/>
            </a:pPr>
            <a:r>
              <a:rPr lang="es-419" b="1" dirty="0">
                <a:latin typeface="Corbel" panose="020B0503020204020204" pitchFamily="34" charset="0"/>
              </a:rPr>
              <a:t>MEDICIÓN </a:t>
            </a:r>
            <a:r>
              <a:rPr lang="es-419" b="1" dirty="0" smtClean="0">
                <a:latin typeface="Corbel" panose="020B0503020204020204" pitchFamily="34" charset="0"/>
              </a:rPr>
              <a:t>COMPARATIVA</a:t>
            </a:r>
            <a:endParaRPr lang="es-PE" b="1" dirty="0">
              <a:latin typeface="Corbel" panose="020B0503020204020204" pitchFamily="34" charset="0"/>
            </a:endParaRPr>
          </a:p>
        </p:txBody>
      </p:sp>
      <p:graphicFrame>
        <p:nvGraphicFramePr>
          <p:cNvPr id="7" name="31 Gráfico"/>
          <p:cNvGraphicFramePr/>
          <p:nvPr>
            <p:extLst>
              <p:ext uri="{D42A27DB-BD31-4B8C-83A1-F6EECF244321}">
                <p14:modId xmlns:p14="http://schemas.microsoft.com/office/powerpoint/2010/main" val="1329137957"/>
              </p:ext>
            </p:extLst>
          </p:nvPr>
        </p:nvGraphicFramePr>
        <p:xfrm>
          <a:off x="571337" y="2439892"/>
          <a:ext cx="10846289" cy="4025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0978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362380" y="288588"/>
            <a:ext cx="9206623" cy="122422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Mejoran expectativas: Disminuye quienes creen que la corrupción aumentará y se incrementa lo que consideran que disminuirá.</a:t>
            </a:r>
            <a:endParaRPr lang="es-419" sz="1800" b="1" dirty="0" smtClean="0">
              <a:solidFill>
                <a:srgbClr val="0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362380" y="1283225"/>
            <a:ext cx="95700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dirty="0">
                <a:latin typeface="Corbel" panose="020B0503020204020204" pitchFamily="34" charset="0"/>
              </a:rPr>
              <a:t>¿Cree que en los </a:t>
            </a:r>
            <a:r>
              <a:rPr lang="es-ES" b="1" u="sng" dirty="0">
                <a:latin typeface="Corbel" panose="020B0503020204020204" pitchFamily="34" charset="0"/>
              </a:rPr>
              <a:t>próximos 5 años </a:t>
            </a:r>
            <a:r>
              <a:rPr lang="es-ES" dirty="0">
                <a:latin typeface="Corbel" panose="020B0503020204020204" pitchFamily="34" charset="0"/>
              </a:rPr>
              <a:t>la corrupción en el Perú habrá aumentado, seguirá igual o habrá disminuido? </a:t>
            </a:r>
            <a:r>
              <a:rPr lang="es-419" b="1" dirty="0" smtClean="0">
                <a:latin typeface="Corbel" panose="020B0503020204020204" pitchFamily="34" charset="0"/>
              </a:rPr>
              <a:t>MEDICIÓN COMPARATIVA</a:t>
            </a:r>
            <a:endParaRPr lang="es-PE" b="1" dirty="0">
              <a:latin typeface="Corbel" panose="020B0503020204020204" pitchFamily="34" charset="0"/>
            </a:endParaRPr>
          </a:p>
        </p:txBody>
      </p:sp>
      <p:graphicFrame>
        <p:nvGraphicFramePr>
          <p:cNvPr id="5" name="20 Gráfico"/>
          <p:cNvGraphicFramePr/>
          <p:nvPr>
            <p:extLst>
              <p:ext uri="{D42A27DB-BD31-4B8C-83A1-F6EECF244321}">
                <p14:modId xmlns:p14="http://schemas.microsoft.com/office/powerpoint/2010/main" val="827974729"/>
              </p:ext>
            </p:extLst>
          </p:nvPr>
        </p:nvGraphicFramePr>
        <p:xfrm>
          <a:off x="-200649" y="1512812"/>
          <a:ext cx="11616509" cy="5472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ángulo 2"/>
          <p:cNvSpPr/>
          <p:nvPr/>
        </p:nvSpPr>
        <p:spPr bwMode="gray">
          <a:xfrm>
            <a:off x="10097037" y="2369713"/>
            <a:ext cx="1159098" cy="426290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92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rgbClr val="008442"/>
          </a:solidFill>
        </p:spPr>
        <p:txBody>
          <a:bodyPr/>
          <a:lstStyle/>
          <a:p>
            <a:pPr>
              <a:spcAft>
                <a:spcPts val="400"/>
              </a:spcAft>
            </a:pPr>
            <a:r>
              <a:rPr lang="es-419" sz="4400" dirty="0" smtClean="0">
                <a:latin typeface="Corbel" panose="020B0503020204020204" pitchFamily="34" charset="0"/>
              </a:rPr>
              <a:t>Pero….¿qué entiende la gente por corrupción?</a:t>
            </a:r>
            <a:endParaRPr lang="es-PE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101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371079" y="809259"/>
            <a:ext cx="112391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Le voy a mencionar algunos comportamientos y me gustaría que me dijera qué tan de acuerdo o en desacuerdo se encuentra con que… (LEER FRASE) es un acto de corrupción o no? - </a:t>
            </a:r>
            <a:r>
              <a:rPr lang="es-419" sz="1600" b="1" dirty="0">
                <a:latin typeface="Corbel" panose="020B0503020204020204" pitchFamily="34" charset="0"/>
              </a:rPr>
              <a:t>CON </a:t>
            </a:r>
            <a:r>
              <a:rPr lang="es-419" sz="1600" b="1" dirty="0" smtClean="0">
                <a:latin typeface="Corbel" panose="020B0503020204020204" pitchFamily="34" charset="0"/>
              </a:rPr>
              <a:t>TARJETA, MÚLTIPLE</a:t>
            </a:r>
          </a:p>
          <a:p>
            <a:r>
              <a:rPr lang="es-419" sz="1600" b="1" dirty="0" smtClean="0">
                <a:latin typeface="Corbel" panose="020B0503020204020204" pitchFamily="34" charset="0"/>
              </a:rPr>
              <a:t>(% TOTALMENTE DE ACUERDO)</a:t>
            </a:r>
            <a:endParaRPr lang="es-419" sz="1600" b="1" dirty="0">
              <a:latin typeface="Corbel" panose="020B0503020204020204" pitchFamily="34" charset="0"/>
            </a:endParaRPr>
          </a:p>
        </p:txBody>
      </p:sp>
      <p:graphicFrame>
        <p:nvGraphicFramePr>
          <p:cNvPr id="14" name="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6773594"/>
              </p:ext>
            </p:extLst>
          </p:nvPr>
        </p:nvGraphicFramePr>
        <p:xfrm>
          <a:off x="967409" y="1814361"/>
          <a:ext cx="6115971" cy="4567440"/>
        </p:xfrm>
        <a:graphic>
          <a:graphicData uri="http://schemas.openxmlformats.org/drawingml/2006/table">
            <a:tbl>
              <a:tblPr/>
              <a:tblGrid>
                <a:gridCol w="611597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55239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u="none" strike="noStrike" dirty="0">
                          <a:effectLst/>
                          <a:latin typeface="Corbel" panose="020B0503020204020204" pitchFamily="34" charset="0"/>
                        </a:rPr>
                        <a:t>Pedir un favor sexual a cambio de un trámite o servicio</a:t>
                      </a:r>
                      <a:endParaRPr lang="es-ES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5341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u="none" strike="noStrike" dirty="0">
                          <a:effectLst/>
                          <a:latin typeface="Corbel" panose="020B0503020204020204" pitchFamily="34" charset="0"/>
                        </a:rPr>
                        <a:t>Que un magistrado supremo influya en las decisiones de jueces o fiscales de menor jerarquía para favorecer a sus allegados</a:t>
                      </a:r>
                      <a:endParaRPr lang="es-ES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9182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u="none" strike="noStrike" dirty="0">
                          <a:effectLst/>
                          <a:latin typeface="Corbel" panose="020B0503020204020204" pitchFamily="34" charset="0"/>
                        </a:rPr>
                        <a:t>Que un parlamentario promueva leyes a favor de quienes financiaron su campaña política</a:t>
                      </a:r>
                      <a:endParaRPr lang="es-ES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79182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u="none" strike="noStrike" dirty="0">
                          <a:effectLst/>
                          <a:latin typeface="Corbel" panose="020B0503020204020204" pitchFamily="34" charset="0"/>
                        </a:rPr>
                        <a:t>Que una autoridad elegida entregue contratos de grandes obras públicas a empresarios que financiaron su campaña</a:t>
                      </a:r>
                      <a:endParaRPr lang="es-ES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79182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u="none" strike="noStrike" dirty="0">
                          <a:effectLst/>
                          <a:latin typeface="Corbel" panose="020B0503020204020204" pitchFamily="34" charset="0"/>
                        </a:rPr>
                        <a:t>Que una autoridad elegida coloque a simpatizantes poco calificados en puestos clave</a:t>
                      </a:r>
                      <a:endParaRPr lang="es-ES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55239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u="none" strike="noStrike" dirty="0">
                          <a:effectLst/>
                          <a:latin typeface="Corbel" panose="020B0503020204020204" pitchFamily="34" charset="0"/>
                        </a:rPr>
                        <a:t>Evadir impuestos si sabe que no lo descubrirán</a:t>
                      </a:r>
                      <a:endParaRPr lang="es-ES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79182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u="none" strike="noStrike" dirty="0">
                          <a:effectLst/>
                          <a:latin typeface="Corbel" panose="020B0503020204020204" pitchFamily="34" charset="0"/>
                        </a:rPr>
                        <a:t>Dar bienes o pagar una “propina” para que le perdonen una multa o para agilizar un trámite o servicio público</a:t>
                      </a:r>
                      <a:endParaRPr lang="es-ES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79182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u="none" strike="noStrike" dirty="0">
                          <a:effectLst/>
                          <a:latin typeface="Corbel" panose="020B0503020204020204" pitchFamily="34" charset="0"/>
                        </a:rPr>
                        <a:t>Buscar un pariente o amigo que es funcionario público para que lo favorezca en un servicio</a:t>
                      </a:r>
                      <a:endParaRPr lang="es-ES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79182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u="none" strike="noStrike" dirty="0">
                          <a:effectLst/>
                          <a:latin typeface="Corbel" panose="020B0503020204020204" pitchFamily="34" charset="0"/>
                        </a:rPr>
                        <a:t>Comprar productos piratas o instalar servicios piratas (cable, Internet, etc.)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93433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u="none" strike="noStrike" dirty="0">
                          <a:effectLst/>
                          <a:latin typeface="Corbel" panose="020B0503020204020204" pitchFamily="34" charset="0"/>
                        </a:rPr>
                        <a:t>No pedir factura para evitar el IGV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7018" marR="7018" marT="7018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graphicFrame>
        <p:nvGraphicFramePr>
          <p:cNvPr id="15" name="Tab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227923"/>
              </p:ext>
            </p:extLst>
          </p:nvPr>
        </p:nvGraphicFramePr>
        <p:xfrm>
          <a:off x="9415515" y="1331377"/>
          <a:ext cx="2405797" cy="50507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25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481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9513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61689">
                <a:tc gridSpan="3"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i="0" u="none" strike="noStrike" dirty="0" smtClean="0">
                          <a:solidFill>
                            <a:schemeClr val="bg1"/>
                          </a:solidFill>
                          <a:latin typeface="Corbel" panose="020B0503020204020204" pitchFamily="34" charset="0"/>
                        </a:rPr>
                        <a:t>Nivel socioeconómic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800" b="1" i="0" u="none" strike="noStrike" dirty="0" smtClean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800" b="1" i="0" u="none" strike="noStrike" dirty="0" smtClean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6663"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i="0" u="none" strike="noStrike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NSE A/B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i="0" u="none" strike="noStrike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NSE C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i="0" u="none" strike="noStrike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NSE D/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809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809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809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69675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3809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3809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63149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3809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3809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3809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18" name="Título 10"/>
          <p:cNvSpPr txBox="1">
            <a:spLocks/>
          </p:cNvSpPr>
          <p:nvPr/>
        </p:nvSpPr>
        <p:spPr>
          <a:xfrm>
            <a:off x="319271" y="233393"/>
            <a:ext cx="9299959" cy="708266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PE" b="1" dirty="0" smtClean="0">
                <a:latin typeface="Corbel" panose="020B0503020204020204" pitchFamily="34" charset="0"/>
              </a:rPr>
              <a:t>¿Qué es corrupción para los peruanos?</a:t>
            </a:r>
          </a:p>
        </p:txBody>
      </p:sp>
      <p:sp>
        <p:nvSpPr>
          <p:cNvPr id="9" name="Elipse 8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sp>
        <p:nvSpPr>
          <p:cNvPr id="11" name="Elipse 10"/>
          <p:cNvSpPr/>
          <p:nvPr/>
        </p:nvSpPr>
        <p:spPr bwMode="gray">
          <a:xfrm>
            <a:off x="9513601" y="5123988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Elipse 12"/>
          <p:cNvSpPr/>
          <p:nvPr/>
        </p:nvSpPr>
        <p:spPr bwMode="gray">
          <a:xfrm>
            <a:off x="9513602" y="5563408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6" name="20 Gráfico"/>
          <p:cNvGraphicFramePr/>
          <p:nvPr>
            <p:extLst>
              <p:ext uri="{D42A27DB-BD31-4B8C-83A1-F6EECF244321}">
                <p14:modId xmlns:p14="http://schemas.microsoft.com/office/powerpoint/2010/main" val="2469672696"/>
              </p:ext>
            </p:extLst>
          </p:nvPr>
        </p:nvGraphicFramePr>
        <p:xfrm>
          <a:off x="7067179" y="1744145"/>
          <a:ext cx="3257128" cy="47499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CuadroTexto 16"/>
          <p:cNvSpPr txBox="1"/>
          <p:nvPr/>
        </p:nvSpPr>
        <p:spPr bwMode="gray">
          <a:xfrm>
            <a:off x="7645610" y="1442691"/>
            <a:ext cx="878446" cy="59247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b="1" dirty="0" smtClean="0">
                <a:latin typeface="Corbel" panose="020B0503020204020204" pitchFamily="34" charset="0"/>
              </a:rPr>
              <a:t>Nacional</a:t>
            </a:r>
            <a:endParaRPr lang="es-PE" b="1" dirty="0">
              <a:latin typeface="Corbel" panose="020B0503020204020204" pitchFamily="34" charset="0"/>
            </a:endParaRPr>
          </a:p>
          <a:p>
            <a:pPr>
              <a:spcBef>
                <a:spcPts val="300"/>
              </a:spcBef>
            </a:pPr>
            <a:endParaRPr lang="es-PE" dirty="0" err="1" smtClean="0"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19" name="Elipse 18"/>
          <p:cNvSpPr/>
          <p:nvPr/>
        </p:nvSpPr>
        <p:spPr bwMode="gray">
          <a:xfrm>
            <a:off x="9513602" y="5987329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Elipse 22"/>
          <p:cNvSpPr/>
          <p:nvPr/>
        </p:nvSpPr>
        <p:spPr bwMode="gray">
          <a:xfrm>
            <a:off x="9513600" y="4205558"/>
            <a:ext cx="530181" cy="375766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Elipse 24"/>
          <p:cNvSpPr/>
          <p:nvPr/>
        </p:nvSpPr>
        <p:spPr bwMode="gray">
          <a:xfrm>
            <a:off x="9513600" y="3767865"/>
            <a:ext cx="530181" cy="325009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ipse 28"/>
          <p:cNvSpPr/>
          <p:nvPr/>
        </p:nvSpPr>
        <p:spPr bwMode="gray">
          <a:xfrm>
            <a:off x="9473014" y="2759293"/>
            <a:ext cx="539885" cy="35149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Elipse 30"/>
          <p:cNvSpPr/>
          <p:nvPr/>
        </p:nvSpPr>
        <p:spPr bwMode="gray">
          <a:xfrm>
            <a:off x="10324307" y="2343571"/>
            <a:ext cx="530181" cy="325009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Elipse 32"/>
          <p:cNvSpPr/>
          <p:nvPr/>
        </p:nvSpPr>
        <p:spPr bwMode="gray">
          <a:xfrm>
            <a:off x="10324307" y="1881654"/>
            <a:ext cx="530181" cy="334468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33"/>
          <p:cNvSpPr/>
          <p:nvPr/>
        </p:nvSpPr>
        <p:spPr bwMode="gray">
          <a:xfrm>
            <a:off x="9482718" y="1881653"/>
            <a:ext cx="530181" cy="415678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Abrir llave 1"/>
          <p:cNvSpPr/>
          <p:nvPr/>
        </p:nvSpPr>
        <p:spPr>
          <a:xfrm>
            <a:off x="602899" y="1938419"/>
            <a:ext cx="231988" cy="2211221"/>
          </a:xfrm>
          <a:prstGeom prst="leftBrac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0" name="Abrir llave 39"/>
          <p:cNvSpPr/>
          <p:nvPr/>
        </p:nvSpPr>
        <p:spPr>
          <a:xfrm>
            <a:off x="602899" y="4253322"/>
            <a:ext cx="231988" cy="2103967"/>
          </a:xfrm>
          <a:prstGeom prst="leftBrac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" name="Rectángulo 4"/>
          <p:cNvSpPr/>
          <p:nvPr/>
        </p:nvSpPr>
        <p:spPr bwMode="gray">
          <a:xfrm>
            <a:off x="218679" y="1938419"/>
            <a:ext cx="304800" cy="20302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PE" sz="20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autoridades</a:t>
            </a:r>
          </a:p>
        </p:txBody>
      </p:sp>
      <p:sp>
        <p:nvSpPr>
          <p:cNvPr id="41" name="Rectángulo 40"/>
          <p:cNvSpPr/>
          <p:nvPr/>
        </p:nvSpPr>
        <p:spPr bwMode="gray">
          <a:xfrm>
            <a:off x="218679" y="4496587"/>
            <a:ext cx="304800" cy="1734532"/>
          </a:xfrm>
          <a:prstGeom prst="rect">
            <a:avLst/>
          </a:prstGeom>
          <a:solidFill>
            <a:srgbClr val="E94F3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PE" sz="20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Personas</a:t>
            </a:r>
          </a:p>
        </p:txBody>
      </p:sp>
    </p:spTree>
    <p:extLst>
      <p:ext uri="{BB962C8B-B14F-4D97-AF65-F5344CB8AC3E}">
        <p14:creationId xmlns:p14="http://schemas.microsoft.com/office/powerpoint/2010/main" val="249937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194187" y="156618"/>
            <a:ext cx="8861681" cy="122422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La corrupción en la vida cotidiana: 8 de cada 10 peruanos se considera afectado. En la sierra afecta más la relación con el Estado y los políticos.</a:t>
            </a:r>
            <a:endParaRPr lang="es-PE" b="1" dirty="0">
              <a:solidFill>
                <a:srgbClr val="000000"/>
              </a:solidFill>
              <a:latin typeface="Corbel" panose="020B0503020204020204" pitchFamily="34" charset="0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117022" y="1557541"/>
            <a:ext cx="316709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¿Usted cree que la corrupción lo perjudica en su vida cotidiana o no?</a:t>
            </a:r>
            <a:r>
              <a:rPr lang="es-419" dirty="0" smtClean="0">
                <a:latin typeface="Corbel" panose="020B0503020204020204" pitchFamily="34" charset="0"/>
              </a:rPr>
              <a:t>- </a:t>
            </a:r>
            <a:r>
              <a:rPr lang="es-419" b="1" dirty="0" smtClean="0">
                <a:latin typeface="Corbel" panose="020B0503020204020204" pitchFamily="34" charset="0"/>
              </a:rPr>
              <a:t>ESPONTÁNEA</a:t>
            </a:r>
            <a:endParaRPr lang="es-ES" b="1" dirty="0">
              <a:latin typeface="Corbel" panose="020B0503020204020204" pitchFamily="34" charset="0"/>
            </a:endParaRPr>
          </a:p>
        </p:txBody>
      </p:sp>
      <p:graphicFrame>
        <p:nvGraphicFramePr>
          <p:cNvPr id="62" name="Dia Asia"/>
          <p:cNvGraphicFramePr/>
          <p:nvPr>
            <p:custDataLst>
              <p:tags r:id="rId1"/>
            </p:custDataLst>
            <p:extLst/>
          </p:nvPr>
        </p:nvGraphicFramePr>
        <p:xfrm>
          <a:off x="525625" y="2777809"/>
          <a:ext cx="2823174" cy="2015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5" name="Rechteck 52"/>
          <p:cNvSpPr/>
          <p:nvPr>
            <p:custDataLst>
              <p:tags r:id="rId2"/>
            </p:custDataLst>
          </p:nvPr>
        </p:nvSpPr>
        <p:spPr bwMode="gray">
          <a:xfrm>
            <a:off x="1303280" y="3159751"/>
            <a:ext cx="1344149" cy="134400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lvl="0" algn="ctr"/>
            <a:r>
              <a:rPr lang="es-419" sz="4000" b="1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8</a:t>
            </a:r>
            <a:r>
              <a:rPr lang="en-US" sz="4000" b="1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2</a:t>
            </a:r>
            <a:r>
              <a:rPr lang="en-US" sz="2000" b="1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%</a:t>
            </a:r>
            <a:endParaRPr lang="en-US" sz="2000" b="1" dirty="0">
              <a:solidFill>
                <a:schemeClr val="accent5"/>
              </a:solidFill>
              <a:latin typeface="Corbel" panose="020B0503020204020204" pitchFamily="34" charset="0"/>
            </a:endParaRPr>
          </a:p>
        </p:txBody>
      </p:sp>
      <p:sp>
        <p:nvSpPr>
          <p:cNvPr id="68" name="Rectángulo 67"/>
          <p:cNvSpPr/>
          <p:nvPr/>
        </p:nvSpPr>
        <p:spPr>
          <a:xfrm>
            <a:off x="383957" y="4804726"/>
            <a:ext cx="31827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419" sz="2400" b="1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Cree que la corrupción sí lo perjudica</a:t>
            </a:r>
            <a:endParaRPr lang="en-US" sz="2400" b="1" dirty="0">
              <a:solidFill>
                <a:schemeClr val="accent5"/>
              </a:solidFill>
              <a:latin typeface="Corbel" panose="020B050302020402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319120" y="5732642"/>
            <a:ext cx="1253485" cy="400110"/>
          </a:xfrm>
          <a:prstGeom prst="rect">
            <a:avLst/>
          </a:prstGeom>
          <a:ln>
            <a:solidFill>
              <a:srgbClr val="DC291E"/>
            </a:solidFill>
          </a:ln>
        </p:spPr>
        <p:txBody>
          <a:bodyPr wrap="none">
            <a:spAutoFit/>
          </a:bodyPr>
          <a:lstStyle/>
          <a:p>
            <a:r>
              <a:rPr lang="es-ES" sz="2000" dirty="0" smtClean="0">
                <a:solidFill>
                  <a:srgbClr val="DC291E"/>
                </a:solidFill>
                <a:latin typeface="Corbel" panose="020B0503020204020204" pitchFamily="34" charset="0"/>
              </a:rPr>
              <a:t>2017: 86%</a:t>
            </a:r>
            <a:endParaRPr lang="es-PE" sz="2000" dirty="0">
              <a:solidFill>
                <a:srgbClr val="DC291E"/>
              </a:solidFill>
            </a:endParaRPr>
          </a:p>
        </p:txBody>
      </p:sp>
      <p:sp>
        <p:nvSpPr>
          <p:cNvPr id="20" name="Rectángulo 19"/>
          <p:cNvSpPr/>
          <p:nvPr/>
        </p:nvSpPr>
        <p:spPr>
          <a:xfrm>
            <a:off x="3644027" y="1077974"/>
            <a:ext cx="459845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¿De qué forma cree que la corrupción lo perjudica en su vida cotidiana? </a:t>
            </a:r>
            <a:r>
              <a:rPr lang="es-419" b="1" dirty="0" smtClean="0">
                <a:latin typeface="Corbel" panose="020B0503020204020204" pitchFamily="34" charset="0"/>
              </a:rPr>
              <a:t>– MÚLTIPLE. CON TARJETA</a:t>
            </a:r>
            <a:endParaRPr lang="es-ES" b="1" dirty="0">
              <a:latin typeface="Corbel" panose="020B0503020204020204" pitchFamily="34" charset="0"/>
            </a:endParaRPr>
          </a:p>
        </p:txBody>
      </p:sp>
      <p:sp>
        <p:nvSpPr>
          <p:cNvPr id="22" name="Rectángulo 21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ángulo 20"/>
          <p:cNvSpPr/>
          <p:nvPr/>
        </p:nvSpPr>
        <p:spPr>
          <a:xfrm>
            <a:off x="6010146" y="6317382"/>
            <a:ext cx="571983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Base: Total de entrevistados que creen que la corrupción los perjudica en su vida cotidiana (1511)</a:t>
            </a:r>
            <a:endParaRPr lang="es-PE" sz="1100" dirty="0"/>
          </a:p>
        </p:txBody>
      </p:sp>
      <p:sp>
        <p:nvSpPr>
          <p:cNvPr id="23" name="Rectángulo 22"/>
          <p:cNvSpPr/>
          <p:nvPr/>
        </p:nvSpPr>
        <p:spPr>
          <a:xfrm>
            <a:off x="9568813" y="6497556"/>
            <a:ext cx="216116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*Menciones incorporadas en 2019</a:t>
            </a:r>
            <a:endParaRPr lang="es-PE" sz="1100" dirty="0"/>
          </a:p>
        </p:txBody>
      </p:sp>
      <p:sp>
        <p:nvSpPr>
          <p:cNvPr id="26" name="Elipse 25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ectángulo 26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graphicFrame>
        <p:nvGraphicFramePr>
          <p:cNvPr id="28" name="8 Tabla"/>
          <p:cNvGraphicFramePr>
            <a:graphicFrameLocks noGrp="1"/>
          </p:cNvGraphicFramePr>
          <p:nvPr>
            <p:extLst/>
          </p:nvPr>
        </p:nvGraphicFramePr>
        <p:xfrm>
          <a:off x="3644027" y="1827489"/>
          <a:ext cx="4719362" cy="4261686"/>
        </p:xfrm>
        <a:graphic>
          <a:graphicData uri="http://schemas.openxmlformats.org/drawingml/2006/table">
            <a:tbl>
              <a:tblPr/>
              <a:tblGrid>
                <a:gridCol w="45653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39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98583">
                <a:tc>
                  <a:txBody>
                    <a:bodyPr/>
                    <a:lstStyle/>
                    <a:p>
                      <a:pPr algn="r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erjudica mi economía familia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8583">
                <a:tc>
                  <a:txBody>
                    <a:bodyPr/>
                    <a:lstStyle/>
                    <a:p>
                      <a:pPr algn="r" fontAlgn="ctr"/>
                      <a:r>
                        <a:rPr lang="es-E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Reduce mi confianza en el Estad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2DA7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8583">
                <a:tc>
                  <a:txBody>
                    <a:bodyPr/>
                    <a:lstStyle/>
                    <a:p>
                      <a:pPr algn="r" fontAlgn="ctr"/>
                      <a:r>
                        <a:rPr lang="es-E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Reduce mi confianza en los </a:t>
                      </a:r>
                      <a:r>
                        <a:rPr lang="es-E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olíticos*</a:t>
                      </a:r>
                      <a:endParaRPr lang="es-ES" sz="1800" b="1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2DA7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2859">
                <a:tc>
                  <a:txBody>
                    <a:bodyPr/>
                    <a:lstStyle/>
                    <a:p>
                      <a:pPr algn="r" fontAlgn="ctr"/>
                      <a:r>
                        <a:rPr lang="es-E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Reduce la calidad de los servicios públicos que recibo (salud, educación, seguridad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E2DA7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06924">
                <a:tc>
                  <a:txBody>
                    <a:bodyPr/>
                    <a:lstStyle/>
                    <a:p>
                      <a:pPr algn="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Reduce mis oportunidades y las de mis familiares de conseguir emple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06924">
                <a:tc>
                  <a:txBody>
                    <a:bodyPr/>
                    <a:lstStyle/>
                    <a:p>
                      <a:pPr algn="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Reduce la calidad de las obras públicas de mi localida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98583">
                <a:tc>
                  <a:txBody>
                    <a:bodyPr/>
                    <a:lstStyle/>
                    <a:p>
                      <a:pPr algn="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Reduce mi confianza en la </a:t>
                      </a:r>
                      <a:r>
                        <a:rPr lang="es-E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olítica*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06924">
                <a:tc>
                  <a:txBody>
                    <a:bodyPr/>
                    <a:lstStyle/>
                    <a:p>
                      <a:pPr algn="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Limita mi acceso a servicios públicos (salud, educación, seguridad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*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aphicFrame>
        <p:nvGraphicFramePr>
          <p:cNvPr id="29" name="Tabla 28"/>
          <p:cNvGraphicFramePr>
            <a:graphicFrameLocks noGrp="1"/>
          </p:cNvGraphicFramePr>
          <p:nvPr>
            <p:extLst/>
          </p:nvPr>
        </p:nvGraphicFramePr>
        <p:xfrm>
          <a:off x="8666496" y="1189970"/>
          <a:ext cx="3242819" cy="49514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404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825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989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2737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43402"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400" b="1" i="0" u="none" strike="noStrike" dirty="0" smtClean="0">
                        <a:solidFill>
                          <a:schemeClr val="bg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b="1" i="0" u="none" strike="noStrike" dirty="0" smtClean="0">
                          <a:solidFill>
                            <a:schemeClr val="bg1"/>
                          </a:solidFill>
                          <a:latin typeface="Corbel" panose="020B0503020204020204" pitchFamily="34" charset="0"/>
                        </a:rPr>
                        <a:t>Macro</a:t>
                      </a:r>
                      <a:r>
                        <a:rPr lang="es-PE" sz="1800" b="1" i="0" u="none" strike="noStrike" baseline="0" dirty="0" smtClean="0">
                          <a:solidFill>
                            <a:schemeClr val="bg1"/>
                          </a:solidFill>
                          <a:latin typeface="Corbel" panose="020B0503020204020204" pitchFamily="34" charset="0"/>
                        </a:rPr>
                        <a:t> z0na</a:t>
                      </a:r>
                      <a:endParaRPr lang="es-PE" sz="1800" b="1" i="0" u="none" strike="noStrike" dirty="0" smtClean="0">
                        <a:solidFill>
                          <a:schemeClr val="bg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800" b="1" i="0" u="none" strike="noStrike" dirty="0" smtClean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800" b="1" i="0" u="none" strike="noStrike" dirty="0" smtClean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8861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Costa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Sierra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Selva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3315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44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3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1654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44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4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654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38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4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7739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34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1654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3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1654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8705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28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2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45241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2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cxnSp>
        <p:nvCxnSpPr>
          <p:cNvPr id="4" name="Conector recto 3"/>
          <p:cNvCxnSpPr/>
          <p:nvPr/>
        </p:nvCxnSpPr>
        <p:spPr>
          <a:xfrm>
            <a:off x="9465972" y="1521857"/>
            <a:ext cx="0" cy="4621366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939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rgbClr val="008442"/>
          </a:solidFill>
        </p:spPr>
        <p:txBody>
          <a:bodyPr/>
          <a:lstStyle/>
          <a:p>
            <a:pPr>
              <a:spcAft>
                <a:spcPts val="400"/>
              </a:spcAft>
            </a:pPr>
            <a:r>
              <a:rPr lang="es-419" sz="4400" dirty="0" err="1" smtClean="0">
                <a:latin typeface="Corbel" panose="020B0503020204020204" pitchFamily="34" charset="0"/>
              </a:rPr>
              <a:t>Microcorrupción</a:t>
            </a:r>
            <a:endParaRPr lang="es-PE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342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 bwMode="gray">
          <a:xfrm>
            <a:off x="5691130" y="6353187"/>
            <a:ext cx="6130082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Gerade Verbindung 24"/>
          <p:cNvCxnSpPr/>
          <p:nvPr/>
        </p:nvCxnSpPr>
        <p:spPr bwMode="gray">
          <a:xfrm>
            <a:off x="553683" y="1630568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"/>
          <p:cNvSpPr txBox="1">
            <a:spLocks/>
          </p:cNvSpPr>
          <p:nvPr/>
        </p:nvSpPr>
        <p:spPr bwMode="gray">
          <a:xfrm>
            <a:off x="620315" y="5983121"/>
            <a:ext cx="8352896" cy="417433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 anchor="ctr">
            <a:no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Conclusiones</a:t>
            </a:r>
          </a:p>
        </p:txBody>
      </p:sp>
      <p:sp>
        <p:nvSpPr>
          <p:cNvPr id="11" name="Text Placeholder 1"/>
          <p:cNvSpPr txBox="1">
            <a:spLocks/>
          </p:cNvSpPr>
          <p:nvPr/>
        </p:nvSpPr>
        <p:spPr bwMode="gray">
          <a:xfrm>
            <a:off x="550217" y="1638911"/>
            <a:ext cx="8352896" cy="470101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 anchor="ctr">
            <a:no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es-PE" sz="2400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Corrupción: problema nacional</a:t>
            </a:r>
          </a:p>
        </p:txBody>
      </p:sp>
      <p:cxnSp>
        <p:nvCxnSpPr>
          <p:cNvPr id="12" name="Gerade Verbindung 35"/>
          <p:cNvCxnSpPr/>
          <p:nvPr/>
        </p:nvCxnSpPr>
        <p:spPr bwMode="gray">
          <a:xfrm>
            <a:off x="554244" y="1087271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"/>
          <p:cNvSpPr txBox="1">
            <a:spLocks/>
          </p:cNvSpPr>
          <p:nvPr/>
        </p:nvSpPr>
        <p:spPr bwMode="gray">
          <a:xfrm>
            <a:off x="577617" y="2701371"/>
            <a:ext cx="8352896" cy="433949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>
            <a:no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en-US" sz="2400" b="1" dirty="0" err="1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Microcorrupción</a:t>
            </a:r>
            <a:endParaRPr lang="en-US" sz="2400" b="1" dirty="0">
              <a:solidFill>
                <a:schemeClr val="accent2">
                  <a:lumMod val="50000"/>
                </a:schemeClr>
              </a:solidFill>
              <a:latin typeface="Corbel" panose="020B0503020204020204" pitchFamily="34" charset="0"/>
            </a:endParaRPr>
          </a:p>
        </p:txBody>
      </p:sp>
      <p:cxnSp>
        <p:nvCxnSpPr>
          <p:cNvPr id="14" name="Gerade Verbindung 36"/>
          <p:cNvCxnSpPr/>
          <p:nvPr/>
        </p:nvCxnSpPr>
        <p:spPr bwMode="gray">
          <a:xfrm>
            <a:off x="561878" y="5983121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"/>
          <p:cNvSpPr txBox="1">
            <a:spLocks/>
          </p:cNvSpPr>
          <p:nvPr/>
        </p:nvSpPr>
        <p:spPr bwMode="gray">
          <a:xfrm>
            <a:off x="550217" y="1056511"/>
            <a:ext cx="8352896" cy="458056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>
            <a:no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es-PE" sz="2400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Metodología</a:t>
            </a:r>
            <a:endParaRPr lang="en-US" sz="2400" b="1" dirty="0">
              <a:solidFill>
                <a:schemeClr val="accent2">
                  <a:lumMod val="50000"/>
                </a:schemeClr>
              </a:solidFill>
              <a:latin typeface="Corbel" panose="020B0503020204020204" pitchFamily="34" charset="0"/>
            </a:endParaRPr>
          </a:p>
        </p:txBody>
      </p:sp>
      <p:cxnSp>
        <p:nvCxnSpPr>
          <p:cNvPr id="19" name="Gerade Verbindung 36"/>
          <p:cNvCxnSpPr/>
          <p:nvPr/>
        </p:nvCxnSpPr>
        <p:spPr bwMode="gray">
          <a:xfrm>
            <a:off x="610790" y="3838530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/>
        </p:nvCxnSpPr>
        <p:spPr bwMode="gray">
          <a:xfrm>
            <a:off x="615717" y="5425833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"/>
          <p:cNvSpPr txBox="1">
            <a:spLocks/>
          </p:cNvSpPr>
          <p:nvPr/>
        </p:nvSpPr>
        <p:spPr bwMode="gray">
          <a:xfrm>
            <a:off x="577617" y="4917173"/>
            <a:ext cx="8352896" cy="498658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>
            <a:no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es-PE" sz="2400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Tolerancia a la corrupción</a:t>
            </a:r>
          </a:p>
        </p:txBody>
      </p:sp>
      <p:cxnSp>
        <p:nvCxnSpPr>
          <p:cNvPr id="25" name="Gerade Verbindung 36"/>
          <p:cNvCxnSpPr/>
          <p:nvPr/>
        </p:nvCxnSpPr>
        <p:spPr bwMode="gray">
          <a:xfrm>
            <a:off x="577617" y="4887746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ítulo 10"/>
          <p:cNvSpPr txBox="1">
            <a:spLocks/>
          </p:cNvSpPr>
          <p:nvPr/>
        </p:nvSpPr>
        <p:spPr>
          <a:xfrm>
            <a:off x="561876" y="319164"/>
            <a:ext cx="10051107" cy="768107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  <a:ea typeface="+mn-ea"/>
                <a:cs typeface="+mn-cs"/>
              </a:rPr>
              <a:t>Contenido</a:t>
            </a:r>
          </a:p>
        </p:txBody>
      </p:sp>
      <p:cxnSp>
        <p:nvCxnSpPr>
          <p:cNvPr id="28" name="Gerade Verbindung 36"/>
          <p:cNvCxnSpPr/>
          <p:nvPr/>
        </p:nvCxnSpPr>
        <p:spPr bwMode="gray">
          <a:xfrm>
            <a:off x="550217" y="2158758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"/>
          <p:cNvSpPr txBox="1">
            <a:spLocks/>
          </p:cNvSpPr>
          <p:nvPr/>
        </p:nvSpPr>
        <p:spPr bwMode="gray">
          <a:xfrm>
            <a:off x="577617" y="2233032"/>
            <a:ext cx="8352896" cy="358544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 anchor="ctr">
            <a:no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es-PE" sz="2400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Lo que la gente entiende por corrupción</a:t>
            </a:r>
          </a:p>
        </p:txBody>
      </p:sp>
      <p:cxnSp>
        <p:nvCxnSpPr>
          <p:cNvPr id="31" name="Gerade Verbindung 36"/>
          <p:cNvCxnSpPr/>
          <p:nvPr/>
        </p:nvCxnSpPr>
        <p:spPr bwMode="gray">
          <a:xfrm>
            <a:off x="561877" y="4348354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1"/>
          <p:cNvSpPr txBox="1">
            <a:spLocks/>
          </p:cNvSpPr>
          <p:nvPr/>
        </p:nvSpPr>
        <p:spPr bwMode="gray">
          <a:xfrm>
            <a:off x="577617" y="3801579"/>
            <a:ext cx="8352896" cy="423526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 anchor="ctr">
            <a:no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en-US" sz="2400" b="1" dirty="0" err="1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Corrupción</a:t>
            </a: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 en </a:t>
            </a:r>
            <a:r>
              <a:rPr lang="en-US" sz="2400" b="1" dirty="0" err="1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las</a:t>
            </a: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 </a:t>
            </a:r>
            <a:r>
              <a:rPr lang="en-US" sz="2400" b="1" dirty="0" err="1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instituciones</a:t>
            </a:r>
            <a:endParaRPr lang="en-US" sz="2400" b="1" dirty="0">
              <a:solidFill>
                <a:schemeClr val="accent2">
                  <a:lumMod val="50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6" name="Text Placeholder 1"/>
          <p:cNvSpPr txBox="1">
            <a:spLocks/>
          </p:cNvSpPr>
          <p:nvPr/>
        </p:nvSpPr>
        <p:spPr bwMode="gray">
          <a:xfrm>
            <a:off x="620315" y="5455260"/>
            <a:ext cx="8352896" cy="430662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>
            <a:no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en-US" sz="2400" b="1" dirty="0" err="1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Lucha</a:t>
            </a: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 contra la </a:t>
            </a:r>
            <a:r>
              <a:rPr lang="en-US" sz="2400" b="1" dirty="0" err="1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corrupción</a:t>
            </a:r>
            <a:endParaRPr lang="en-US" sz="2400" b="1" dirty="0">
              <a:solidFill>
                <a:schemeClr val="accent2">
                  <a:lumMod val="50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39" name="Text Placeholder 1"/>
          <p:cNvSpPr txBox="1">
            <a:spLocks/>
          </p:cNvSpPr>
          <p:nvPr/>
        </p:nvSpPr>
        <p:spPr bwMode="gray">
          <a:xfrm>
            <a:off x="577617" y="3260036"/>
            <a:ext cx="8352896" cy="501883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>
            <a:noAutofit/>
          </a:bodyPr>
          <a:lstStyle>
            <a:defPPr>
              <a:defRPr lang="es-PE"/>
            </a:defPPr>
            <a:lvl1pPr>
              <a:spcAft>
                <a:spcPts val="400"/>
              </a:spcAft>
              <a:defRPr sz="2400" b="1">
                <a:solidFill>
                  <a:schemeClr val="accent5"/>
                </a:solidFill>
                <a:latin typeface="Corbel" panose="020B0503020204020204" pitchFamily="34" charset="0"/>
              </a:defRPr>
            </a:lvl1pPr>
          </a:lstStyle>
          <a:p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Favores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sexuales</a:t>
            </a:r>
            <a:endParaRPr lang="en-US" dirty="0">
              <a:solidFill>
                <a:schemeClr val="accent2">
                  <a:lumMod val="50000"/>
                </a:schemeClr>
              </a:solidFill>
            </a:endParaRPr>
          </a:p>
        </p:txBody>
      </p:sp>
      <p:cxnSp>
        <p:nvCxnSpPr>
          <p:cNvPr id="61" name="Gerade Verbindung 36"/>
          <p:cNvCxnSpPr/>
          <p:nvPr/>
        </p:nvCxnSpPr>
        <p:spPr bwMode="gray">
          <a:xfrm>
            <a:off x="601265" y="3267030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36"/>
          <p:cNvCxnSpPr/>
          <p:nvPr/>
        </p:nvCxnSpPr>
        <p:spPr bwMode="gray">
          <a:xfrm>
            <a:off x="620315" y="2719029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36"/>
          <p:cNvCxnSpPr/>
          <p:nvPr/>
        </p:nvCxnSpPr>
        <p:spPr bwMode="gray">
          <a:xfrm>
            <a:off x="580928" y="6526046"/>
            <a:ext cx="1027377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 Placeholder 1"/>
          <p:cNvSpPr txBox="1">
            <a:spLocks/>
          </p:cNvSpPr>
          <p:nvPr/>
        </p:nvSpPr>
        <p:spPr bwMode="gray">
          <a:xfrm>
            <a:off x="601265" y="4343807"/>
            <a:ext cx="8352896" cy="423526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96000" rIns="0" bIns="0" rtlCol="0" anchor="ctr">
            <a:noAutofit/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en-US" sz="2400" b="1" dirty="0" err="1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Caso</a:t>
            </a:r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 Lava </a:t>
            </a:r>
            <a:r>
              <a:rPr lang="en-US" sz="2400" b="1" dirty="0" err="1">
                <a:solidFill>
                  <a:schemeClr val="accent2">
                    <a:lumMod val="50000"/>
                  </a:schemeClr>
                </a:solidFill>
                <a:latin typeface="Corbel" panose="020B0503020204020204" pitchFamily="34" charset="0"/>
              </a:rPr>
              <a:t>Jato</a:t>
            </a:r>
            <a:endParaRPr lang="en-US" sz="2400" b="1" dirty="0">
              <a:solidFill>
                <a:schemeClr val="accent2">
                  <a:lumMod val="50000"/>
                </a:schemeClr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793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3" grpId="0"/>
      <p:bldP spid="18" grpId="0"/>
      <p:bldP spid="24" grpId="0"/>
      <p:bldP spid="30" grpId="0"/>
      <p:bldP spid="34" grpId="0"/>
      <p:bldP spid="36" grpId="0"/>
      <p:bldP spid="39" grpId="0"/>
      <p:bldP spid="6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5 Título"/>
          <p:cNvSpPr txBox="1">
            <a:spLocks/>
          </p:cNvSpPr>
          <p:nvPr/>
        </p:nvSpPr>
        <p:spPr>
          <a:xfrm>
            <a:off x="371592" y="219651"/>
            <a:ext cx="9064178" cy="432047"/>
          </a:xfrm>
          <a:prstGeom prst="rect">
            <a:avLst/>
          </a:prstGeom>
        </p:spPr>
        <p:txBody>
          <a:bodyPr/>
          <a:lstStyle/>
          <a:p>
            <a:r>
              <a:rPr lang="es-PE" sz="2400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¿Quiénes pagaron coimas en los últimos 12 meses?</a:t>
            </a:r>
          </a:p>
          <a:p>
            <a:r>
              <a:rPr lang="es-PE" sz="2000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Personas que dieron al menos una coima durante el 2019 (policía, municipio, etc.)  </a:t>
            </a:r>
          </a:p>
        </p:txBody>
      </p:sp>
      <p:graphicFrame>
        <p:nvGraphicFramePr>
          <p:cNvPr id="48" name="20 Gráfico"/>
          <p:cNvGraphicFramePr/>
          <p:nvPr>
            <p:extLst>
              <p:ext uri="{D42A27DB-BD31-4B8C-83A1-F6EECF244321}">
                <p14:modId xmlns:p14="http://schemas.microsoft.com/office/powerpoint/2010/main" val="229804383"/>
              </p:ext>
            </p:extLst>
          </p:nvPr>
        </p:nvGraphicFramePr>
        <p:xfrm>
          <a:off x="602900" y="1255595"/>
          <a:ext cx="4665136" cy="5125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5" name="Conector recto 4"/>
          <p:cNvCxnSpPr/>
          <p:nvPr/>
        </p:nvCxnSpPr>
        <p:spPr>
          <a:xfrm>
            <a:off x="594703" y="1638879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/>
          <p:cNvCxnSpPr/>
          <p:nvPr/>
        </p:nvCxnSpPr>
        <p:spPr>
          <a:xfrm>
            <a:off x="594703" y="3633727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/>
          <p:cNvCxnSpPr/>
          <p:nvPr/>
        </p:nvCxnSpPr>
        <p:spPr>
          <a:xfrm>
            <a:off x="594703" y="4632288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/>
          <p:cNvCxnSpPr/>
          <p:nvPr/>
        </p:nvCxnSpPr>
        <p:spPr>
          <a:xfrm>
            <a:off x="594703" y="5301029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uadroTexto 8"/>
          <p:cNvSpPr txBox="1"/>
          <p:nvPr/>
        </p:nvSpPr>
        <p:spPr bwMode="gray">
          <a:xfrm>
            <a:off x="6141660" y="3901131"/>
            <a:ext cx="180562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>
                <a:solidFill>
                  <a:schemeClr val="accent1"/>
                </a:solidFill>
                <a:latin typeface="Corbel" panose="020B0503020204020204" pitchFamily="34" charset="0"/>
                <a:cs typeface="Arial" pitchFamily="34" charset="0"/>
              </a:rPr>
              <a:t>Nivel socioeconómico</a:t>
            </a:r>
          </a:p>
        </p:txBody>
      </p:sp>
      <p:sp>
        <p:nvSpPr>
          <p:cNvPr id="10" name="CuadroTexto 9"/>
          <p:cNvSpPr txBox="1"/>
          <p:nvPr/>
        </p:nvSpPr>
        <p:spPr bwMode="gray">
          <a:xfrm>
            <a:off x="6141660" y="5709950"/>
            <a:ext cx="12526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>
                <a:solidFill>
                  <a:schemeClr val="accent1"/>
                </a:solidFill>
                <a:latin typeface="Corbel" panose="020B0503020204020204" pitchFamily="34" charset="0"/>
                <a:cs typeface="Arial" pitchFamily="34" charset="0"/>
              </a:rPr>
              <a:t>Edad</a:t>
            </a:r>
          </a:p>
        </p:txBody>
      </p:sp>
      <p:sp>
        <p:nvSpPr>
          <p:cNvPr id="11" name="Freeform 43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438106" y="3905734"/>
            <a:ext cx="362036" cy="502235"/>
          </a:xfrm>
          <a:custGeom>
            <a:avLst/>
            <a:gdLst>
              <a:gd name="T0" fmla="*/ 1001 w 1442"/>
              <a:gd name="T1" fmla="*/ 1240 h 2000"/>
              <a:gd name="T2" fmla="*/ 761 w 1442"/>
              <a:gd name="T3" fmla="*/ 1040 h 2000"/>
              <a:gd name="T4" fmla="*/ 681 w 1442"/>
              <a:gd name="T5" fmla="*/ 960 h 2000"/>
              <a:gd name="T6" fmla="*/ 641 w 1442"/>
              <a:gd name="T7" fmla="*/ 1040 h 2000"/>
              <a:gd name="T8" fmla="*/ 641 w 1442"/>
              <a:gd name="T9" fmla="*/ 1440 h 2000"/>
              <a:gd name="T10" fmla="*/ 681 w 1442"/>
              <a:gd name="T11" fmla="*/ 1680 h 2000"/>
              <a:gd name="T12" fmla="*/ 521 w 1442"/>
              <a:gd name="T13" fmla="*/ 1560 h 2000"/>
              <a:gd name="T14" fmla="*/ 641 w 1442"/>
              <a:gd name="T15" fmla="*/ 1760 h 2000"/>
              <a:gd name="T16" fmla="*/ 681 w 1442"/>
              <a:gd name="T17" fmla="*/ 1840 h 2000"/>
              <a:gd name="T18" fmla="*/ 761 w 1442"/>
              <a:gd name="T19" fmla="*/ 1760 h 2000"/>
              <a:gd name="T20" fmla="*/ 1001 w 1442"/>
              <a:gd name="T21" fmla="*/ 1560 h 2000"/>
              <a:gd name="T22" fmla="*/ 761 w 1442"/>
              <a:gd name="T23" fmla="*/ 1360 h 2000"/>
              <a:gd name="T24" fmla="*/ 801 w 1442"/>
              <a:gd name="T25" fmla="*/ 1120 h 2000"/>
              <a:gd name="T26" fmla="*/ 831 w 1442"/>
              <a:gd name="T27" fmla="*/ 13 h 2000"/>
              <a:gd name="T28" fmla="*/ 1140 w 1442"/>
              <a:gd name="T29" fmla="*/ 190 h 2000"/>
              <a:gd name="T30" fmla="*/ 831 w 1442"/>
              <a:gd name="T31" fmla="*/ 13 h 2000"/>
              <a:gd name="T32" fmla="*/ 373 w 1442"/>
              <a:gd name="T33" fmla="*/ 350 h 2000"/>
              <a:gd name="T34" fmla="*/ 317 w 1442"/>
              <a:gd name="T35" fmla="*/ 114 h 2000"/>
              <a:gd name="T36" fmla="*/ 960 w 1442"/>
              <a:gd name="T37" fmla="*/ 400 h 2000"/>
              <a:gd name="T38" fmla="*/ 681 w 1442"/>
              <a:gd name="T39" fmla="*/ 1120 h 2000"/>
              <a:gd name="T40" fmla="*/ 521 w 1442"/>
              <a:gd name="T41" fmla="*/ 1240 h 2000"/>
              <a:gd name="T42" fmla="*/ 641 w 1442"/>
              <a:gd name="T43" fmla="*/ 1360 h 2000"/>
              <a:gd name="T44" fmla="*/ 681 w 1442"/>
              <a:gd name="T45" fmla="*/ 1120 h 2000"/>
              <a:gd name="T46" fmla="*/ 801 w 1442"/>
              <a:gd name="T47" fmla="*/ 1680 h 2000"/>
              <a:gd name="T48" fmla="*/ 801 w 1442"/>
              <a:gd name="T49" fmla="*/ 1440 h 2000"/>
              <a:gd name="T50" fmla="*/ 761 w 1442"/>
              <a:gd name="T51" fmla="*/ 1680 h 2000"/>
              <a:gd name="T52" fmla="*/ 1160 w 1442"/>
              <a:gd name="T53" fmla="*/ 872 h 2000"/>
              <a:gd name="T54" fmla="*/ 1441 w 1442"/>
              <a:gd name="T55" fmla="*/ 1494 h 2000"/>
              <a:gd name="T56" fmla="*/ 1409 w 1442"/>
              <a:gd name="T57" fmla="*/ 1894 h 2000"/>
              <a:gd name="T58" fmla="*/ 161 w 1442"/>
              <a:gd name="T59" fmla="*/ 2000 h 2000"/>
              <a:gd name="T60" fmla="*/ 1 w 1442"/>
              <a:gd name="T61" fmla="*/ 1516 h 2000"/>
              <a:gd name="T62" fmla="*/ 65 w 1442"/>
              <a:gd name="T63" fmla="*/ 1170 h 2000"/>
              <a:gd name="T64" fmla="*/ 481 w 1442"/>
              <a:gd name="T65" fmla="*/ 640 h 2000"/>
              <a:gd name="T66" fmla="*/ 961 w 1442"/>
              <a:gd name="T67" fmla="*/ 480 h 2000"/>
              <a:gd name="T68" fmla="*/ 481 w 1442"/>
              <a:gd name="T69" fmla="*/ 560 h 2000"/>
              <a:gd name="T70" fmla="*/ 961 w 1442"/>
              <a:gd name="T71" fmla="*/ 480 h 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42" h="2000">
                <a:moveTo>
                  <a:pt x="921" y="1240"/>
                </a:moveTo>
                <a:cubicBezTo>
                  <a:pt x="1001" y="1240"/>
                  <a:pt x="1001" y="1240"/>
                  <a:pt x="1001" y="1240"/>
                </a:cubicBezTo>
                <a:cubicBezTo>
                  <a:pt x="1001" y="1130"/>
                  <a:pt x="911" y="1040"/>
                  <a:pt x="801" y="1040"/>
                </a:cubicBezTo>
                <a:cubicBezTo>
                  <a:pt x="761" y="1040"/>
                  <a:pt x="761" y="1040"/>
                  <a:pt x="761" y="1040"/>
                </a:cubicBezTo>
                <a:cubicBezTo>
                  <a:pt x="761" y="960"/>
                  <a:pt x="761" y="960"/>
                  <a:pt x="761" y="960"/>
                </a:cubicBezTo>
                <a:cubicBezTo>
                  <a:pt x="681" y="960"/>
                  <a:pt x="681" y="960"/>
                  <a:pt x="681" y="960"/>
                </a:cubicBezTo>
                <a:cubicBezTo>
                  <a:pt x="681" y="1040"/>
                  <a:pt x="681" y="1040"/>
                  <a:pt x="681" y="1040"/>
                </a:cubicBezTo>
                <a:cubicBezTo>
                  <a:pt x="641" y="1040"/>
                  <a:pt x="641" y="1040"/>
                  <a:pt x="641" y="1040"/>
                </a:cubicBezTo>
                <a:cubicBezTo>
                  <a:pt x="531" y="1040"/>
                  <a:pt x="441" y="1130"/>
                  <a:pt x="441" y="1240"/>
                </a:cubicBezTo>
                <a:cubicBezTo>
                  <a:pt x="441" y="1350"/>
                  <a:pt x="531" y="1440"/>
                  <a:pt x="641" y="1440"/>
                </a:cubicBezTo>
                <a:cubicBezTo>
                  <a:pt x="681" y="1440"/>
                  <a:pt x="681" y="1440"/>
                  <a:pt x="681" y="1440"/>
                </a:cubicBezTo>
                <a:cubicBezTo>
                  <a:pt x="681" y="1680"/>
                  <a:pt x="681" y="1680"/>
                  <a:pt x="681" y="1680"/>
                </a:cubicBezTo>
                <a:cubicBezTo>
                  <a:pt x="641" y="1680"/>
                  <a:pt x="641" y="1680"/>
                  <a:pt x="641" y="1680"/>
                </a:cubicBezTo>
                <a:cubicBezTo>
                  <a:pt x="575" y="1680"/>
                  <a:pt x="521" y="1626"/>
                  <a:pt x="521" y="1560"/>
                </a:cubicBezTo>
                <a:cubicBezTo>
                  <a:pt x="441" y="1560"/>
                  <a:pt x="441" y="1560"/>
                  <a:pt x="441" y="1560"/>
                </a:cubicBezTo>
                <a:cubicBezTo>
                  <a:pt x="441" y="1670"/>
                  <a:pt x="531" y="1760"/>
                  <a:pt x="641" y="1760"/>
                </a:cubicBezTo>
                <a:cubicBezTo>
                  <a:pt x="681" y="1760"/>
                  <a:pt x="681" y="1760"/>
                  <a:pt x="681" y="1760"/>
                </a:cubicBezTo>
                <a:cubicBezTo>
                  <a:pt x="681" y="1840"/>
                  <a:pt x="681" y="1840"/>
                  <a:pt x="681" y="1840"/>
                </a:cubicBezTo>
                <a:cubicBezTo>
                  <a:pt x="761" y="1840"/>
                  <a:pt x="761" y="1840"/>
                  <a:pt x="761" y="1840"/>
                </a:cubicBezTo>
                <a:cubicBezTo>
                  <a:pt x="761" y="1760"/>
                  <a:pt x="761" y="1760"/>
                  <a:pt x="761" y="1760"/>
                </a:cubicBezTo>
                <a:cubicBezTo>
                  <a:pt x="801" y="1760"/>
                  <a:pt x="801" y="1760"/>
                  <a:pt x="801" y="1760"/>
                </a:cubicBezTo>
                <a:cubicBezTo>
                  <a:pt x="911" y="1760"/>
                  <a:pt x="1001" y="1670"/>
                  <a:pt x="1001" y="1560"/>
                </a:cubicBezTo>
                <a:cubicBezTo>
                  <a:pt x="1001" y="1450"/>
                  <a:pt x="911" y="1360"/>
                  <a:pt x="801" y="1360"/>
                </a:cubicBezTo>
                <a:cubicBezTo>
                  <a:pt x="761" y="1360"/>
                  <a:pt x="761" y="1360"/>
                  <a:pt x="761" y="1360"/>
                </a:cubicBezTo>
                <a:cubicBezTo>
                  <a:pt x="761" y="1120"/>
                  <a:pt x="761" y="1120"/>
                  <a:pt x="761" y="1120"/>
                </a:cubicBezTo>
                <a:cubicBezTo>
                  <a:pt x="801" y="1120"/>
                  <a:pt x="801" y="1120"/>
                  <a:pt x="801" y="1120"/>
                </a:cubicBezTo>
                <a:cubicBezTo>
                  <a:pt x="867" y="1120"/>
                  <a:pt x="921" y="1174"/>
                  <a:pt x="921" y="1240"/>
                </a:cubicBezTo>
                <a:close/>
                <a:moveTo>
                  <a:pt x="831" y="13"/>
                </a:moveTo>
                <a:cubicBezTo>
                  <a:pt x="874" y="4"/>
                  <a:pt x="918" y="0"/>
                  <a:pt x="961" y="0"/>
                </a:cubicBezTo>
                <a:cubicBezTo>
                  <a:pt x="1064" y="0"/>
                  <a:pt x="1140" y="90"/>
                  <a:pt x="1140" y="190"/>
                </a:cubicBezTo>
                <a:cubicBezTo>
                  <a:pt x="1140" y="269"/>
                  <a:pt x="1097" y="330"/>
                  <a:pt x="1038" y="378"/>
                </a:cubicBezTo>
                <a:cubicBezTo>
                  <a:pt x="1023" y="209"/>
                  <a:pt x="947" y="88"/>
                  <a:pt x="831" y="13"/>
                </a:cubicBezTo>
                <a:close/>
                <a:moveTo>
                  <a:pt x="433" y="400"/>
                </a:moveTo>
                <a:cubicBezTo>
                  <a:pt x="413" y="386"/>
                  <a:pt x="392" y="370"/>
                  <a:pt x="373" y="350"/>
                </a:cubicBezTo>
                <a:cubicBezTo>
                  <a:pt x="323" y="300"/>
                  <a:pt x="302" y="243"/>
                  <a:pt x="302" y="190"/>
                </a:cubicBezTo>
                <a:cubicBezTo>
                  <a:pt x="302" y="163"/>
                  <a:pt x="307" y="138"/>
                  <a:pt x="317" y="114"/>
                </a:cubicBezTo>
                <a:cubicBezTo>
                  <a:pt x="345" y="47"/>
                  <a:pt x="407" y="0"/>
                  <a:pt x="481" y="0"/>
                </a:cubicBezTo>
                <a:cubicBezTo>
                  <a:pt x="740" y="0"/>
                  <a:pt x="943" y="123"/>
                  <a:pt x="960" y="400"/>
                </a:cubicBezTo>
                <a:lnTo>
                  <a:pt x="433" y="400"/>
                </a:lnTo>
                <a:close/>
                <a:moveTo>
                  <a:pt x="681" y="1120"/>
                </a:moveTo>
                <a:cubicBezTo>
                  <a:pt x="641" y="1120"/>
                  <a:pt x="641" y="1120"/>
                  <a:pt x="641" y="1120"/>
                </a:cubicBezTo>
                <a:cubicBezTo>
                  <a:pt x="575" y="1120"/>
                  <a:pt x="521" y="1174"/>
                  <a:pt x="521" y="1240"/>
                </a:cubicBezTo>
                <a:cubicBezTo>
                  <a:pt x="521" y="1273"/>
                  <a:pt x="535" y="1303"/>
                  <a:pt x="556" y="1325"/>
                </a:cubicBezTo>
                <a:cubicBezTo>
                  <a:pt x="578" y="1346"/>
                  <a:pt x="608" y="1360"/>
                  <a:pt x="641" y="1360"/>
                </a:cubicBezTo>
                <a:cubicBezTo>
                  <a:pt x="681" y="1360"/>
                  <a:pt x="681" y="1360"/>
                  <a:pt x="681" y="1360"/>
                </a:cubicBezTo>
                <a:lnTo>
                  <a:pt x="681" y="1120"/>
                </a:lnTo>
                <a:close/>
                <a:moveTo>
                  <a:pt x="761" y="1680"/>
                </a:moveTo>
                <a:cubicBezTo>
                  <a:pt x="801" y="1680"/>
                  <a:pt x="801" y="1680"/>
                  <a:pt x="801" y="1680"/>
                </a:cubicBezTo>
                <a:cubicBezTo>
                  <a:pt x="867" y="1680"/>
                  <a:pt x="921" y="1626"/>
                  <a:pt x="921" y="1560"/>
                </a:cubicBezTo>
                <a:cubicBezTo>
                  <a:pt x="921" y="1494"/>
                  <a:pt x="867" y="1440"/>
                  <a:pt x="801" y="1440"/>
                </a:cubicBezTo>
                <a:cubicBezTo>
                  <a:pt x="761" y="1440"/>
                  <a:pt x="761" y="1440"/>
                  <a:pt x="761" y="1440"/>
                </a:cubicBezTo>
                <a:lnTo>
                  <a:pt x="761" y="1680"/>
                </a:lnTo>
                <a:close/>
                <a:moveTo>
                  <a:pt x="961" y="640"/>
                </a:moveTo>
                <a:cubicBezTo>
                  <a:pt x="961" y="679"/>
                  <a:pt x="1092" y="806"/>
                  <a:pt x="1160" y="872"/>
                </a:cubicBezTo>
                <a:cubicBezTo>
                  <a:pt x="1252" y="961"/>
                  <a:pt x="1326" y="1050"/>
                  <a:pt x="1377" y="1170"/>
                </a:cubicBezTo>
                <a:cubicBezTo>
                  <a:pt x="1420" y="1268"/>
                  <a:pt x="1441" y="1374"/>
                  <a:pt x="1441" y="1494"/>
                </a:cubicBezTo>
                <a:cubicBezTo>
                  <a:pt x="1441" y="1516"/>
                  <a:pt x="1441" y="1516"/>
                  <a:pt x="1441" y="1516"/>
                </a:cubicBezTo>
                <a:cubicBezTo>
                  <a:pt x="1441" y="1635"/>
                  <a:pt x="1442" y="1779"/>
                  <a:pt x="1409" y="1894"/>
                </a:cubicBezTo>
                <a:cubicBezTo>
                  <a:pt x="1392" y="1955"/>
                  <a:pt x="1348" y="2000"/>
                  <a:pt x="1281" y="2000"/>
                </a:cubicBezTo>
                <a:cubicBezTo>
                  <a:pt x="161" y="2000"/>
                  <a:pt x="161" y="2000"/>
                  <a:pt x="161" y="2000"/>
                </a:cubicBezTo>
                <a:cubicBezTo>
                  <a:pt x="94" y="2000"/>
                  <a:pt x="50" y="1955"/>
                  <a:pt x="33" y="1894"/>
                </a:cubicBezTo>
                <a:cubicBezTo>
                  <a:pt x="0" y="1779"/>
                  <a:pt x="1" y="1635"/>
                  <a:pt x="1" y="1516"/>
                </a:cubicBezTo>
                <a:cubicBezTo>
                  <a:pt x="1" y="1494"/>
                  <a:pt x="1" y="1494"/>
                  <a:pt x="1" y="1494"/>
                </a:cubicBezTo>
                <a:cubicBezTo>
                  <a:pt x="1" y="1374"/>
                  <a:pt x="22" y="1268"/>
                  <a:pt x="65" y="1170"/>
                </a:cubicBezTo>
                <a:cubicBezTo>
                  <a:pt x="116" y="1050"/>
                  <a:pt x="190" y="961"/>
                  <a:pt x="282" y="872"/>
                </a:cubicBezTo>
                <a:cubicBezTo>
                  <a:pt x="350" y="806"/>
                  <a:pt x="481" y="679"/>
                  <a:pt x="481" y="640"/>
                </a:cubicBezTo>
                <a:lnTo>
                  <a:pt x="961" y="640"/>
                </a:lnTo>
                <a:close/>
                <a:moveTo>
                  <a:pt x="961" y="480"/>
                </a:moveTo>
                <a:cubicBezTo>
                  <a:pt x="481" y="480"/>
                  <a:pt x="481" y="480"/>
                  <a:pt x="481" y="480"/>
                </a:cubicBezTo>
                <a:cubicBezTo>
                  <a:pt x="481" y="560"/>
                  <a:pt x="481" y="560"/>
                  <a:pt x="481" y="560"/>
                </a:cubicBezTo>
                <a:cubicBezTo>
                  <a:pt x="961" y="560"/>
                  <a:pt x="961" y="560"/>
                  <a:pt x="961" y="560"/>
                </a:cubicBezTo>
                <a:lnTo>
                  <a:pt x="961" y="480"/>
                </a:lnTo>
                <a:close/>
              </a:path>
            </a:pathLst>
          </a:custGeom>
          <a:solidFill>
            <a:srgbClr val="7DB4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2" name="Freeform 22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409034" y="5533296"/>
            <a:ext cx="515853" cy="505336"/>
          </a:xfrm>
          <a:custGeom>
            <a:avLst/>
            <a:gdLst>
              <a:gd name="T0" fmla="*/ 1640 w 2160"/>
              <a:gd name="T1" fmla="*/ 317 h 2116"/>
              <a:gd name="T2" fmla="*/ 1753 w 2160"/>
              <a:gd name="T3" fmla="*/ 214 h 2116"/>
              <a:gd name="T4" fmla="*/ 1760 w 2160"/>
              <a:gd name="T5" fmla="*/ 436 h 2116"/>
              <a:gd name="T6" fmla="*/ 1680 w 2160"/>
              <a:gd name="T7" fmla="*/ 916 h 2116"/>
              <a:gd name="T8" fmla="*/ 320 w 2160"/>
              <a:gd name="T9" fmla="*/ 656 h 2116"/>
              <a:gd name="T10" fmla="*/ 560 w 2160"/>
              <a:gd name="T11" fmla="*/ 916 h 2116"/>
              <a:gd name="T12" fmla="*/ 640 w 2160"/>
              <a:gd name="T13" fmla="*/ 756 h 2116"/>
              <a:gd name="T14" fmla="*/ 880 w 2160"/>
              <a:gd name="T15" fmla="*/ 562 h 2116"/>
              <a:gd name="T16" fmla="*/ 1080 w 2160"/>
              <a:gd name="T17" fmla="*/ 1196 h 2116"/>
              <a:gd name="T18" fmla="*/ 1280 w 2160"/>
              <a:gd name="T19" fmla="*/ 562 h 2116"/>
              <a:gd name="T20" fmla="*/ 1520 w 2160"/>
              <a:gd name="T21" fmla="*/ 756 h 2116"/>
              <a:gd name="T22" fmla="*/ 1600 w 2160"/>
              <a:gd name="T23" fmla="*/ 916 h 2116"/>
              <a:gd name="T24" fmla="*/ 1840 w 2160"/>
              <a:gd name="T25" fmla="*/ 656 h 2116"/>
              <a:gd name="T26" fmla="*/ 1080 w 2160"/>
              <a:gd name="T27" fmla="*/ 1276 h 2116"/>
              <a:gd name="T28" fmla="*/ 0 w 2160"/>
              <a:gd name="T29" fmla="*/ 916 h 2116"/>
              <a:gd name="T30" fmla="*/ 2121 w 2160"/>
              <a:gd name="T31" fmla="*/ 1280 h 2116"/>
              <a:gd name="T32" fmla="*/ 1974 w 2160"/>
              <a:gd name="T33" fmla="*/ 1552 h 2116"/>
              <a:gd name="T34" fmla="*/ 1666 w 2160"/>
              <a:gd name="T35" fmla="*/ 1627 h 2116"/>
              <a:gd name="T36" fmla="*/ 1322 w 2160"/>
              <a:gd name="T37" fmla="*/ 1605 h 2116"/>
              <a:gd name="T38" fmla="*/ 984 w 2160"/>
              <a:gd name="T39" fmla="*/ 1723 h 2116"/>
              <a:gd name="T40" fmla="*/ 574 w 2160"/>
              <a:gd name="T41" fmla="*/ 1736 h 2116"/>
              <a:gd name="T42" fmla="*/ 267 w 2160"/>
              <a:gd name="T43" fmla="*/ 1531 h 2116"/>
              <a:gd name="T44" fmla="*/ 78 w 2160"/>
              <a:gd name="T45" fmla="*/ 1344 h 2116"/>
              <a:gd name="T46" fmla="*/ 1080 w 2160"/>
              <a:gd name="T47" fmla="*/ 1352 h 2116"/>
              <a:gd name="T48" fmla="*/ 2160 w 2160"/>
              <a:gd name="T49" fmla="*/ 1364 h 2116"/>
              <a:gd name="T50" fmla="*/ 1827 w 2160"/>
              <a:gd name="T51" fmla="*/ 2020 h 2116"/>
              <a:gd name="T52" fmla="*/ 0 w 2160"/>
              <a:gd name="T53" fmla="*/ 1756 h 2116"/>
              <a:gd name="T54" fmla="*/ 66 w 2160"/>
              <a:gd name="T55" fmla="*/ 1517 h 2116"/>
              <a:gd name="T56" fmla="*/ 361 w 2160"/>
              <a:gd name="T57" fmla="*/ 1572 h 2116"/>
              <a:gd name="T58" fmla="*/ 688 w 2160"/>
              <a:gd name="T59" fmla="*/ 1750 h 2116"/>
              <a:gd name="T60" fmla="*/ 1080 w 2160"/>
              <a:gd name="T61" fmla="*/ 1876 h 2116"/>
              <a:gd name="T62" fmla="*/ 1472 w 2160"/>
              <a:gd name="T63" fmla="*/ 1750 h 2116"/>
              <a:gd name="T64" fmla="*/ 1799 w 2160"/>
              <a:gd name="T65" fmla="*/ 1572 h 2116"/>
              <a:gd name="T66" fmla="*/ 2094 w 2160"/>
              <a:gd name="T67" fmla="*/ 1517 h 2116"/>
              <a:gd name="T68" fmla="*/ 793 w 2160"/>
              <a:gd name="T69" fmla="*/ 53 h 2116"/>
              <a:gd name="T70" fmla="*/ 680 w 2160"/>
              <a:gd name="T71" fmla="*/ 156 h 2116"/>
              <a:gd name="T72" fmla="*/ 793 w 2160"/>
              <a:gd name="T73" fmla="*/ 53 h 2116"/>
              <a:gd name="T74" fmla="*/ 1084 w 2160"/>
              <a:gd name="T75" fmla="*/ 556 h 2116"/>
              <a:gd name="T76" fmla="*/ 1080 w 2160"/>
              <a:gd name="T77" fmla="*/ 1116 h 2116"/>
              <a:gd name="T78" fmla="*/ 1076 w 2160"/>
              <a:gd name="T79" fmla="*/ 556 h 2116"/>
              <a:gd name="T80" fmla="*/ 1075 w 2160"/>
              <a:gd name="T81" fmla="*/ 321 h 2116"/>
              <a:gd name="T82" fmla="*/ 519 w 2160"/>
              <a:gd name="T83" fmla="*/ 317 h 2116"/>
              <a:gd name="T84" fmla="*/ 480 w 2160"/>
              <a:gd name="T85" fmla="*/ 916 h 2116"/>
              <a:gd name="T86" fmla="*/ 400 w 2160"/>
              <a:gd name="T87" fmla="*/ 436 h 2116"/>
              <a:gd name="T88" fmla="*/ 405 w 2160"/>
              <a:gd name="T89" fmla="*/ 219 h 2116"/>
              <a:gd name="T90" fmla="*/ 1433 w 2160"/>
              <a:gd name="T91" fmla="*/ 54 h 2116"/>
              <a:gd name="T92" fmla="*/ 1440 w 2160"/>
              <a:gd name="T93" fmla="*/ 276 h 2116"/>
              <a:gd name="T94" fmla="*/ 1360 w 2160"/>
              <a:gd name="T95" fmla="*/ 756 h 2116"/>
              <a:gd name="T96" fmla="*/ 1320 w 2160"/>
              <a:gd name="T97" fmla="*/ 157 h 2116"/>
              <a:gd name="T98" fmla="*/ 1433 w 2160"/>
              <a:gd name="T99" fmla="*/ 54 h 2116"/>
              <a:gd name="T100" fmla="*/ 800 w 2160"/>
              <a:gd name="T101" fmla="*/ 276 h 2116"/>
              <a:gd name="T102" fmla="*/ 720 w 2160"/>
              <a:gd name="T103" fmla="*/ 756 h 2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60" h="2116">
                <a:moveTo>
                  <a:pt x="1680" y="436"/>
                </a:moveTo>
                <a:cubicBezTo>
                  <a:pt x="1680" y="416"/>
                  <a:pt x="1696" y="399"/>
                  <a:pt x="1716" y="396"/>
                </a:cubicBezTo>
                <a:cubicBezTo>
                  <a:pt x="1673" y="394"/>
                  <a:pt x="1640" y="359"/>
                  <a:pt x="1640" y="317"/>
                </a:cubicBezTo>
                <a:cubicBezTo>
                  <a:pt x="1640" y="280"/>
                  <a:pt x="1668" y="250"/>
                  <a:pt x="1685" y="219"/>
                </a:cubicBezTo>
                <a:cubicBezTo>
                  <a:pt x="1715" y="161"/>
                  <a:pt x="1715" y="161"/>
                  <a:pt x="1715" y="161"/>
                </a:cubicBezTo>
                <a:cubicBezTo>
                  <a:pt x="1753" y="214"/>
                  <a:pt x="1753" y="214"/>
                  <a:pt x="1753" y="214"/>
                </a:cubicBezTo>
                <a:cubicBezTo>
                  <a:pt x="1774" y="244"/>
                  <a:pt x="1799" y="279"/>
                  <a:pt x="1799" y="317"/>
                </a:cubicBezTo>
                <a:cubicBezTo>
                  <a:pt x="1799" y="359"/>
                  <a:pt x="1766" y="394"/>
                  <a:pt x="1724" y="396"/>
                </a:cubicBezTo>
                <a:cubicBezTo>
                  <a:pt x="1744" y="398"/>
                  <a:pt x="1760" y="416"/>
                  <a:pt x="1760" y="436"/>
                </a:cubicBezTo>
                <a:cubicBezTo>
                  <a:pt x="1760" y="916"/>
                  <a:pt x="1760" y="916"/>
                  <a:pt x="1760" y="916"/>
                </a:cubicBezTo>
                <a:cubicBezTo>
                  <a:pt x="1760" y="938"/>
                  <a:pt x="1742" y="956"/>
                  <a:pt x="1720" y="956"/>
                </a:cubicBezTo>
                <a:cubicBezTo>
                  <a:pt x="1698" y="956"/>
                  <a:pt x="1680" y="938"/>
                  <a:pt x="1680" y="916"/>
                </a:cubicBezTo>
                <a:lnTo>
                  <a:pt x="1680" y="436"/>
                </a:lnTo>
                <a:close/>
                <a:moveTo>
                  <a:pt x="0" y="916"/>
                </a:moveTo>
                <a:cubicBezTo>
                  <a:pt x="0" y="810"/>
                  <a:pt x="122" y="719"/>
                  <a:pt x="320" y="656"/>
                </a:cubicBezTo>
                <a:cubicBezTo>
                  <a:pt x="320" y="916"/>
                  <a:pt x="320" y="916"/>
                  <a:pt x="320" y="916"/>
                </a:cubicBezTo>
                <a:cubicBezTo>
                  <a:pt x="320" y="982"/>
                  <a:pt x="374" y="1036"/>
                  <a:pt x="440" y="1036"/>
                </a:cubicBezTo>
                <a:cubicBezTo>
                  <a:pt x="506" y="1036"/>
                  <a:pt x="560" y="982"/>
                  <a:pt x="560" y="916"/>
                </a:cubicBezTo>
                <a:cubicBezTo>
                  <a:pt x="560" y="598"/>
                  <a:pt x="560" y="598"/>
                  <a:pt x="560" y="598"/>
                </a:cubicBezTo>
                <a:cubicBezTo>
                  <a:pt x="586" y="594"/>
                  <a:pt x="613" y="590"/>
                  <a:pt x="640" y="586"/>
                </a:cubicBezTo>
                <a:cubicBezTo>
                  <a:pt x="640" y="756"/>
                  <a:pt x="640" y="756"/>
                  <a:pt x="640" y="756"/>
                </a:cubicBezTo>
                <a:cubicBezTo>
                  <a:pt x="640" y="822"/>
                  <a:pt x="694" y="876"/>
                  <a:pt x="760" y="876"/>
                </a:cubicBezTo>
                <a:cubicBezTo>
                  <a:pt x="826" y="876"/>
                  <a:pt x="880" y="822"/>
                  <a:pt x="880" y="756"/>
                </a:cubicBezTo>
                <a:cubicBezTo>
                  <a:pt x="880" y="562"/>
                  <a:pt x="880" y="562"/>
                  <a:pt x="880" y="562"/>
                </a:cubicBezTo>
                <a:cubicBezTo>
                  <a:pt x="906" y="560"/>
                  <a:pt x="933" y="559"/>
                  <a:pt x="960" y="558"/>
                </a:cubicBezTo>
                <a:cubicBezTo>
                  <a:pt x="960" y="1076"/>
                  <a:pt x="960" y="1076"/>
                  <a:pt x="960" y="1076"/>
                </a:cubicBezTo>
                <a:cubicBezTo>
                  <a:pt x="960" y="1142"/>
                  <a:pt x="1014" y="1196"/>
                  <a:pt x="1080" y="1196"/>
                </a:cubicBezTo>
                <a:cubicBezTo>
                  <a:pt x="1146" y="1196"/>
                  <a:pt x="1200" y="1142"/>
                  <a:pt x="1200" y="1076"/>
                </a:cubicBezTo>
                <a:cubicBezTo>
                  <a:pt x="1200" y="558"/>
                  <a:pt x="1200" y="558"/>
                  <a:pt x="1200" y="558"/>
                </a:cubicBezTo>
                <a:cubicBezTo>
                  <a:pt x="1227" y="559"/>
                  <a:pt x="1254" y="560"/>
                  <a:pt x="1280" y="562"/>
                </a:cubicBezTo>
                <a:cubicBezTo>
                  <a:pt x="1280" y="756"/>
                  <a:pt x="1280" y="756"/>
                  <a:pt x="1280" y="756"/>
                </a:cubicBezTo>
                <a:cubicBezTo>
                  <a:pt x="1280" y="822"/>
                  <a:pt x="1334" y="876"/>
                  <a:pt x="1400" y="876"/>
                </a:cubicBezTo>
                <a:cubicBezTo>
                  <a:pt x="1466" y="876"/>
                  <a:pt x="1520" y="822"/>
                  <a:pt x="1520" y="756"/>
                </a:cubicBezTo>
                <a:cubicBezTo>
                  <a:pt x="1520" y="586"/>
                  <a:pt x="1520" y="586"/>
                  <a:pt x="1520" y="586"/>
                </a:cubicBezTo>
                <a:cubicBezTo>
                  <a:pt x="1547" y="590"/>
                  <a:pt x="1574" y="594"/>
                  <a:pt x="1600" y="598"/>
                </a:cubicBezTo>
                <a:cubicBezTo>
                  <a:pt x="1600" y="916"/>
                  <a:pt x="1600" y="916"/>
                  <a:pt x="1600" y="916"/>
                </a:cubicBezTo>
                <a:cubicBezTo>
                  <a:pt x="1600" y="982"/>
                  <a:pt x="1654" y="1036"/>
                  <a:pt x="1720" y="1036"/>
                </a:cubicBezTo>
                <a:cubicBezTo>
                  <a:pt x="1786" y="1036"/>
                  <a:pt x="1840" y="982"/>
                  <a:pt x="1840" y="916"/>
                </a:cubicBezTo>
                <a:cubicBezTo>
                  <a:pt x="1840" y="656"/>
                  <a:pt x="1840" y="656"/>
                  <a:pt x="1840" y="656"/>
                </a:cubicBezTo>
                <a:cubicBezTo>
                  <a:pt x="2038" y="719"/>
                  <a:pt x="2160" y="810"/>
                  <a:pt x="2160" y="916"/>
                </a:cubicBezTo>
                <a:cubicBezTo>
                  <a:pt x="2160" y="1061"/>
                  <a:pt x="1939" y="1146"/>
                  <a:pt x="1827" y="1180"/>
                </a:cubicBezTo>
                <a:cubicBezTo>
                  <a:pt x="1635" y="1240"/>
                  <a:pt x="1371" y="1276"/>
                  <a:pt x="1080" y="1276"/>
                </a:cubicBezTo>
                <a:cubicBezTo>
                  <a:pt x="875" y="1276"/>
                  <a:pt x="683" y="1258"/>
                  <a:pt x="521" y="1226"/>
                </a:cubicBezTo>
                <a:cubicBezTo>
                  <a:pt x="294" y="1186"/>
                  <a:pt x="128" y="1121"/>
                  <a:pt x="66" y="1045"/>
                </a:cubicBezTo>
                <a:cubicBezTo>
                  <a:pt x="23" y="1006"/>
                  <a:pt x="0" y="962"/>
                  <a:pt x="0" y="916"/>
                </a:cubicBezTo>
                <a:close/>
                <a:moveTo>
                  <a:pt x="2160" y="1083"/>
                </a:moveTo>
                <a:cubicBezTo>
                  <a:pt x="2160" y="1259"/>
                  <a:pt x="2160" y="1259"/>
                  <a:pt x="2160" y="1259"/>
                </a:cubicBezTo>
                <a:cubicBezTo>
                  <a:pt x="2145" y="1262"/>
                  <a:pt x="2132" y="1270"/>
                  <a:pt x="2121" y="1280"/>
                </a:cubicBezTo>
                <a:cubicBezTo>
                  <a:pt x="2108" y="1293"/>
                  <a:pt x="2087" y="1324"/>
                  <a:pt x="2083" y="1342"/>
                </a:cubicBezTo>
                <a:cubicBezTo>
                  <a:pt x="2063" y="1395"/>
                  <a:pt x="2043" y="1442"/>
                  <a:pt x="2023" y="1480"/>
                </a:cubicBezTo>
                <a:cubicBezTo>
                  <a:pt x="2006" y="1515"/>
                  <a:pt x="1989" y="1540"/>
                  <a:pt x="1974" y="1552"/>
                </a:cubicBezTo>
                <a:cubicBezTo>
                  <a:pt x="1952" y="1570"/>
                  <a:pt x="1922" y="1550"/>
                  <a:pt x="1893" y="1531"/>
                </a:cubicBezTo>
                <a:cubicBezTo>
                  <a:pt x="1852" y="1504"/>
                  <a:pt x="1814" y="1478"/>
                  <a:pt x="1767" y="1499"/>
                </a:cubicBezTo>
                <a:cubicBezTo>
                  <a:pt x="1726" y="1518"/>
                  <a:pt x="1696" y="1571"/>
                  <a:pt x="1666" y="1627"/>
                </a:cubicBezTo>
                <a:cubicBezTo>
                  <a:pt x="1638" y="1678"/>
                  <a:pt x="1609" y="1730"/>
                  <a:pt x="1586" y="1736"/>
                </a:cubicBezTo>
                <a:cubicBezTo>
                  <a:pt x="1575" y="1739"/>
                  <a:pt x="1553" y="1717"/>
                  <a:pt x="1528" y="1693"/>
                </a:cubicBezTo>
                <a:cubicBezTo>
                  <a:pt x="1477" y="1644"/>
                  <a:pt x="1418" y="1586"/>
                  <a:pt x="1322" y="1605"/>
                </a:cubicBezTo>
                <a:cubicBezTo>
                  <a:pt x="1242" y="1621"/>
                  <a:pt x="1208" y="1673"/>
                  <a:pt x="1176" y="1723"/>
                </a:cubicBezTo>
                <a:cubicBezTo>
                  <a:pt x="1152" y="1760"/>
                  <a:pt x="1128" y="1796"/>
                  <a:pt x="1080" y="1796"/>
                </a:cubicBezTo>
                <a:cubicBezTo>
                  <a:pt x="1032" y="1796"/>
                  <a:pt x="1008" y="1760"/>
                  <a:pt x="984" y="1723"/>
                </a:cubicBezTo>
                <a:cubicBezTo>
                  <a:pt x="952" y="1673"/>
                  <a:pt x="918" y="1621"/>
                  <a:pt x="838" y="1605"/>
                </a:cubicBezTo>
                <a:cubicBezTo>
                  <a:pt x="742" y="1586"/>
                  <a:pt x="683" y="1644"/>
                  <a:pt x="632" y="1693"/>
                </a:cubicBezTo>
                <a:cubicBezTo>
                  <a:pt x="607" y="1717"/>
                  <a:pt x="585" y="1739"/>
                  <a:pt x="574" y="1736"/>
                </a:cubicBezTo>
                <a:cubicBezTo>
                  <a:pt x="551" y="1730"/>
                  <a:pt x="522" y="1678"/>
                  <a:pt x="494" y="1627"/>
                </a:cubicBezTo>
                <a:cubicBezTo>
                  <a:pt x="464" y="1571"/>
                  <a:pt x="434" y="1518"/>
                  <a:pt x="393" y="1499"/>
                </a:cubicBezTo>
                <a:cubicBezTo>
                  <a:pt x="346" y="1478"/>
                  <a:pt x="307" y="1504"/>
                  <a:pt x="267" y="1531"/>
                </a:cubicBezTo>
                <a:cubicBezTo>
                  <a:pt x="238" y="1550"/>
                  <a:pt x="208" y="1570"/>
                  <a:pt x="186" y="1552"/>
                </a:cubicBezTo>
                <a:cubicBezTo>
                  <a:pt x="171" y="1540"/>
                  <a:pt x="154" y="1515"/>
                  <a:pt x="137" y="1480"/>
                </a:cubicBezTo>
                <a:cubicBezTo>
                  <a:pt x="117" y="1443"/>
                  <a:pt x="98" y="1396"/>
                  <a:pt x="78" y="1344"/>
                </a:cubicBezTo>
                <a:cubicBezTo>
                  <a:pt x="68" y="1310"/>
                  <a:pt x="38" y="1267"/>
                  <a:pt x="0" y="1259"/>
                </a:cubicBezTo>
                <a:cubicBezTo>
                  <a:pt x="0" y="1079"/>
                  <a:pt x="0" y="1079"/>
                  <a:pt x="0" y="1079"/>
                </a:cubicBezTo>
                <a:cubicBezTo>
                  <a:pt x="130" y="1236"/>
                  <a:pt x="564" y="1352"/>
                  <a:pt x="1080" y="1352"/>
                </a:cubicBezTo>
                <a:cubicBezTo>
                  <a:pt x="1382" y="1352"/>
                  <a:pt x="1656" y="1314"/>
                  <a:pt x="1855" y="1253"/>
                </a:cubicBezTo>
                <a:cubicBezTo>
                  <a:pt x="1999" y="1209"/>
                  <a:pt x="2106" y="1151"/>
                  <a:pt x="2160" y="1083"/>
                </a:cubicBezTo>
                <a:close/>
                <a:moveTo>
                  <a:pt x="2160" y="1364"/>
                </a:moveTo>
                <a:cubicBezTo>
                  <a:pt x="2160" y="1721"/>
                  <a:pt x="2160" y="1721"/>
                  <a:pt x="2160" y="1721"/>
                </a:cubicBezTo>
                <a:cubicBezTo>
                  <a:pt x="2160" y="1756"/>
                  <a:pt x="2160" y="1756"/>
                  <a:pt x="2160" y="1756"/>
                </a:cubicBezTo>
                <a:cubicBezTo>
                  <a:pt x="2160" y="1864"/>
                  <a:pt x="2033" y="1957"/>
                  <a:pt x="1827" y="2020"/>
                </a:cubicBezTo>
                <a:cubicBezTo>
                  <a:pt x="1635" y="2080"/>
                  <a:pt x="1371" y="2116"/>
                  <a:pt x="1080" y="2116"/>
                </a:cubicBezTo>
                <a:cubicBezTo>
                  <a:pt x="789" y="2116"/>
                  <a:pt x="525" y="2080"/>
                  <a:pt x="333" y="2020"/>
                </a:cubicBezTo>
                <a:cubicBezTo>
                  <a:pt x="127" y="1957"/>
                  <a:pt x="0" y="1864"/>
                  <a:pt x="0" y="1756"/>
                </a:cubicBezTo>
                <a:cubicBezTo>
                  <a:pt x="0" y="1364"/>
                  <a:pt x="0" y="1364"/>
                  <a:pt x="0" y="1364"/>
                </a:cubicBezTo>
                <a:cubicBezTo>
                  <a:pt x="1" y="1367"/>
                  <a:pt x="2" y="1370"/>
                  <a:pt x="4" y="1372"/>
                </a:cubicBezTo>
                <a:cubicBezTo>
                  <a:pt x="24" y="1428"/>
                  <a:pt x="45" y="1478"/>
                  <a:pt x="66" y="1517"/>
                </a:cubicBezTo>
                <a:cubicBezTo>
                  <a:pt x="88" y="1561"/>
                  <a:pt x="112" y="1594"/>
                  <a:pt x="136" y="1614"/>
                </a:cubicBezTo>
                <a:cubicBezTo>
                  <a:pt x="203" y="1668"/>
                  <a:pt x="259" y="1632"/>
                  <a:pt x="311" y="1597"/>
                </a:cubicBezTo>
                <a:cubicBezTo>
                  <a:pt x="333" y="1583"/>
                  <a:pt x="354" y="1569"/>
                  <a:pt x="361" y="1572"/>
                </a:cubicBezTo>
                <a:cubicBezTo>
                  <a:pt x="377" y="1580"/>
                  <a:pt x="400" y="1622"/>
                  <a:pt x="424" y="1665"/>
                </a:cubicBezTo>
                <a:cubicBezTo>
                  <a:pt x="460" y="1731"/>
                  <a:pt x="498" y="1800"/>
                  <a:pt x="556" y="1814"/>
                </a:cubicBezTo>
                <a:cubicBezTo>
                  <a:pt x="610" y="1826"/>
                  <a:pt x="646" y="1791"/>
                  <a:pt x="688" y="1750"/>
                </a:cubicBezTo>
                <a:cubicBezTo>
                  <a:pt x="725" y="1714"/>
                  <a:pt x="768" y="1673"/>
                  <a:pt x="822" y="1684"/>
                </a:cubicBezTo>
                <a:cubicBezTo>
                  <a:pt x="869" y="1693"/>
                  <a:pt x="894" y="1730"/>
                  <a:pt x="917" y="1766"/>
                </a:cubicBezTo>
                <a:cubicBezTo>
                  <a:pt x="954" y="1822"/>
                  <a:pt x="988" y="1876"/>
                  <a:pt x="1080" y="1876"/>
                </a:cubicBezTo>
                <a:cubicBezTo>
                  <a:pt x="1172" y="1876"/>
                  <a:pt x="1206" y="1822"/>
                  <a:pt x="1243" y="1766"/>
                </a:cubicBezTo>
                <a:cubicBezTo>
                  <a:pt x="1266" y="1730"/>
                  <a:pt x="1291" y="1693"/>
                  <a:pt x="1338" y="1684"/>
                </a:cubicBezTo>
                <a:cubicBezTo>
                  <a:pt x="1392" y="1673"/>
                  <a:pt x="1435" y="1714"/>
                  <a:pt x="1472" y="1750"/>
                </a:cubicBezTo>
                <a:cubicBezTo>
                  <a:pt x="1514" y="1791"/>
                  <a:pt x="1550" y="1826"/>
                  <a:pt x="1604" y="1814"/>
                </a:cubicBezTo>
                <a:cubicBezTo>
                  <a:pt x="1662" y="1800"/>
                  <a:pt x="1700" y="1731"/>
                  <a:pt x="1736" y="1665"/>
                </a:cubicBezTo>
                <a:cubicBezTo>
                  <a:pt x="1760" y="1622"/>
                  <a:pt x="1783" y="1580"/>
                  <a:pt x="1799" y="1572"/>
                </a:cubicBezTo>
                <a:cubicBezTo>
                  <a:pt x="1806" y="1569"/>
                  <a:pt x="1827" y="1583"/>
                  <a:pt x="1849" y="1597"/>
                </a:cubicBezTo>
                <a:cubicBezTo>
                  <a:pt x="1901" y="1632"/>
                  <a:pt x="1957" y="1668"/>
                  <a:pt x="2024" y="1614"/>
                </a:cubicBezTo>
                <a:cubicBezTo>
                  <a:pt x="2048" y="1594"/>
                  <a:pt x="2072" y="1561"/>
                  <a:pt x="2094" y="1517"/>
                </a:cubicBezTo>
                <a:cubicBezTo>
                  <a:pt x="2115" y="1478"/>
                  <a:pt x="2136" y="1428"/>
                  <a:pt x="2157" y="1370"/>
                </a:cubicBezTo>
                <a:cubicBezTo>
                  <a:pt x="2157" y="1370"/>
                  <a:pt x="2160" y="1364"/>
                  <a:pt x="2160" y="1364"/>
                </a:cubicBezTo>
                <a:close/>
                <a:moveTo>
                  <a:pt x="793" y="53"/>
                </a:moveTo>
                <a:cubicBezTo>
                  <a:pt x="814" y="83"/>
                  <a:pt x="839" y="117"/>
                  <a:pt x="839" y="156"/>
                </a:cubicBezTo>
                <a:cubicBezTo>
                  <a:pt x="839" y="200"/>
                  <a:pt x="804" y="235"/>
                  <a:pt x="760" y="235"/>
                </a:cubicBezTo>
                <a:cubicBezTo>
                  <a:pt x="716" y="235"/>
                  <a:pt x="680" y="200"/>
                  <a:pt x="680" y="156"/>
                </a:cubicBezTo>
                <a:cubicBezTo>
                  <a:pt x="680" y="119"/>
                  <a:pt x="708" y="89"/>
                  <a:pt x="725" y="58"/>
                </a:cubicBezTo>
                <a:cubicBezTo>
                  <a:pt x="755" y="0"/>
                  <a:pt x="755" y="0"/>
                  <a:pt x="755" y="0"/>
                </a:cubicBezTo>
                <a:lnTo>
                  <a:pt x="793" y="53"/>
                </a:lnTo>
                <a:close/>
                <a:moveTo>
                  <a:pt x="1113" y="374"/>
                </a:moveTo>
                <a:cubicBezTo>
                  <a:pt x="1134" y="404"/>
                  <a:pt x="1159" y="439"/>
                  <a:pt x="1159" y="477"/>
                </a:cubicBezTo>
                <a:cubicBezTo>
                  <a:pt x="1159" y="519"/>
                  <a:pt x="1126" y="554"/>
                  <a:pt x="1084" y="556"/>
                </a:cubicBezTo>
                <a:cubicBezTo>
                  <a:pt x="1104" y="558"/>
                  <a:pt x="1120" y="576"/>
                  <a:pt x="1120" y="596"/>
                </a:cubicBezTo>
                <a:cubicBezTo>
                  <a:pt x="1120" y="1076"/>
                  <a:pt x="1120" y="1076"/>
                  <a:pt x="1120" y="1076"/>
                </a:cubicBezTo>
                <a:cubicBezTo>
                  <a:pt x="1120" y="1098"/>
                  <a:pt x="1102" y="1116"/>
                  <a:pt x="1080" y="1116"/>
                </a:cubicBezTo>
                <a:cubicBezTo>
                  <a:pt x="1058" y="1116"/>
                  <a:pt x="1040" y="1098"/>
                  <a:pt x="1040" y="1076"/>
                </a:cubicBezTo>
                <a:cubicBezTo>
                  <a:pt x="1040" y="596"/>
                  <a:pt x="1040" y="596"/>
                  <a:pt x="1040" y="596"/>
                </a:cubicBezTo>
                <a:cubicBezTo>
                  <a:pt x="1040" y="576"/>
                  <a:pt x="1056" y="559"/>
                  <a:pt x="1076" y="556"/>
                </a:cubicBezTo>
                <a:cubicBezTo>
                  <a:pt x="1033" y="554"/>
                  <a:pt x="1000" y="519"/>
                  <a:pt x="1000" y="477"/>
                </a:cubicBezTo>
                <a:cubicBezTo>
                  <a:pt x="1000" y="440"/>
                  <a:pt x="1028" y="410"/>
                  <a:pt x="1045" y="379"/>
                </a:cubicBezTo>
                <a:cubicBezTo>
                  <a:pt x="1075" y="321"/>
                  <a:pt x="1075" y="321"/>
                  <a:pt x="1075" y="321"/>
                </a:cubicBezTo>
                <a:lnTo>
                  <a:pt x="1113" y="374"/>
                </a:lnTo>
                <a:close/>
                <a:moveTo>
                  <a:pt x="473" y="214"/>
                </a:moveTo>
                <a:cubicBezTo>
                  <a:pt x="494" y="244"/>
                  <a:pt x="519" y="279"/>
                  <a:pt x="519" y="317"/>
                </a:cubicBezTo>
                <a:cubicBezTo>
                  <a:pt x="519" y="359"/>
                  <a:pt x="486" y="394"/>
                  <a:pt x="444" y="396"/>
                </a:cubicBezTo>
                <a:cubicBezTo>
                  <a:pt x="464" y="398"/>
                  <a:pt x="480" y="416"/>
                  <a:pt x="480" y="436"/>
                </a:cubicBezTo>
                <a:cubicBezTo>
                  <a:pt x="480" y="916"/>
                  <a:pt x="480" y="916"/>
                  <a:pt x="480" y="916"/>
                </a:cubicBezTo>
                <a:cubicBezTo>
                  <a:pt x="480" y="938"/>
                  <a:pt x="462" y="956"/>
                  <a:pt x="440" y="956"/>
                </a:cubicBezTo>
                <a:cubicBezTo>
                  <a:pt x="418" y="956"/>
                  <a:pt x="400" y="938"/>
                  <a:pt x="400" y="916"/>
                </a:cubicBezTo>
                <a:cubicBezTo>
                  <a:pt x="400" y="436"/>
                  <a:pt x="400" y="436"/>
                  <a:pt x="400" y="436"/>
                </a:cubicBezTo>
                <a:cubicBezTo>
                  <a:pt x="400" y="416"/>
                  <a:pt x="416" y="399"/>
                  <a:pt x="436" y="396"/>
                </a:cubicBezTo>
                <a:cubicBezTo>
                  <a:pt x="393" y="394"/>
                  <a:pt x="360" y="359"/>
                  <a:pt x="360" y="317"/>
                </a:cubicBezTo>
                <a:cubicBezTo>
                  <a:pt x="360" y="280"/>
                  <a:pt x="388" y="250"/>
                  <a:pt x="405" y="219"/>
                </a:cubicBezTo>
                <a:cubicBezTo>
                  <a:pt x="435" y="161"/>
                  <a:pt x="435" y="161"/>
                  <a:pt x="435" y="161"/>
                </a:cubicBezTo>
                <a:lnTo>
                  <a:pt x="473" y="214"/>
                </a:lnTo>
                <a:close/>
                <a:moveTo>
                  <a:pt x="1433" y="54"/>
                </a:moveTo>
                <a:cubicBezTo>
                  <a:pt x="1454" y="84"/>
                  <a:pt x="1479" y="119"/>
                  <a:pt x="1479" y="157"/>
                </a:cubicBezTo>
                <a:cubicBezTo>
                  <a:pt x="1479" y="199"/>
                  <a:pt x="1446" y="234"/>
                  <a:pt x="1404" y="236"/>
                </a:cubicBezTo>
                <a:cubicBezTo>
                  <a:pt x="1424" y="238"/>
                  <a:pt x="1440" y="256"/>
                  <a:pt x="1440" y="276"/>
                </a:cubicBezTo>
                <a:cubicBezTo>
                  <a:pt x="1440" y="756"/>
                  <a:pt x="1440" y="756"/>
                  <a:pt x="1440" y="756"/>
                </a:cubicBezTo>
                <a:cubicBezTo>
                  <a:pt x="1440" y="778"/>
                  <a:pt x="1422" y="796"/>
                  <a:pt x="1400" y="796"/>
                </a:cubicBezTo>
                <a:cubicBezTo>
                  <a:pt x="1378" y="796"/>
                  <a:pt x="1360" y="778"/>
                  <a:pt x="1360" y="756"/>
                </a:cubicBezTo>
                <a:cubicBezTo>
                  <a:pt x="1360" y="276"/>
                  <a:pt x="1360" y="276"/>
                  <a:pt x="1360" y="276"/>
                </a:cubicBezTo>
                <a:cubicBezTo>
                  <a:pt x="1360" y="256"/>
                  <a:pt x="1376" y="239"/>
                  <a:pt x="1396" y="236"/>
                </a:cubicBezTo>
                <a:cubicBezTo>
                  <a:pt x="1353" y="234"/>
                  <a:pt x="1320" y="199"/>
                  <a:pt x="1320" y="157"/>
                </a:cubicBezTo>
                <a:cubicBezTo>
                  <a:pt x="1320" y="120"/>
                  <a:pt x="1348" y="90"/>
                  <a:pt x="1365" y="59"/>
                </a:cubicBezTo>
                <a:cubicBezTo>
                  <a:pt x="1395" y="1"/>
                  <a:pt x="1395" y="1"/>
                  <a:pt x="1395" y="1"/>
                </a:cubicBezTo>
                <a:lnTo>
                  <a:pt x="1433" y="54"/>
                </a:lnTo>
                <a:close/>
                <a:moveTo>
                  <a:pt x="720" y="276"/>
                </a:moveTo>
                <a:cubicBezTo>
                  <a:pt x="720" y="254"/>
                  <a:pt x="738" y="236"/>
                  <a:pt x="760" y="236"/>
                </a:cubicBezTo>
                <a:cubicBezTo>
                  <a:pt x="782" y="236"/>
                  <a:pt x="800" y="254"/>
                  <a:pt x="800" y="276"/>
                </a:cubicBezTo>
                <a:cubicBezTo>
                  <a:pt x="800" y="756"/>
                  <a:pt x="800" y="756"/>
                  <a:pt x="800" y="756"/>
                </a:cubicBezTo>
                <a:cubicBezTo>
                  <a:pt x="800" y="778"/>
                  <a:pt x="782" y="796"/>
                  <a:pt x="760" y="796"/>
                </a:cubicBezTo>
                <a:cubicBezTo>
                  <a:pt x="738" y="796"/>
                  <a:pt x="720" y="778"/>
                  <a:pt x="720" y="756"/>
                </a:cubicBezTo>
                <a:lnTo>
                  <a:pt x="720" y="276"/>
                </a:lnTo>
                <a:close/>
              </a:path>
            </a:pathLst>
          </a:custGeom>
          <a:solidFill>
            <a:srgbClr val="7DB4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4" name="CuadroTexto 13"/>
          <p:cNvSpPr txBox="1"/>
          <p:nvPr/>
        </p:nvSpPr>
        <p:spPr bwMode="gray">
          <a:xfrm>
            <a:off x="6173697" y="4871003"/>
            <a:ext cx="12526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 smtClean="0">
                <a:solidFill>
                  <a:schemeClr val="accent1"/>
                </a:solidFill>
                <a:latin typeface="Corbel" panose="020B0503020204020204" pitchFamily="34" charset="0"/>
                <a:cs typeface="Arial" pitchFamily="34" charset="0"/>
              </a:rPr>
              <a:t>Sexo</a:t>
            </a:r>
            <a:endParaRPr lang="es-PE" sz="1600" b="1" dirty="0">
              <a:solidFill>
                <a:schemeClr val="accent1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grpSp>
        <p:nvGrpSpPr>
          <p:cNvPr id="15" name="Group 29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5421574" y="4814773"/>
            <a:ext cx="510512" cy="303772"/>
            <a:chOff x="423" y="153"/>
            <a:chExt cx="4914" cy="2924"/>
          </a:xfrm>
          <a:solidFill>
            <a:srgbClr val="7DB4E2"/>
          </a:solidFill>
        </p:grpSpPr>
        <p:sp>
          <p:nvSpPr>
            <p:cNvPr id="16" name="Freeform 30"/>
            <p:cNvSpPr>
              <a:spLocks/>
            </p:cNvSpPr>
            <p:nvPr/>
          </p:nvSpPr>
          <p:spPr bwMode="auto">
            <a:xfrm>
              <a:off x="2974" y="158"/>
              <a:ext cx="2363" cy="2919"/>
            </a:xfrm>
            <a:custGeom>
              <a:avLst/>
              <a:gdLst>
                <a:gd name="T0" fmla="*/ 244 w 1000"/>
                <a:gd name="T1" fmla="*/ 529 h 1236"/>
                <a:gd name="T2" fmla="*/ 192 w 1000"/>
                <a:gd name="T3" fmla="*/ 379 h 1236"/>
                <a:gd name="T4" fmla="*/ 184 w 1000"/>
                <a:gd name="T5" fmla="*/ 244 h 1236"/>
                <a:gd name="T6" fmla="*/ 186 w 1000"/>
                <a:gd name="T7" fmla="*/ 200 h 1236"/>
                <a:gd name="T8" fmla="*/ 278 w 1000"/>
                <a:gd name="T9" fmla="*/ 53 h 1236"/>
                <a:gd name="T10" fmla="*/ 441 w 1000"/>
                <a:gd name="T11" fmla="*/ 1 h 1236"/>
                <a:gd name="T12" fmla="*/ 567 w 1000"/>
                <a:gd name="T13" fmla="*/ 31 h 1236"/>
                <a:gd name="T14" fmla="*/ 629 w 1000"/>
                <a:gd name="T15" fmla="*/ 24 h 1236"/>
                <a:gd name="T16" fmla="*/ 729 w 1000"/>
                <a:gd name="T17" fmla="*/ 65 h 1236"/>
                <a:gd name="T18" fmla="*/ 796 w 1000"/>
                <a:gd name="T19" fmla="*/ 147 h 1236"/>
                <a:gd name="T20" fmla="*/ 816 w 1000"/>
                <a:gd name="T21" fmla="*/ 243 h 1236"/>
                <a:gd name="T22" fmla="*/ 807 w 1000"/>
                <a:gd name="T23" fmla="*/ 379 h 1236"/>
                <a:gd name="T24" fmla="*/ 755 w 1000"/>
                <a:gd name="T25" fmla="*/ 529 h 1236"/>
                <a:gd name="T26" fmla="*/ 678 w 1000"/>
                <a:gd name="T27" fmla="*/ 681 h 1236"/>
                <a:gd name="T28" fmla="*/ 684 w 1000"/>
                <a:gd name="T29" fmla="*/ 734 h 1236"/>
                <a:gd name="T30" fmla="*/ 704 w 1000"/>
                <a:gd name="T31" fmla="*/ 770 h 1236"/>
                <a:gd name="T32" fmla="*/ 772 w 1000"/>
                <a:gd name="T33" fmla="*/ 799 h 1236"/>
                <a:gd name="T34" fmla="*/ 915 w 1000"/>
                <a:gd name="T35" fmla="*/ 865 h 1236"/>
                <a:gd name="T36" fmla="*/ 977 w 1000"/>
                <a:gd name="T37" fmla="*/ 960 h 1236"/>
                <a:gd name="T38" fmla="*/ 1000 w 1000"/>
                <a:gd name="T39" fmla="*/ 1076 h 1236"/>
                <a:gd name="T40" fmla="*/ 848 w 1000"/>
                <a:gd name="T41" fmla="*/ 1198 h 1236"/>
                <a:gd name="T42" fmla="*/ 500 w 1000"/>
                <a:gd name="T43" fmla="*/ 1236 h 1236"/>
                <a:gd name="T44" fmla="*/ 152 w 1000"/>
                <a:gd name="T45" fmla="*/ 1198 h 1236"/>
                <a:gd name="T46" fmla="*/ 0 w 1000"/>
                <a:gd name="T47" fmla="*/ 1076 h 1236"/>
                <a:gd name="T48" fmla="*/ 22 w 1000"/>
                <a:gd name="T49" fmla="*/ 960 h 1236"/>
                <a:gd name="T50" fmla="*/ 84 w 1000"/>
                <a:gd name="T51" fmla="*/ 865 h 1236"/>
                <a:gd name="T52" fmla="*/ 227 w 1000"/>
                <a:gd name="T53" fmla="*/ 799 h 1236"/>
                <a:gd name="T54" fmla="*/ 296 w 1000"/>
                <a:gd name="T55" fmla="*/ 770 h 1236"/>
                <a:gd name="T56" fmla="*/ 315 w 1000"/>
                <a:gd name="T57" fmla="*/ 733 h 1236"/>
                <a:gd name="T58" fmla="*/ 321 w 1000"/>
                <a:gd name="T59" fmla="*/ 681 h 1236"/>
                <a:gd name="T60" fmla="*/ 244 w 1000"/>
                <a:gd name="T61" fmla="*/ 529 h 1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00" h="1236">
                  <a:moveTo>
                    <a:pt x="244" y="529"/>
                  </a:moveTo>
                  <a:cubicBezTo>
                    <a:pt x="198" y="496"/>
                    <a:pt x="180" y="433"/>
                    <a:pt x="192" y="379"/>
                  </a:cubicBezTo>
                  <a:cubicBezTo>
                    <a:pt x="184" y="244"/>
                    <a:pt x="184" y="244"/>
                    <a:pt x="184" y="244"/>
                  </a:cubicBezTo>
                  <a:cubicBezTo>
                    <a:pt x="184" y="244"/>
                    <a:pt x="186" y="203"/>
                    <a:pt x="186" y="200"/>
                  </a:cubicBezTo>
                  <a:cubicBezTo>
                    <a:pt x="197" y="137"/>
                    <a:pt x="231" y="88"/>
                    <a:pt x="278" y="53"/>
                  </a:cubicBezTo>
                  <a:cubicBezTo>
                    <a:pt x="324" y="20"/>
                    <a:pt x="382" y="2"/>
                    <a:pt x="441" y="1"/>
                  </a:cubicBezTo>
                  <a:cubicBezTo>
                    <a:pt x="486" y="0"/>
                    <a:pt x="528" y="8"/>
                    <a:pt x="567" y="31"/>
                  </a:cubicBezTo>
                  <a:cubicBezTo>
                    <a:pt x="588" y="24"/>
                    <a:pt x="608" y="22"/>
                    <a:pt x="629" y="24"/>
                  </a:cubicBezTo>
                  <a:cubicBezTo>
                    <a:pt x="665" y="28"/>
                    <a:pt x="700" y="42"/>
                    <a:pt x="729" y="65"/>
                  </a:cubicBezTo>
                  <a:cubicBezTo>
                    <a:pt x="757" y="86"/>
                    <a:pt x="781" y="115"/>
                    <a:pt x="796" y="147"/>
                  </a:cubicBezTo>
                  <a:cubicBezTo>
                    <a:pt x="812" y="179"/>
                    <a:pt x="817" y="207"/>
                    <a:pt x="816" y="243"/>
                  </a:cubicBezTo>
                  <a:cubicBezTo>
                    <a:pt x="807" y="379"/>
                    <a:pt x="807" y="379"/>
                    <a:pt x="807" y="379"/>
                  </a:cubicBezTo>
                  <a:cubicBezTo>
                    <a:pt x="820" y="434"/>
                    <a:pt x="802" y="496"/>
                    <a:pt x="755" y="529"/>
                  </a:cubicBezTo>
                  <a:cubicBezTo>
                    <a:pt x="739" y="579"/>
                    <a:pt x="712" y="640"/>
                    <a:pt x="678" y="681"/>
                  </a:cubicBezTo>
                  <a:cubicBezTo>
                    <a:pt x="679" y="698"/>
                    <a:pt x="680" y="717"/>
                    <a:pt x="684" y="734"/>
                  </a:cubicBezTo>
                  <a:cubicBezTo>
                    <a:pt x="688" y="750"/>
                    <a:pt x="694" y="764"/>
                    <a:pt x="704" y="770"/>
                  </a:cubicBezTo>
                  <a:cubicBezTo>
                    <a:pt x="727" y="784"/>
                    <a:pt x="746" y="791"/>
                    <a:pt x="772" y="799"/>
                  </a:cubicBezTo>
                  <a:cubicBezTo>
                    <a:pt x="818" y="812"/>
                    <a:pt x="882" y="834"/>
                    <a:pt x="915" y="865"/>
                  </a:cubicBezTo>
                  <a:cubicBezTo>
                    <a:pt x="942" y="892"/>
                    <a:pt x="963" y="925"/>
                    <a:pt x="977" y="960"/>
                  </a:cubicBezTo>
                  <a:cubicBezTo>
                    <a:pt x="992" y="998"/>
                    <a:pt x="1000" y="1038"/>
                    <a:pt x="1000" y="1076"/>
                  </a:cubicBezTo>
                  <a:cubicBezTo>
                    <a:pt x="1000" y="1137"/>
                    <a:pt x="936" y="1176"/>
                    <a:pt x="848" y="1198"/>
                  </a:cubicBezTo>
                  <a:cubicBezTo>
                    <a:pt x="739" y="1226"/>
                    <a:pt x="588" y="1236"/>
                    <a:pt x="500" y="1236"/>
                  </a:cubicBezTo>
                  <a:cubicBezTo>
                    <a:pt x="411" y="1236"/>
                    <a:pt x="260" y="1226"/>
                    <a:pt x="152" y="1198"/>
                  </a:cubicBezTo>
                  <a:cubicBezTo>
                    <a:pt x="64" y="1176"/>
                    <a:pt x="0" y="1137"/>
                    <a:pt x="0" y="1076"/>
                  </a:cubicBezTo>
                  <a:cubicBezTo>
                    <a:pt x="0" y="1038"/>
                    <a:pt x="7" y="998"/>
                    <a:pt x="22" y="960"/>
                  </a:cubicBezTo>
                  <a:cubicBezTo>
                    <a:pt x="36" y="924"/>
                    <a:pt x="57" y="892"/>
                    <a:pt x="84" y="865"/>
                  </a:cubicBezTo>
                  <a:cubicBezTo>
                    <a:pt x="117" y="834"/>
                    <a:pt x="182" y="812"/>
                    <a:pt x="227" y="799"/>
                  </a:cubicBezTo>
                  <a:cubicBezTo>
                    <a:pt x="257" y="790"/>
                    <a:pt x="269" y="785"/>
                    <a:pt x="296" y="770"/>
                  </a:cubicBezTo>
                  <a:cubicBezTo>
                    <a:pt x="306" y="764"/>
                    <a:pt x="312" y="744"/>
                    <a:pt x="315" y="733"/>
                  </a:cubicBezTo>
                  <a:cubicBezTo>
                    <a:pt x="319" y="716"/>
                    <a:pt x="321" y="698"/>
                    <a:pt x="321" y="681"/>
                  </a:cubicBezTo>
                  <a:cubicBezTo>
                    <a:pt x="288" y="640"/>
                    <a:pt x="260" y="579"/>
                    <a:pt x="244" y="5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17" name="Freeform 31"/>
            <p:cNvSpPr>
              <a:spLocks/>
            </p:cNvSpPr>
            <p:nvPr/>
          </p:nvSpPr>
          <p:spPr bwMode="auto">
            <a:xfrm>
              <a:off x="423" y="153"/>
              <a:ext cx="2362" cy="2922"/>
            </a:xfrm>
            <a:custGeom>
              <a:avLst/>
              <a:gdLst>
                <a:gd name="T0" fmla="*/ 433 w 1000"/>
                <a:gd name="T1" fmla="*/ 9 h 1237"/>
                <a:gd name="T2" fmla="*/ 500 w 1000"/>
                <a:gd name="T3" fmla="*/ 26 h 1237"/>
                <a:gd name="T4" fmla="*/ 566 w 1000"/>
                <a:gd name="T5" fmla="*/ 9 h 1237"/>
                <a:gd name="T6" fmla="*/ 774 w 1000"/>
                <a:gd name="T7" fmla="*/ 109 h 1237"/>
                <a:gd name="T8" fmla="*/ 815 w 1000"/>
                <a:gd name="T9" fmla="*/ 258 h 1237"/>
                <a:gd name="T10" fmla="*/ 828 w 1000"/>
                <a:gd name="T11" fmla="*/ 500 h 1237"/>
                <a:gd name="T12" fmla="*/ 876 w 1000"/>
                <a:gd name="T13" fmla="*/ 644 h 1237"/>
                <a:gd name="T14" fmla="*/ 878 w 1000"/>
                <a:gd name="T15" fmla="*/ 690 h 1237"/>
                <a:gd name="T16" fmla="*/ 759 w 1000"/>
                <a:gd name="T17" fmla="*/ 768 h 1237"/>
                <a:gd name="T18" fmla="*/ 709 w 1000"/>
                <a:gd name="T19" fmla="*/ 775 h 1237"/>
                <a:gd name="T20" fmla="*/ 772 w 1000"/>
                <a:gd name="T21" fmla="*/ 800 h 1237"/>
                <a:gd name="T22" fmla="*/ 915 w 1000"/>
                <a:gd name="T23" fmla="*/ 867 h 1237"/>
                <a:gd name="T24" fmla="*/ 977 w 1000"/>
                <a:gd name="T25" fmla="*/ 962 h 1237"/>
                <a:gd name="T26" fmla="*/ 1000 w 1000"/>
                <a:gd name="T27" fmla="*/ 1078 h 1237"/>
                <a:gd name="T28" fmla="*/ 848 w 1000"/>
                <a:gd name="T29" fmla="*/ 1200 h 1237"/>
                <a:gd name="T30" fmla="*/ 500 w 1000"/>
                <a:gd name="T31" fmla="*/ 1237 h 1237"/>
                <a:gd name="T32" fmla="*/ 152 w 1000"/>
                <a:gd name="T33" fmla="*/ 1200 h 1237"/>
                <a:gd name="T34" fmla="*/ 0 w 1000"/>
                <a:gd name="T35" fmla="*/ 1078 h 1237"/>
                <a:gd name="T36" fmla="*/ 22 w 1000"/>
                <a:gd name="T37" fmla="*/ 962 h 1237"/>
                <a:gd name="T38" fmla="*/ 84 w 1000"/>
                <a:gd name="T39" fmla="*/ 867 h 1237"/>
                <a:gd name="T40" fmla="*/ 227 w 1000"/>
                <a:gd name="T41" fmla="*/ 800 h 1237"/>
                <a:gd name="T42" fmla="*/ 290 w 1000"/>
                <a:gd name="T43" fmla="*/ 775 h 1237"/>
                <a:gd name="T44" fmla="*/ 122 w 1000"/>
                <a:gd name="T45" fmla="*/ 690 h 1237"/>
                <a:gd name="T46" fmla="*/ 124 w 1000"/>
                <a:gd name="T47" fmla="*/ 643 h 1237"/>
                <a:gd name="T48" fmla="*/ 171 w 1000"/>
                <a:gd name="T49" fmla="*/ 500 h 1237"/>
                <a:gd name="T50" fmla="*/ 184 w 1000"/>
                <a:gd name="T51" fmla="*/ 258 h 1237"/>
                <a:gd name="T52" fmla="*/ 225 w 1000"/>
                <a:gd name="T53" fmla="*/ 109 h 1237"/>
                <a:gd name="T54" fmla="*/ 433 w 1000"/>
                <a:gd name="T55" fmla="*/ 9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00" h="1237">
                  <a:moveTo>
                    <a:pt x="433" y="9"/>
                  </a:moveTo>
                  <a:cubicBezTo>
                    <a:pt x="455" y="12"/>
                    <a:pt x="478" y="17"/>
                    <a:pt x="500" y="26"/>
                  </a:cubicBezTo>
                  <a:cubicBezTo>
                    <a:pt x="522" y="17"/>
                    <a:pt x="544" y="12"/>
                    <a:pt x="566" y="9"/>
                  </a:cubicBezTo>
                  <a:cubicBezTo>
                    <a:pt x="652" y="0"/>
                    <a:pt x="726" y="38"/>
                    <a:pt x="774" y="109"/>
                  </a:cubicBezTo>
                  <a:cubicBezTo>
                    <a:pt x="804" y="153"/>
                    <a:pt x="820" y="207"/>
                    <a:pt x="815" y="258"/>
                  </a:cubicBezTo>
                  <a:cubicBezTo>
                    <a:pt x="812" y="300"/>
                    <a:pt x="812" y="404"/>
                    <a:pt x="828" y="500"/>
                  </a:cubicBezTo>
                  <a:cubicBezTo>
                    <a:pt x="838" y="559"/>
                    <a:pt x="854" y="614"/>
                    <a:pt x="876" y="644"/>
                  </a:cubicBezTo>
                  <a:cubicBezTo>
                    <a:pt x="882" y="651"/>
                    <a:pt x="878" y="690"/>
                    <a:pt x="878" y="690"/>
                  </a:cubicBezTo>
                  <a:cubicBezTo>
                    <a:pt x="848" y="735"/>
                    <a:pt x="805" y="757"/>
                    <a:pt x="759" y="768"/>
                  </a:cubicBezTo>
                  <a:cubicBezTo>
                    <a:pt x="742" y="771"/>
                    <a:pt x="726" y="774"/>
                    <a:pt x="709" y="775"/>
                  </a:cubicBezTo>
                  <a:cubicBezTo>
                    <a:pt x="732" y="788"/>
                    <a:pt x="750" y="794"/>
                    <a:pt x="772" y="800"/>
                  </a:cubicBezTo>
                  <a:cubicBezTo>
                    <a:pt x="817" y="814"/>
                    <a:pt x="882" y="835"/>
                    <a:pt x="915" y="867"/>
                  </a:cubicBezTo>
                  <a:cubicBezTo>
                    <a:pt x="942" y="893"/>
                    <a:pt x="963" y="926"/>
                    <a:pt x="977" y="962"/>
                  </a:cubicBezTo>
                  <a:cubicBezTo>
                    <a:pt x="992" y="999"/>
                    <a:pt x="1000" y="1040"/>
                    <a:pt x="1000" y="1078"/>
                  </a:cubicBezTo>
                  <a:cubicBezTo>
                    <a:pt x="1000" y="1139"/>
                    <a:pt x="936" y="1177"/>
                    <a:pt x="848" y="1200"/>
                  </a:cubicBezTo>
                  <a:cubicBezTo>
                    <a:pt x="739" y="1228"/>
                    <a:pt x="588" y="1237"/>
                    <a:pt x="500" y="1237"/>
                  </a:cubicBezTo>
                  <a:cubicBezTo>
                    <a:pt x="411" y="1237"/>
                    <a:pt x="260" y="1228"/>
                    <a:pt x="152" y="1200"/>
                  </a:cubicBezTo>
                  <a:cubicBezTo>
                    <a:pt x="64" y="1177"/>
                    <a:pt x="0" y="1139"/>
                    <a:pt x="0" y="1078"/>
                  </a:cubicBezTo>
                  <a:cubicBezTo>
                    <a:pt x="0" y="1040"/>
                    <a:pt x="7" y="999"/>
                    <a:pt x="22" y="962"/>
                  </a:cubicBezTo>
                  <a:cubicBezTo>
                    <a:pt x="36" y="926"/>
                    <a:pt x="57" y="893"/>
                    <a:pt x="84" y="867"/>
                  </a:cubicBezTo>
                  <a:cubicBezTo>
                    <a:pt x="116" y="836"/>
                    <a:pt x="182" y="814"/>
                    <a:pt x="227" y="800"/>
                  </a:cubicBezTo>
                  <a:cubicBezTo>
                    <a:pt x="249" y="794"/>
                    <a:pt x="267" y="788"/>
                    <a:pt x="290" y="775"/>
                  </a:cubicBezTo>
                  <a:cubicBezTo>
                    <a:pt x="228" y="770"/>
                    <a:pt x="163" y="752"/>
                    <a:pt x="122" y="690"/>
                  </a:cubicBezTo>
                  <a:cubicBezTo>
                    <a:pt x="112" y="676"/>
                    <a:pt x="113" y="656"/>
                    <a:pt x="124" y="643"/>
                  </a:cubicBezTo>
                  <a:cubicBezTo>
                    <a:pt x="146" y="612"/>
                    <a:pt x="161" y="558"/>
                    <a:pt x="171" y="500"/>
                  </a:cubicBezTo>
                  <a:cubicBezTo>
                    <a:pt x="187" y="404"/>
                    <a:pt x="188" y="300"/>
                    <a:pt x="184" y="258"/>
                  </a:cubicBezTo>
                  <a:cubicBezTo>
                    <a:pt x="179" y="207"/>
                    <a:pt x="195" y="153"/>
                    <a:pt x="225" y="109"/>
                  </a:cubicBezTo>
                  <a:cubicBezTo>
                    <a:pt x="272" y="38"/>
                    <a:pt x="347" y="0"/>
                    <a:pt x="43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5172501" y="2525782"/>
            <a:ext cx="752386" cy="971032"/>
            <a:chOff x="-252536" y="764704"/>
            <a:chExt cx="3713021" cy="4195336"/>
          </a:xfrm>
          <a:solidFill>
            <a:srgbClr val="7DB4E2"/>
          </a:solidFill>
        </p:grpSpPr>
        <p:grpSp>
          <p:nvGrpSpPr>
            <p:cNvPr id="22" name="Grupo 21"/>
            <p:cNvGrpSpPr/>
            <p:nvPr/>
          </p:nvGrpSpPr>
          <p:grpSpPr>
            <a:xfrm>
              <a:off x="-252536" y="764704"/>
              <a:ext cx="3713021" cy="4195336"/>
              <a:chOff x="821483" y="5797980"/>
              <a:chExt cx="710246" cy="1084503"/>
            </a:xfrm>
            <a:grpFill/>
          </p:grpSpPr>
          <p:sp>
            <p:nvSpPr>
              <p:cNvPr id="24" name="Forma libre 4"/>
              <p:cNvSpPr/>
              <p:nvPr/>
            </p:nvSpPr>
            <p:spPr>
              <a:xfrm>
                <a:off x="1016793" y="5797980"/>
                <a:ext cx="445023" cy="518206"/>
              </a:xfrm>
              <a:custGeom>
                <a:avLst/>
                <a:gdLst>
                  <a:gd name="connsiteX0" fmla="*/ 815659 w 2956079"/>
                  <a:gd name="connsiteY0" fmla="*/ 71167 h 3279140"/>
                  <a:gd name="connsiteX1" fmla="*/ 815659 w 2956079"/>
                  <a:gd name="connsiteY1" fmla="*/ 71167 h 3279140"/>
                  <a:gd name="connsiteX2" fmla="*/ 968937 w 2956079"/>
                  <a:gd name="connsiteY2" fmla="*/ 208026 h 3279140"/>
                  <a:gd name="connsiteX3" fmla="*/ 957989 w 2956079"/>
                  <a:gd name="connsiteY3" fmla="*/ 361308 h 3279140"/>
                  <a:gd name="connsiteX4" fmla="*/ 903247 w 2956079"/>
                  <a:gd name="connsiteY4" fmla="*/ 355833 h 3279140"/>
                  <a:gd name="connsiteX5" fmla="*/ 843030 w 2956079"/>
                  <a:gd name="connsiteY5" fmla="*/ 563859 h 3279140"/>
                  <a:gd name="connsiteX6" fmla="*/ 656907 w 2956079"/>
                  <a:gd name="connsiteY6" fmla="*/ 799256 h 3279140"/>
                  <a:gd name="connsiteX7" fmla="*/ 437938 w 2956079"/>
                  <a:gd name="connsiteY7" fmla="*/ 958013 h 3279140"/>
                  <a:gd name="connsiteX8" fmla="*/ 0 w 2956079"/>
                  <a:gd name="connsiteY8" fmla="*/ 1116769 h 3279140"/>
                  <a:gd name="connsiteX9" fmla="*/ 21897 w 2956079"/>
                  <a:gd name="connsiteY9" fmla="*/ 1237205 h 3279140"/>
                  <a:gd name="connsiteX10" fmla="*/ 27372 w 2956079"/>
                  <a:gd name="connsiteY10" fmla="*/ 1319320 h 3279140"/>
                  <a:gd name="connsiteX11" fmla="*/ 93062 w 2956079"/>
                  <a:gd name="connsiteY11" fmla="*/ 1401436 h 3279140"/>
                  <a:gd name="connsiteX12" fmla="*/ 98536 w 2956079"/>
                  <a:gd name="connsiteY12" fmla="*/ 1532820 h 3279140"/>
                  <a:gd name="connsiteX13" fmla="*/ 76640 w 2956079"/>
                  <a:gd name="connsiteY13" fmla="*/ 1675153 h 3279140"/>
                  <a:gd name="connsiteX14" fmla="*/ 5475 w 2956079"/>
                  <a:gd name="connsiteY14" fmla="*/ 1773692 h 3279140"/>
                  <a:gd name="connsiteX15" fmla="*/ 5475 w 2956079"/>
                  <a:gd name="connsiteY15" fmla="*/ 1872230 h 3279140"/>
                  <a:gd name="connsiteX16" fmla="*/ 5475 w 2956079"/>
                  <a:gd name="connsiteY16" fmla="*/ 1872230 h 3279140"/>
                  <a:gd name="connsiteX17" fmla="*/ 38320 w 2956079"/>
                  <a:gd name="connsiteY17" fmla="*/ 1954346 h 3279140"/>
                  <a:gd name="connsiteX18" fmla="*/ 38320 w 2956079"/>
                  <a:gd name="connsiteY18" fmla="*/ 2020038 h 3279140"/>
                  <a:gd name="connsiteX19" fmla="*/ 38320 w 2956079"/>
                  <a:gd name="connsiteY19" fmla="*/ 2020038 h 3279140"/>
                  <a:gd name="connsiteX20" fmla="*/ 104011 w 2956079"/>
                  <a:gd name="connsiteY20" fmla="*/ 2030987 h 3279140"/>
                  <a:gd name="connsiteX21" fmla="*/ 136856 w 2956079"/>
                  <a:gd name="connsiteY21" fmla="*/ 2085730 h 3279140"/>
                  <a:gd name="connsiteX22" fmla="*/ 361299 w 2956079"/>
                  <a:gd name="connsiteY22" fmla="*/ 2145948 h 3279140"/>
                  <a:gd name="connsiteX23" fmla="*/ 410567 w 2956079"/>
                  <a:gd name="connsiteY23" fmla="*/ 2244486 h 3279140"/>
                  <a:gd name="connsiteX24" fmla="*/ 470783 w 2956079"/>
                  <a:gd name="connsiteY24" fmla="*/ 2255435 h 3279140"/>
                  <a:gd name="connsiteX25" fmla="*/ 525526 w 2956079"/>
                  <a:gd name="connsiteY25" fmla="*/ 2228063 h 3279140"/>
                  <a:gd name="connsiteX26" fmla="*/ 613113 w 2956079"/>
                  <a:gd name="connsiteY26" fmla="*/ 2310179 h 3279140"/>
                  <a:gd name="connsiteX27" fmla="*/ 667855 w 2956079"/>
                  <a:gd name="connsiteY27" fmla="*/ 2282807 h 3279140"/>
                  <a:gd name="connsiteX28" fmla="*/ 766391 w 2956079"/>
                  <a:gd name="connsiteY28" fmla="*/ 2288281 h 3279140"/>
                  <a:gd name="connsiteX29" fmla="*/ 826608 w 2956079"/>
                  <a:gd name="connsiteY29" fmla="*/ 2239012 h 3279140"/>
                  <a:gd name="connsiteX30" fmla="*/ 875876 w 2956079"/>
                  <a:gd name="connsiteY30" fmla="*/ 2326602 h 3279140"/>
                  <a:gd name="connsiteX31" fmla="*/ 837556 w 2956079"/>
                  <a:gd name="connsiteY31" fmla="*/ 2364922 h 3279140"/>
                  <a:gd name="connsiteX32" fmla="*/ 853979 w 2956079"/>
                  <a:gd name="connsiteY32" fmla="*/ 2457986 h 3279140"/>
                  <a:gd name="connsiteX33" fmla="*/ 853979 w 2956079"/>
                  <a:gd name="connsiteY33" fmla="*/ 2529153 h 3279140"/>
                  <a:gd name="connsiteX34" fmla="*/ 771865 w 2956079"/>
                  <a:gd name="connsiteY34" fmla="*/ 2572948 h 3279140"/>
                  <a:gd name="connsiteX35" fmla="*/ 722598 w 2956079"/>
                  <a:gd name="connsiteY35" fmla="*/ 2529153 h 3279140"/>
                  <a:gd name="connsiteX36" fmla="*/ 635010 w 2956079"/>
                  <a:gd name="connsiteY36" fmla="*/ 2540102 h 3279140"/>
                  <a:gd name="connsiteX37" fmla="*/ 673330 w 2956079"/>
                  <a:gd name="connsiteY37" fmla="*/ 2605794 h 3279140"/>
                  <a:gd name="connsiteX38" fmla="*/ 640484 w 2956079"/>
                  <a:gd name="connsiteY38" fmla="*/ 2693384 h 3279140"/>
                  <a:gd name="connsiteX39" fmla="*/ 596690 w 2956079"/>
                  <a:gd name="connsiteY39" fmla="*/ 2720755 h 3279140"/>
                  <a:gd name="connsiteX40" fmla="*/ 602165 w 2956079"/>
                  <a:gd name="connsiteY40" fmla="*/ 2786448 h 3279140"/>
                  <a:gd name="connsiteX41" fmla="*/ 635010 w 2956079"/>
                  <a:gd name="connsiteY41" fmla="*/ 2824768 h 3279140"/>
                  <a:gd name="connsiteX42" fmla="*/ 635010 w 2956079"/>
                  <a:gd name="connsiteY42" fmla="*/ 2879512 h 3279140"/>
                  <a:gd name="connsiteX43" fmla="*/ 684278 w 2956079"/>
                  <a:gd name="connsiteY43" fmla="*/ 2972576 h 3279140"/>
                  <a:gd name="connsiteX44" fmla="*/ 739020 w 2956079"/>
                  <a:gd name="connsiteY44" fmla="*/ 2967101 h 3279140"/>
                  <a:gd name="connsiteX45" fmla="*/ 739020 w 2956079"/>
                  <a:gd name="connsiteY45" fmla="*/ 2967101 h 3279140"/>
                  <a:gd name="connsiteX46" fmla="*/ 700701 w 2956079"/>
                  <a:gd name="connsiteY46" fmla="*/ 3021845 h 3279140"/>
                  <a:gd name="connsiteX47" fmla="*/ 711649 w 2956079"/>
                  <a:gd name="connsiteY47" fmla="*/ 3093012 h 3279140"/>
                  <a:gd name="connsiteX48" fmla="*/ 711649 w 2956079"/>
                  <a:gd name="connsiteY48" fmla="*/ 3093012 h 3279140"/>
                  <a:gd name="connsiteX49" fmla="*/ 684278 w 2956079"/>
                  <a:gd name="connsiteY49" fmla="*/ 3279140 h 3279140"/>
                  <a:gd name="connsiteX50" fmla="*/ 788288 w 2956079"/>
                  <a:gd name="connsiteY50" fmla="*/ 3136807 h 3279140"/>
                  <a:gd name="connsiteX51" fmla="*/ 892298 w 2956079"/>
                  <a:gd name="connsiteY51" fmla="*/ 3158704 h 3279140"/>
                  <a:gd name="connsiteX52" fmla="*/ 864927 w 2956079"/>
                  <a:gd name="connsiteY52" fmla="*/ 3098486 h 3279140"/>
                  <a:gd name="connsiteX53" fmla="*/ 941566 w 2956079"/>
                  <a:gd name="connsiteY53" fmla="*/ 3038268 h 3279140"/>
                  <a:gd name="connsiteX54" fmla="*/ 985360 w 2956079"/>
                  <a:gd name="connsiteY54" fmla="*/ 3071114 h 3279140"/>
                  <a:gd name="connsiteX55" fmla="*/ 1001783 w 2956079"/>
                  <a:gd name="connsiteY55" fmla="*/ 2983525 h 3279140"/>
                  <a:gd name="connsiteX56" fmla="*/ 1001783 w 2956079"/>
                  <a:gd name="connsiteY56" fmla="*/ 2983525 h 3279140"/>
                  <a:gd name="connsiteX57" fmla="*/ 1089370 w 2956079"/>
                  <a:gd name="connsiteY57" fmla="*/ 3038268 h 3279140"/>
                  <a:gd name="connsiteX58" fmla="*/ 1204329 w 2956079"/>
                  <a:gd name="connsiteY58" fmla="*/ 2939730 h 3279140"/>
                  <a:gd name="connsiteX59" fmla="*/ 1182432 w 2956079"/>
                  <a:gd name="connsiteY59" fmla="*/ 2819294 h 3279140"/>
                  <a:gd name="connsiteX60" fmla="*/ 1231700 w 2956079"/>
                  <a:gd name="connsiteY60" fmla="*/ 2704332 h 3279140"/>
                  <a:gd name="connsiteX61" fmla="*/ 1379504 w 2956079"/>
                  <a:gd name="connsiteY61" fmla="*/ 2786448 h 3279140"/>
                  <a:gd name="connsiteX62" fmla="*/ 1434246 w 2956079"/>
                  <a:gd name="connsiteY62" fmla="*/ 2824768 h 3279140"/>
                  <a:gd name="connsiteX63" fmla="*/ 1472566 w 2956079"/>
                  <a:gd name="connsiteY63" fmla="*/ 2742653 h 3279140"/>
                  <a:gd name="connsiteX64" fmla="*/ 1532782 w 2956079"/>
                  <a:gd name="connsiteY64" fmla="*/ 2748127 h 3279140"/>
                  <a:gd name="connsiteX65" fmla="*/ 1494463 w 2956079"/>
                  <a:gd name="connsiteY65" fmla="*/ 2660538 h 3279140"/>
                  <a:gd name="connsiteX66" fmla="*/ 1521834 w 2956079"/>
                  <a:gd name="connsiteY66" fmla="*/ 2583897 h 3279140"/>
                  <a:gd name="connsiteX67" fmla="*/ 1609421 w 2956079"/>
                  <a:gd name="connsiteY67" fmla="*/ 2479884 h 3279140"/>
                  <a:gd name="connsiteX68" fmla="*/ 1713431 w 2956079"/>
                  <a:gd name="connsiteY68" fmla="*/ 2485358 h 3279140"/>
                  <a:gd name="connsiteX69" fmla="*/ 1773648 w 2956079"/>
                  <a:gd name="connsiteY69" fmla="*/ 2397768 h 3279140"/>
                  <a:gd name="connsiteX70" fmla="*/ 1686060 w 2956079"/>
                  <a:gd name="connsiteY70" fmla="*/ 2277333 h 3279140"/>
                  <a:gd name="connsiteX71" fmla="*/ 1762699 w 2956079"/>
                  <a:gd name="connsiteY71" fmla="*/ 2156897 h 3279140"/>
                  <a:gd name="connsiteX72" fmla="*/ 1828390 w 2956079"/>
                  <a:gd name="connsiteY72" fmla="*/ 2036461 h 3279140"/>
                  <a:gd name="connsiteX73" fmla="*/ 1855761 w 2956079"/>
                  <a:gd name="connsiteY73" fmla="*/ 1916025 h 3279140"/>
                  <a:gd name="connsiteX74" fmla="*/ 1921452 w 2956079"/>
                  <a:gd name="connsiteY74" fmla="*/ 1883179 h 3279140"/>
                  <a:gd name="connsiteX75" fmla="*/ 2249905 w 2956079"/>
                  <a:gd name="connsiteY75" fmla="*/ 1675153 h 3279140"/>
                  <a:gd name="connsiteX76" fmla="*/ 2299173 w 2956079"/>
                  <a:gd name="connsiteY76" fmla="*/ 1680628 h 3279140"/>
                  <a:gd name="connsiteX77" fmla="*/ 2578358 w 2956079"/>
                  <a:gd name="connsiteY77" fmla="*/ 1636833 h 3279140"/>
                  <a:gd name="connsiteX78" fmla="*/ 2627626 w 2956079"/>
                  <a:gd name="connsiteY78" fmla="*/ 1571141 h 3279140"/>
                  <a:gd name="connsiteX79" fmla="*/ 2759007 w 2956079"/>
                  <a:gd name="connsiteY79" fmla="*/ 1565666 h 3279140"/>
                  <a:gd name="connsiteX80" fmla="*/ 2759007 w 2956079"/>
                  <a:gd name="connsiteY80" fmla="*/ 1565666 h 3279140"/>
                  <a:gd name="connsiteX81" fmla="*/ 2808275 w 2956079"/>
                  <a:gd name="connsiteY81" fmla="*/ 1582089 h 3279140"/>
                  <a:gd name="connsiteX82" fmla="*/ 2808275 w 2956079"/>
                  <a:gd name="connsiteY82" fmla="*/ 1582089 h 3279140"/>
                  <a:gd name="connsiteX83" fmla="*/ 2956079 w 2956079"/>
                  <a:gd name="connsiteY83" fmla="*/ 1647782 h 3279140"/>
                  <a:gd name="connsiteX84" fmla="*/ 2906811 w 2956079"/>
                  <a:gd name="connsiteY84" fmla="*/ 1527346 h 3279140"/>
                  <a:gd name="connsiteX85" fmla="*/ 2797327 w 2956079"/>
                  <a:gd name="connsiteY85" fmla="*/ 1412384 h 3279140"/>
                  <a:gd name="connsiteX86" fmla="*/ 2731636 w 2956079"/>
                  <a:gd name="connsiteY86" fmla="*/ 1445230 h 3279140"/>
                  <a:gd name="connsiteX87" fmla="*/ 2649523 w 2956079"/>
                  <a:gd name="connsiteY87" fmla="*/ 1406910 h 3279140"/>
                  <a:gd name="connsiteX88" fmla="*/ 2895863 w 2956079"/>
                  <a:gd name="connsiteY88" fmla="*/ 1012756 h 3279140"/>
                  <a:gd name="connsiteX89" fmla="*/ 2726162 w 2956079"/>
                  <a:gd name="connsiteY89" fmla="*/ 897795 h 3279140"/>
                  <a:gd name="connsiteX90" fmla="*/ 2676894 w 2956079"/>
                  <a:gd name="connsiteY90" fmla="*/ 914218 h 3279140"/>
                  <a:gd name="connsiteX91" fmla="*/ 2676894 w 2956079"/>
                  <a:gd name="connsiteY91" fmla="*/ 914218 h 3279140"/>
                  <a:gd name="connsiteX92" fmla="*/ 2550987 w 2956079"/>
                  <a:gd name="connsiteY92" fmla="*/ 815679 h 3279140"/>
                  <a:gd name="connsiteX93" fmla="*/ 2479822 w 2956079"/>
                  <a:gd name="connsiteY93" fmla="*/ 854000 h 3279140"/>
                  <a:gd name="connsiteX94" fmla="*/ 2479822 w 2956079"/>
                  <a:gd name="connsiteY94" fmla="*/ 854000 h 3279140"/>
                  <a:gd name="connsiteX95" fmla="*/ 2425080 w 2956079"/>
                  <a:gd name="connsiteY95" fmla="*/ 881372 h 3279140"/>
                  <a:gd name="connsiteX96" fmla="*/ 2386760 w 2956079"/>
                  <a:gd name="connsiteY96" fmla="*/ 908743 h 3279140"/>
                  <a:gd name="connsiteX97" fmla="*/ 2359389 w 2956079"/>
                  <a:gd name="connsiteY97" fmla="*/ 837577 h 3279140"/>
                  <a:gd name="connsiteX98" fmla="*/ 2288224 w 2956079"/>
                  <a:gd name="connsiteY98" fmla="*/ 810205 h 3279140"/>
                  <a:gd name="connsiteX99" fmla="*/ 2260853 w 2956079"/>
                  <a:gd name="connsiteY99" fmla="*/ 760936 h 3279140"/>
                  <a:gd name="connsiteX100" fmla="*/ 2206111 w 2956079"/>
                  <a:gd name="connsiteY100" fmla="*/ 870423 h 3279140"/>
                  <a:gd name="connsiteX101" fmla="*/ 2107575 w 2956079"/>
                  <a:gd name="connsiteY101" fmla="*/ 875897 h 3279140"/>
                  <a:gd name="connsiteX102" fmla="*/ 2069256 w 2956079"/>
                  <a:gd name="connsiteY102" fmla="*/ 936115 h 3279140"/>
                  <a:gd name="connsiteX103" fmla="*/ 1910503 w 2956079"/>
                  <a:gd name="connsiteY103" fmla="*/ 881372 h 3279140"/>
                  <a:gd name="connsiteX104" fmla="*/ 1850287 w 2956079"/>
                  <a:gd name="connsiteY104" fmla="*/ 908743 h 3279140"/>
                  <a:gd name="connsiteX105" fmla="*/ 1746277 w 2956079"/>
                  <a:gd name="connsiteY105" fmla="*/ 843051 h 3279140"/>
                  <a:gd name="connsiteX106" fmla="*/ 1768174 w 2956079"/>
                  <a:gd name="connsiteY106" fmla="*/ 771885 h 3279140"/>
                  <a:gd name="connsiteX107" fmla="*/ 1707957 w 2956079"/>
                  <a:gd name="connsiteY107" fmla="*/ 640500 h 3279140"/>
                  <a:gd name="connsiteX108" fmla="*/ 1664163 w 2956079"/>
                  <a:gd name="connsiteY108" fmla="*/ 673346 h 3279140"/>
                  <a:gd name="connsiteX109" fmla="*/ 1582050 w 2956079"/>
                  <a:gd name="connsiteY109" fmla="*/ 629551 h 3279140"/>
                  <a:gd name="connsiteX110" fmla="*/ 1625844 w 2956079"/>
                  <a:gd name="connsiteY110" fmla="*/ 569333 h 3279140"/>
                  <a:gd name="connsiteX111" fmla="*/ 1532782 w 2956079"/>
                  <a:gd name="connsiteY111" fmla="*/ 448898 h 3279140"/>
                  <a:gd name="connsiteX112" fmla="*/ 1472566 w 2956079"/>
                  <a:gd name="connsiteY112" fmla="*/ 454372 h 3279140"/>
                  <a:gd name="connsiteX113" fmla="*/ 1390452 w 2956079"/>
                  <a:gd name="connsiteY113" fmla="*/ 388680 h 3279140"/>
                  <a:gd name="connsiteX114" fmla="*/ 1308339 w 2956079"/>
                  <a:gd name="connsiteY114" fmla="*/ 366782 h 3279140"/>
                  <a:gd name="connsiteX115" fmla="*/ 1302865 w 2956079"/>
                  <a:gd name="connsiteY115" fmla="*/ 251821 h 3279140"/>
                  <a:gd name="connsiteX116" fmla="*/ 1209803 w 2956079"/>
                  <a:gd name="connsiteY116" fmla="*/ 142334 h 3279140"/>
                  <a:gd name="connsiteX117" fmla="*/ 1144112 w 2956079"/>
                  <a:gd name="connsiteY117" fmla="*/ 109487 h 3279140"/>
                  <a:gd name="connsiteX118" fmla="*/ 1144112 w 2956079"/>
                  <a:gd name="connsiteY118" fmla="*/ 109487 h 3279140"/>
                  <a:gd name="connsiteX119" fmla="*/ 1072948 w 2956079"/>
                  <a:gd name="connsiteY119" fmla="*/ 98539 h 3279140"/>
                  <a:gd name="connsiteX120" fmla="*/ 957989 w 2956079"/>
                  <a:gd name="connsiteY120" fmla="*/ 0 h 3279140"/>
                  <a:gd name="connsiteX121" fmla="*/ 957989 w 2956079"/>
                  <a:gd name="connsiteY121" fmla="*/ 0 h 3279140"/>
                  <a:gd name="connsiteX122" fmla="*/ 903247 w 2956079"/>
                  <a:gd name="connsiteY122" fmla="*/ 60218 h 3279140"/>
                  <a:gd name="connsiteX123" fmla="*/ 815659 w 2956079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51145 w 2968904"/>
                  <a:gd name="connsiteY17" fmla="*/ 1954346 h 3279140"/>
                  <a:gd name="connsiteX18" fmla="*/ 51145 w 2968904"/>
                  <a:gd name="connsiteY18" fmla="*/ 2020038 h 3279140"/>
                  <a:gd name="connsiteX19" fmla="*/ 5114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22570 w 2968904"/>
                  <a:gd name="connsiteY17" fmla="*/ 1957521 h 3279140"/>
                  <a:gd name="connsiteX18" fmla="*/ 51145 w 2968904"/>
                  <a:gd name="connsiteY18" fmla="*/ 2020038 h 3279140"/>
                  <a:gd name="connsiteX19" fmla="*/ 5114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51145 w 2968904"/>
                  <a:gd name="connsiteY18" fmla="*/ 2020038 h 3279140"/>
                  <a:gd name="connsiteX19" fmla="*/ 5114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51145 w 2968904"/>
                  <a:gd name="connsiteY18" fmla="*/ 2020038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82895 w 2968904"/>
                  <a:gd name="connsiteY18" fmla="*/ 1978763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28920 w 2968904"/>
                  <a:gd name="connsiteY18" fmla="*/ 1985113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47970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17972 w 2968904"/>
                  <a:gd name="connsiteY10" fmla="*/ 131297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47970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9322 w 2968904"/>
                  <a:gd name="connsiteY9" fmla="*/ 1230855 h 3279140"/>
                  <a:gd name="connsiteX10" fmla="*/ 17972 w 2968904"/>
                  <a:gd name="connsiteY10" fmla="*/ 131297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47970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112112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95690 w 2975129"/>
                  <a:gd name="connsiteY13" fmla="*/ 1675153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41648 w 2975129"/>
                  <a:gd name="connsiteY35" fmla="*/ 25291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95690 w 2975129"/>
                  <a:gd name="connsiteY13" fmla="*/ 1675153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41648 w 2975129"/>
                  <a:gd name="connsiteY35" fmla="*/ 25291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41648 w 2975129"/>
                  <a:gd name="connsiteY35" fmla="*/ 25291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25773 w 2975129"/>
                  <a:gd name="connsiteY35" fmla="*/ 251010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26557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265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10513 w 2975129"/>
                  <a:gd name="connsiteY50" fmla="*/ 31495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89205 w 2975129"/>
                  <a:gd name="connsiteY37" fmla="*/ 2589919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10513 w 2975129"/>
                  <a:gd name="connsiteY50" fmla="*/ 31495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38185 w 2975129"/>
                  <a:gd name="connsiteY36" fmla="*/ 2533752 h 3279140"/>
                  <a:gd name="connsiteX37" fmla="*/ 689205 w 2975129"/>
                  <a:gd name="connsiteY37" fmla="*/ 2589919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10513 w 2975129"/>
                  <a:gd name="connsiteY50" fmla="*/ 31495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2975129" h="3279140">
                    <a:moveTo>
                      <a:pt x="834709" y="71167"/>
                    </a:moveTo>
                    <a:lnTo>
                      <a:pt x="834709" y="71167"/>
                    </a:lnTo>
                    <a:lnTo>
                      <a:pt x="987987" y="208026"/>
                    </a:lnTo>
                    <a:lnTo>
                      <a:pt x="977039" y="361308"/>
                    </a:lnTo>
                    <a:lnTo>
                      <a:pt x="922297" y="355833"/>
                    </a:lnTo>
                    <a:lnTo>
                      <a:pt x="862080" y="563859"/>
                    </a:lnTo>
                    <a:lnTo>
                      <a:pt x="675957" y="799256"/>
                    </a:lnTo>
                    <a:lnTo>
                      <a:pt x="456988" y="958013"/>
                    </a:lnTo>
                    <a:lnTo>
                      <a:pt x="0" y="1123119"/>
                    </a:lnTo>
                    <a:lnTo>
                      <a:pt x="15547" y="1230855"/>
                    </a:lnTo>
                    <a:lnTo>
                      <a:pt x="24197" y="1312970"/>
                    </a:lnTo>
                    <a:lnTo>
                      <a:pt x="96237" y="1401436"/>
                    </a:lnTo>
                    <a:lnTo>
                      <a:pt x="117586" y="1532820"/>
                    </a:lnTo>
                    <a:lnTo>
                      <a:pt x="79815" y="1671978"/>
                    </a:lnTo>
                    <a:lnTo>
                      <a:pt x="6225" y="1788332"/>
                    </a:lnTo>
                    <a:lnTo>
                      <a:pt x="24525" y="1872230"/>
                    </a:lnTo>
                    <a:lnTo>
                      <a:pt x="24525" y="1872230"/>
                    </a:lnTo>
                    <a:lnTo>
                      <a:pt x="44670" y="1951171"/>
                    </a:lnTo>
                    <a:cubicBezTo>
                      <a:pt x="48903" y="1974127"/>
                      <a:pt x="46258" y="1973635"/>
                      <a:pt x="47845" y="1985113"/>
                    </a:cubicBezTo>
                    <a:cubicBezTo>
                      <a:pt x="49433" y="1996591"/>
                      <a:pt x="41659" y="2012392"/>
                      <a:pt x="54195" y="2020038"/>
                    </a:cubicBezTo>
                    <a:cubicBezTo>
                      <a:pt x="66731" y="2027684"/>
                      <a:pt x="94814" y="2027337"/>
                      <a:pt x="123061" y="2030987"/>
                    </a:cubicBezTo>
                    <a:lnTo>
                      <a:pt x="155906" y="2085730"/>
                    </a:lnTo>
                    <a:lnTo>
                      <a:pt x="380349" y="2145948"/>
                    </a:lnTo>
                    <a:lnTo>
                      <a:pt x="429617" y="2244486"/>
                    </a:lnTo>
                    <a:lnTo>
                      <a:pt x="489833" y="2255435"/>
                    </a:lnTo>
                    <a:lnTo>
                      <a:pt x="544576" y="2228063"/>
                    </a:lnTo>
                    <a:lnTo>
                      <a:pt x="632163" y="2310179"/>
                    </a:lnTo>
                    <a:lnTo>
                      <a:pt x="686905" y="2282807"/>
                    </a:lnTo>
                    <a:lnTo>
                      <a:pt x="785441" y="2288281"/>
                    </a:lnTo>
                    <a:lnTo>
                      <a:pt x="845658" y="2239012"/>
                    </a:lnTo>
                    <a:lnTo>
                      <a:pt x="894926" y="2326602"/>
                    </a:lnTo>
                    <a:lnTo>
                      <a:pt x="856606" y="2364922"/>
                    </a:lnTo>
                    <a:lnTo>
                      <a:pt x="873029" y="2457986"/>
                    </a:lnTo>
                    <a:lnTo>
                      <a:pt x="873029" y="2529153"/>
                    </a:lnTo>
                    <a:lnTo>
                      <a:pt x="790915" y="2572948"/>
                    </a:lnTo>
                    <a:lnTo>
                      <a:pt x="719423" y="2516453"/>
                    </a:lnTo>
                    <a:lnTo>
                      <a:pt x="638185" y="2533752"/>
                    </a:lnTo>
                    <a:lnTo>
                      <a:pt x="689205" y="2589919"/>
                    </a:lnTo>
                    <a:lnTo>
                      <a:pt x="659534" y="2693384"/>
                    </a:lnTo>
                    <a:lnTo>
                      <a:pt x="615740" y="2720755"/>
                    </a:lnTo>
                    <a:lnTo>
                      <a:pt x="598990" y="2776923"/>
                    </a:lnTo>
                    <a:lnTo>
                      <a:pt x="650885" y="2837468"/>
                    </a:lnTo>
                    <a:lnTo>
                      <a:pt x="654060" y="2879512"/>
                    </a:lnTo>
                    <a:lnTo>
                      <a:pt x="703328" y="2972576"/>
                    </a:lnTo>
                    <a:lnTo>
                      <a:pt x="758070" y="2967101"/>
                    </a:lnTo>
                    <a:lnTo>
                      <a:pt x="758070" y="2967101"/>
                    </a:lnTo>
                    <a:lnTo>
                      <a:pt x="719751" y="3021845"/>
                    </a:lnTo>
                    <a:lnTo>
                      <a:pt x="730699" y="3093012"/>
                    </a:lnTo>
                    <a:lnTo>
                      <a:pt x="730699" y="3093012"/>
                    </a:lnTo>
                    <a:lnTo>
                      <a:pt x="703328" y="3279140"/>
                    </a:lnTo>
                    <a:lnTo>
                      <a:pt x="810513" y="3149507"/>
                    </a:lnTo>
                    <a:lnTo>
                      <a:pt x="911348" y="3158704"/>
                    </a:lnTo>
                    <a:lnTo>
                      <a:pt x="883977" y="3098486"/>
                    </a:lnTo>
                    <a:lnTo>
                      <a:pt x="960616" y="3038268"/>
                    </a:lnTo>
                    <a:lnTo>
                      <a:pt x="1004410" y="3071114"/>
                    </a:lnTo>
                    <a:lnTo>
                      <a:pt x="1020833" y="2983525"/>
                    </a:lnTo>
                    <a:lnTo>
                      <a:pt x="1020833" y="2983525"/>
                    </a:lnTo>
                    <a:lnTo>
                      <a:pt x="1108420" y="3038268"/>
                    </a:lnTo>
                    <a:lnTo>
                      <a:pt x="1242429" y="2936555"/>
                    </a:lnTo>
                    <a:lnTo>
                      <a:pt x="1201482" y="2819294"/>
                    </a:lnTo>
                    <a:lnTo>
                      <a:pt x="1257100" y="2713857"/>
                    </a:lnTo>
                    <a:lnTo>
                      <a:pt x="1398554" y="2799148"/>
                    </a:lnTo>
                    <a:lnTo>
                      <a:pt x="1453296" y="2824768"/>
                    </a:lnTo>
                    <a:lnTo>
                      <a:pt x="1491616" y="2742653"/>
                    </a:lnTo>
                    <a:lnTo>
                      <a:pt x="1551832" y="2748127"/>
                    </a:lnTo>
                    <a:lnTo>
                      <a:pt x="1513513" y="2660538"/>
                    </a:lnTo>
                    <a:lnTo>
                      <a:pt x="1540884" y="2583897"/>
                    </a:lnTo>
                    <a:lnTo>
                      <a:pt x="1628471" y="2479884"/>
                    </a:lnTo>
                    <a:lnTo>
                      <a:pt x="1732481" y="2485358"/>
                    </a:lnTo>
                    <a:lnTo>
                      <a:pt x="1792698" y="2397768"/>
                    </a:lnTo>
                    <a:lnTo>
                      <a:pt x="1705110" y="2277333"/>
                    </a:lnTo>
                    <a:lnTo>
                      <a:pt x="1781749" y="2156897"/>
                    </a:lnTo>
                    <a:lnTo>
                      <a:pt x="1847440" y="2036461"/>
                    </a:lnTo>
                    <a:lnTo>
                      <a:pt x="1874811" y="1916025"/>
                    </a:lnTo>
                    <a:lnTo>
                      <a:pt x="1940502" y="1883179"/>
                    </a:lnTo>
                    <a:lnTo>
                      <a:pt x="2268955" y="1675153"/>
                    </a:lnTo>
                    <a:lnTo>
                      <a:pt x="2318223" y="1680628"/>
                    </a:lnTo>
                    <a:lnTo>
                      <a:pt x="2597408" y="1636833"/>
                    </a:lnTo>
                    <a:lnTo>
                      <a:pt x="2646676" y="1571141"/>
                    </a:lnTo>
                    <a:lnTo>
                      <a:pt x="2778057" y="1565666"/>
                    </a:lnTo>
                    <a:lnTo>
                      <a:pt x="2778057" y="1565666"/>
                    </a:lnTo>
                    <a:lnTo>
                      <a:pt x="2827325" y="1582089"/>
                    </a:lnTo>
                    <a:lnTo>
                      <a:pt x="2827325" y="1582089"/>
                    </a:lnTo>
                    <a:lnTo>
                      <a:pt x="2975129" y="1647782"/>
                    </a:lnTo>
                    <a:lnTo>
                      <a:pt x="2925861" y="1527346"/>
                    </a:lnTo>
                    <a:lnTo>
                      <a:pt x="2816377" y="1412384"/>
                    </a:lnTo>
                    <a:lnTo>
                      <a:pt x="2750686" y="1445230"/>
                    </a:lnTo>
                    <a:lnTo>
                      <a:pt x="2668573" y="1406910"/>
                    </a:lnTo>
                    <a:lnTo>
                      <a:pt x="2914913" y="1012756"/>
                    </a:lnTo>
                    <a:lnTo>
                      <a:pt x="2745212" y="897795"/>
                    </a:lnTo>
                    <a:lnTo>
                      <a:pt x="2695944" y="914218"/>
                    </a:lnTo>
                    <a:lnTo>
                      <a:pt x="2695944" y="914218"/>
                    </a:lnTo>
                    <a:lnTo>
                      <a:pt x="2570037" y="815679"/>
                    </a:lnTo>
                    <a:lnTo>
                      <a:pt x="2498872" y="854000"/>
                    </a:lnTo>
                    <a:lnTo>
                      <a:pt x="2498872" y="854000"/>
                    </a:lnTo>
                    <a:lnTo>
                      <a:pt x="2444130" y="881372"/>
                    </a:lnTo>
                    <a:lnTo>
                      <a:pt x="2405810" y="908743"/>
                    </a:lnTo>
                    <a:lnTo>
                      <a:pt x="2378439" y="837577"/>
                    </a:lnTo>
                    <a:lnTo>
                      <a:pt x="2307274" y="810205"/>
                    </a:lnTo>
                    <a:lnTo>
                      <a:pt x="2279903" y="760936"/>
                    </a:lnTo>
                    <a:lnTo>
                      <a:pt x="2225161" y="870423"/>
                    </a:lnTo>
                    <a:lnTo>
                      <a:pt x="2126625" y="875897"/>
                    </a:lnTo>
                    <a:lnTo>
                      <a:pt x="2088306" y="936115"/>
                    </a:lnTo>
                    <a:lnTo>
                      <a:pt x="1929553" y="881372"/>
                    </a:lnTo>
                    <a:lnTo>
                      <a:pt x="1869337" y="908743"/>
                    </a:lnTo>
                    <a:lnTo>
                      <a:pt x="1765327" y="843051"/>
                    </a:lnTo>
                    <a:lnTo>
                      <a:pt x="1787224" y="771885"/>
                    </a:lnTo>
                    <a:lnTo>
                      <a:pt x="1727007" y="640500"/>
                    </a:lnTo>
                    <a:lnTo>
                      <a:pt x="1683213" y="673346"/>
                    </a:lnTo>
                    <a:lnTo>
                      <a:pt x="1601100" y="629551"/>
                    </a:lnTo>
                    <a:lnTo>
                      <a:pt x="1644894" y="569333"/>
                    </a:lnTo>
                    <a:lnTo>
                      <a:pt x="1551832" y="448898"/>
                    </a:lnTo>
                    <a:lnTo>
                      <a:pt x="1491616" y="454372"/>
                    </a:lnTo>
                    <a:lnTo>
                      <a:pt x="1409502" y="388680"/>
                    </a:lnTo>
                    <a:lnTo>
                      <a:pt x="1327389" y="366782"/>
                    </a:lnTo>
                    <a:lnTo>
                      <a:pt x="1321915" y="251821"/>
                    </a:lnTo>
                    <a:lnTo>
                      <a:pt x="1228853" y="142334"/>
                    </a:lnTo>
                    <a:lnTo>
                      <a:pt x="1163162" y="109487"/>
                    </a:lnTo>
                    <a:lnTo>
                      <a:pt x="1163162" y="109487"/>
                    </a:lnTo>
                    <a:lnTo>
                      <a:pt x="1091998" y="98539"/>
                    </a:lnTo>
                    <a:lnTo>
                      <a:pt x="977039" y="0"/>
                    </a:lnTo>
                    <a:lnTo>
                      <a:pt x="977039" y="0"/>
                    </a:lnTo>
                    <a:lnTo>
                      <a:pt x="922297" y="60218"/>
                    </a:lnTo>
                    <a:lnTo>
                      <a:pt x="834709" y="71167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5" name="Forma libre 5"/>
              <p:cNvSpPr/>
              <p:nvPr/>
            </p:nvSpPr>
            <p:spPr>
              <a:xfrm>
                <a:off x="968743" y="5975329"/>
                <a:ext cx="91628" cy="236177"/>
              </a:xfrm>
              <a:custGeom>
                <a:avLst/>
                <a:gdLst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503628 w 596690"/>
                  <a:gd name="connsiteY28" fmla="*/ 1149615 h 1494500"/>
                  <a:gd name="connsiteX29" fmla="*/ 388670 w 596690"/>
                  <a:gd name="connsiteY29" fmla="*/ 1122243 h 1494500"/>
                  <a:gd name="connsiteX30" fmla="*/ 333927 w 596690"/>
                  <a:gd name="connsiteY30" fmla="*/ 1034654 h 1494500"/>
                  <a:gd name="connsiteX31" fmla="*/ 344876 w 596690"/>
                  <a:gd name="connsiteY31" fmla="*/ 903269 h 1494500"/>
                  <a:gd name="connsiteX32" fmla="*/ 328453 w 596690"/>
                  <a:gd name="connsiteY32" fmla="*/ 771885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503628 w 596690"/>
                  <a:gd name="connsiteY28" fmla="*/ 1149615 h 1494500"/>
                  <a:gd name="connsiteX29" fmla="*/ 388670 w 596690"/>
                  <a:gd name="connsiteY29" fmla="*/ 1122243 h 1494500"/>
                  <a:gd name="connsiteX30" fmla="*/ 333927 w 596690"/>
                  <a:gd name="connsiteY30" fmla="*/ 1034654 h 1494500"/>
                  <a:gd name="connsiteX31" fmla="*/ 344876 w 596690"/>
                  <a:gd name="connsiteY31" fmla="*/ 903269 h 1494500"/>
                  <a:gd name="connsiteX32" fmla="*/ 350678 w 596690"/>
                  <a:gd name="connsiteY32" fmla="*/ 838560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503628 w 596690"/>
                  <a:gd name="connsiteY28" fmla="*/ 1149615 h 1494500"/>
                  <a:gd name="connsiteX29" fmla="*/ 388670 w 596690"/>
                  <a:gd name="connsiteY29" fmla="*/ 1122243 h 1494500"/>
                  <a:gd name="connsiteX30" fmla="*/ 340277 w 596690"/>
                  <a:gd name="connsiteY30" fmla="*/ 1031479 h 1494500"/>
                  <a:gd name="connsiteX31" fmla="*/ 344876 w 596690"/>
                  <a:gd name="connsiteY31" fmla="*/ 903269 h 1494500"/>
                  <a:gd name="connsiteX32" fmla="*/ 350678 w 596690"/>
                  <a:gd name="connsiteY32" fmla="*/ 838560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497278 w 596690"/>
                  <a:gd name="connsiteY28" fmla="*/ 1136915 h 1494500"/>
                  <a:gd name="connsiteX29" fmla="*/ 388670 w 596690"/>
                  <a:gd name="connsiteY29" fmla="*/ 1122243 h 1494500"/>
                  <a:gd name="connsiteX30" fmla="*/ 340277 w 596690"/>
                  <a:gd name="connsiteY30" fmla="*/ 1031479 h 1494500"/>
                  <a:gd name="connsiteX31" fmla="*/ 344876 w 596690"/>
                  <a:gd name="connsiteY31" fmla="*/ 903269 h 1494500"/>
                  <a:gd name="connsiteX32" fmla="*/ 350678 w 596690"/>
                  <a:gd name="connsiteY32" fmla="*/ 838560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46692 h 1494500"/>
                  <a:gd name="connsiteX24" fmla="*/ 487206 w 606215"/>
                  <a:gd name="connsiteY24" fmla="*/ 1385013 h 1494500"/>
                  <a:gd name="connsiteX25" fmla="*/ 487206 w 606215"/>
                  <a:gd name="connsiteY25" fmla="*/ 1330269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46692 h 1494500"/>
                  <a:gd name="connsiteX24" fmla="*/ 487206 w 606215"/>
                  <a:gd name="connsiteY24" fmla="*/ 1385013 h 1494500"/>
                  <a:gd name="connsiteX25" fmla="*/ 503081 w 606215"/>
                  <a:gd name="connsiteY25" fmla="*/ 1333444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85013 h 1494500"/>
                  <a:gd name="connsiteX25" fmla="*/ 503081 w 606215"/>
                  <a:gd name="connsiteY25" fmla="*/ 1333444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57001 w 606215"/>
                  <a:gd name="connsiteY18" fmla="*/ 12683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99959 w 606215"/>
                  <a:gd name="connsiteY17" fmla="*/ 1193410 h 1494500"/>
                  <a:gd name="connsiteX18" fmla="*/ 157001 w 606215"/>
                  <a:gd name="connsiteY18" fmla="*/ 12683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20693 w 606215"/>
                  <a:gd name="connsiteY16" fmla="*/ 1144689 h 1494500"/>
                  <a:gd name="connsiteX17" fmla="*/ 99959 w 606215"/>
                  <a:gd name="connsiteY17" fmla="*/ 1193410 h 1494500"/>
                  <a:gd name="connsiteX18" fmla="*/ 157001 w 606215"/>
                  <a:gd name="connsiteY18" fmla="*/ 12683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12906 w 612565"/>
                  <a:gd name="connsiteY0" fmla="*/ 0 h 1494500"/>
                  <a:gd name="connsiteX1" fmla="*/ 312906 w 612565"/>
                  <a:gd name="connsiteY1" fmla="*/ 0 h 1494500"/>
                  <a:gd name="connsiteX2" fmla="*/ 197948 w 612565"/>
                  <a:gd name="connsiteY2" fmla="*/ 114962 h 1494500"/>
                  <a:gd name="connsiteX3" fmla="*/ 208896 w 612565"/>
                  <a:gd name="connsiteY3" fmla="*/ 197077 h 1494500"/>
                  <a:gd name="connsiteX4" fmla="*/ 208896 w 612565"/>
                  <a:gd name="connsiteY4" fmla="*/ 197077 h 1494500"/>
                  <a:gd name="connsiteX5" fmla="*/ 132257 w 612565"/>
                  <a:gd name="connsiteY5" fmla="*/ 131385 h 1494500"/>
                  <a:gd name="connsiteX6" fmla="*/ 99412 w 612565"/>
                  <a:gd name="connsiteY6" fmla="*/ 279193 h 1494500"/>
                  <a:gd name="connsiteX7" fmla="*/ 44670 w 612565"/>
                  <a:gd name="connsiteY7" fmla="*/ 421526 h 1494500"/>
                  <a:gd name="connsiteX8" fmla="*/ 22773 w 612565"/>
                  <a:gd name="connsiteY8" fmla="*/ 541962 h 1494500"/>
                  <a:gd name="connsiteX9" fmla="*/ 11824 w 612565"/>
                  <a:gd name="connsiteY9" fmla="*/ 613128 h 1494500"/>
                  <a:gd name="connsiteX10" fmla="*/ 11824 w 612565"/>
                  <a:gd name="connsiteY10" fmla="*/ 613128 h 1494500"/>
                  <a:gd name="connsiteX11" fmla="*/ 22773 w 612565"/>
                  <a:gd name="connsiteY11" fmla="*/ 760936 h 1494500"/>
                  <a:gd name="connsiteX12" fmla="*/ 6350 w 612565"/>
                  <a:gd name="connsiteY12" fmla="*/ 832103 h 1494500"/>
                  <a:gd name="connsiteX13" fmla="*/ 72041 w 612565"/>
                  <a:gd name="connsiteY13" fmla="*/ 897795 h 1494500"/>
                  <a:gd name="connsiteX14" fmla="*/ 11824 w 612565"/>
                  <a:gd name="connsiteY14" fmla="*/ 1023705 h 1494500"/>
                  <a:gd name="connsiteX15" fmla="*/ 0 w 612565"/>
                  <a:gd name="connsiteY15" fmla="*/ 1057647 h 1494500"/>
                  <a:gd name="connsiteX16" fmla="*/ 27043 w 612565"/>
                  <a:gd name="connsiteY16" fmla="*/ 1144689 h 1494500"/>
                  <a:gd name="connsiteX17" fmla="*/ 106309 w 612565"/>
                  <a:gd name="connsiteY17" fmla="*/ 1193410 h 1494500"/>
                  <a:gd name="connsiteX18" fmla="*/ 163351 w 612565"/>
                  <a:gd name="connsiteY18" fmla="*/ 1268300 h 1494500"/>
                  <a:gd name="connsiteX19" fmla="*/ 225867 w 612565"/>
                  <a:gd name="connsiteY19" fmla="*/ 1361912 h 1494500"/>
                  <a:gd name="connsiteX20" fmla="*/ 263638 w 612565"/>
                  <a:gd name="connsiteY20" fmla="*/ 1494500 h 1494500"/>
                  <a:gd name="connsiteX21" fmla="*/ 367649 w 612565"/>
                  <a:gd name="connsiteY21" fmla="*/ 1472602 h 1494500"/>
                  <a:gd name="connsiteX22" fmla="*/ 367649 w 612565"/>
                  <a:gd name="connsiteY22" fmla="*/ 1374064 h 1494500"/>
                  <a:gd name="connsiteX23" fmla="*/ 411442 w 612565"/>
                  <a:gd name="connsiteY23" fmla="*/ 1356217 h 1494500"/>
                  <a:gd name="connsiteX24" fmla="*/ 493556 w 612565"/>
                  <a:gd name="connsiteY24" fmla="*/ 1394538 h 1494500"/>
                  <a:gd name="connsiteX25" fmla="*/ 509431 w 612565"/>
                  <a:gd name="connsiteY25" fmla="*/ 1333444 h 1494500"/>
                  <a:gd name="connsiteX26" fmla="*/ 557823 w 612565"/>
                  <a:gd name="connsiteY26" fmla="*/ 1246730 h 1494500"/>
                  <a:gd name="connsiteX27" fmla="*/ 612565 w 612565"/>
                  <a:gd name="connsiteY27" fmla="*/ 1237205 h 1494500"/>
                  <a:gd name="connsiteX28" fmla="*/ 503628 w 612565"/>
                  <a:gd name="connsiteY28" fmla="*/ 1136915 h 1494500"/>
                  <a:gd name="connsiteX29" fmla="*/ 395020 w 612565"/>
                  <a:gd name="connsiteY29" fmla="*/ 1122243 h 1494500"/>
                  <a:gd name="connsiteX30" fmla="*/ 346627 w 612565"/>
                  <a:gd name="connsiteY30" fmla="*/ 1031479 h 1494500"/>
                  <a:gd name="connsiteX31" fmla="*/ 351226 w 612565"/>
                  <a:gd name="connsiteY31" fmla="*/ 903269 h 1494500"/>
                  <a:gd name="connsiteX32" fmla="*/ 357028 w 612565"/>
                  <a:gd name="connsiteY32" fmla="*/ 838560 h 1494500"/>
                  <a:gd name="connsiteX33" fmla="*/ 312906 w 612565"/>
                  <a:gd name="connsiteY33" fmla="*/ 662397 h 1494500"/>
                  <a:gd name="connsiteX34" fmla="*/ 395020 w 612565"/>
                  <a:gd name="connsiteY34" fmla="*/ 536487 h 1494500"/>
                  <a:gd name="connsiteX35" fmla="*/ 422391 w 612565"/>
                  <a:gd name="connsiteY35" fmla="*/ 377731 h 1494500"/>
                  <a:gd name="connsiteX36" fmla="*/ 405968 w 612565"/>
                  <a:gd name="connsiteY36" fmla="*/ 279193 h 1494500"/>
                  <a:gd name="connsiteX37" fmla="*/ 340277 w 612565"/>
                  <a:gd name="connsiteY37" fmla="*/ 197077 h 1494500"/>
                  <a:gd name="connsiteX38" fmla="*/ 312906 w 612565"/>
                  <a:gd name="connsiteY38" fmla="*/ 0 h 149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12565" h="1494500">
                    <a:moveTo>
                      <a:pt x="312906" y="0"/>
                    </a:moveTo>
                    <a:lnTo>
                      <a:pt x="312906" y="0"/>
                    </a:lnTo>
                    <a:lnTo>
                      <a:pt x="197948" y="114962"/>
                    </a:lnTo>
                    <a:lnTo>
                      <a:pt x="208896" y="197077"/>
                    </a:lnTo>
                    <a:lnTo>
                      <a:pt x="208896" y="197077"/>
                    </a:lnTo>
                    <a:lnTo>
                      <a:pt x="132257" y="131385"/>
                    </a:lnTo>
                    <a:lnTo>
                      <a:pt x="99412" y="279193"/>
                    </a:lnTo>
                    <a:lnTo>
                      <a:pt x="44670" y="421526"/>
                    </a:lnTo>
                    <a:lnTo>
                      <a:pt x="22773" y="541962"/>
                    </a:lnTo>
                    <a:lnTo>
                      <a:pt x="11824" y="613128"/>
                    </a:lnTo>
                    <a:lnTo>
                      <a:pt x="11824" y="613128"/>
                    </a:lnTo>
                    <a:lnTo>
                      <a:pt x="22773" y="760936"/>
                    </a:lnTo>
                    <a:lnTo>
                      <a:pt x="6350" y="832103"/>
                    </a:lnTo>
                    <a:lnTo>
                      <a:pt x="72041" y="897795"/>
                    </a:lnTo>
                    <a:lnTo>
                      <a:pt x="11824" y="1023705"/>
                    </a:lnTo>
                    <a:lnTo>
                      <a:pt x="0" y="1057647"/>
                    </a:lnTo>
                    <a:lnTo>
                      <a:pt x="27043" y="1144689"/>
                    </a:lnTo>
                    <a:lnTo>
                      <a:pt x="106309" y="1193410"/>
                    </a:lnTo>
                    <a:lnTo>
                      <a:pt x="163351" y="1268300"/>
                    </a:lnTo>
                    <a:lnTo>
                      <a:pt x="225867" y="1361912"/>
                    </a:lnTo>
                    <a:lnTo>
                      <a:pt x="263638" y="1494500"/>
                    </a:lnTo>
                    <a:lnTo>
                      <a:pt x="367649" y="1472602"/>
                    </a:lnTo>
                    <a:lnTo>
                      <a:pt x="367649" y="1374064"/>
                    </a:lnTo>
                    <a:lnTo>
                      <a:pt x="411442" y="1356217"/>
                    </a:lnTo>
                    <a:lnTo>
                      <a:pt x="493556" y="1394538"/>
                    </a:lnTo>
                    <a:lnTo>
                      <a:pt x="509431" y="1333444"/>
                    </a:lnTo>
                    <a:lnTo>
                      <a:pt x="557823" y="1246730"/>
                    </a:lnTo>
                    <a:lnTo>
                      <a:pt x="612565" y="1237205"/>
                    </a:lnTo>
                    <a:lnTo>
                      <a:pt x="503628" y="1136915"/>
                    </a:lnTo>
                    <a:lnTo>
                      <a:pt x="395020" y="1122243"/>
                    </a:lnTo>
                    <a:lnTo>
                      <a:pt x="346627" y="1031479"/>
                    </a:lnTo>
                    <a:lnTo>
                      <a:pt x="351226" y="903269"/>
                    </a:lnTo>
                    <a:lnTo>
                      <a:pt x="357028" y="838560"/>
                    </a:lnTo>
                    <a:lnTo>
                      <a:pt x="312906" y="662397"/>
                    </a:lnTo>
                    <a:lnTo>
                      <a:pt x="395020" y="536487"/>
                    </a:lnTo>
                    <a:lnTo>
                      <a:pt x="422391" y="377731"/>
                    </a:lnTo>
                    <a:lnTo>
                      <a:pt x="405968" y="279193"/>
                    </a:lnTo>
                    <a:lnTo>
                      <a:pt x="340277" y="197077"/>
                    </a:lnTo>
                    <a:lnTo>
                      <a:pt x="312906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6" name="Forma libre 6"/>
              <p:cNvSpPr/>
              <p:nvPr/>
            </p:nvSpPr>
            <p:spPr>
              <a:xfrm>
                <a:off x="837041" y="6002148"/>
                <a:ext cx="50768" cy="44986"/>
              </a:xfrm>
              <a:custGeom>
                <a:avLst/>
                <a:gdLst>
                  <a:gd name="connsiteX0" fmla="*/ 0 w 339402"/>
                  <a:gd name="connsiteY0" fmla="*/ 235398 h 284667"/>
                  <a:gd name="connsiteX1" fmla="*/ 93062 w 339402"/>
                  <a:gd name="connsiteY1" fmla="*/ 158757 h 284667"/>
                  <a:gd name="connsiteX2" fmla="*/ 104011 w 339402"/>
                  <a:gd name="connsiteY2" fmla="*/ 104013 h 284667"/>
                  <a:gd name="connsiteX3" fmla="*/ 186124 w 339402"/>
                  <a:gd name="connsiteY3" fmla="*/ 60218 h 284667"/>
                  <a:gd name="connsiteX4" fmla="*/ 213495 w 339402"/>
                  <a:gd name="connsiteY4" fmla="*/ 5475 h 284667"/>
                  <a:gd name="connsiteX5" fmla="*/ 290134 w 339402"/>
                  <a:gd name="connsiteY5" fmla="*/ 0 h 284667"/>
                  <a:gd name="connsiteX6" fmla="*/ 290134 w 339402"/>
                  <a:gd name="connsiteY6" fmla="*/ 0 h 284667"/>
                  <a:gd name="connsiteX7" fmla="*/ 339402 w 339402"/>
                  <a:gd name="connsiteY7" fmla="*/ 169705 h 284667"/>
                  <a:gd name="connsiteX8" fmla="*/ 279186 w 339402"/>
                  <a:gd name="connsiteY8" fmla="*/ 213500 h 284667"/>
                  <a:gd name="connsiteX9" fmla="*/ 279186 w 339402"/>
                  <a:gd name="connsiteY9" fmla="*/ 213500 h 284667"/>
                  <a:gd name="connsiteX10" fmla="*/ 191598 w 339402"/>
                  <a:gd name="connsiteY10" fmla="*/ 224449 h 284667"/>
                  <a:gd name="connsiteX11" fmla="*/ 169701 w 339402"/>
                  <a:gd name="connsiteY11" fmla="*/ 284667 h 284667"/>
                  <a:gd name="connsiteX12" fmla="*/ 82114 w 339402"/>
                  <a:gd name="connsiteY12" fmla="*/ 262770 h 284667"/>
                  <a:gd name="connsiteX13" fmla="*/ 82114 w 339402"/>
                  <a:gd name="connsiteY13" fmla="*/ 262770 h 284667"/>
                  <a:gd name="connsiteX14" fmla="*/ 0 w 339402"/>
                  <a:gd name="connsiteY14" fmla="*/ 235398 h 284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39402" h="284667">
                    <a:moveTo>
                      <a:pt x="0" y="235398"/>
                    </a:moveTo>
                    <a:lnTo>
                      <a:pt x="93062" y="158757"/>
                    </a:lnTo>
                    <a:lnTo>
                      <a:pt x="104011" y="104013"/>
                    </a:lnTo>
                    <a:lnTo>
                      <a:pt x="186124" y="60218"/>
                    </a:lnTo>
                    <a:lnTo>
                      <a:pt x="213495" y="5475"/>
                    </a:lnTo>
                    <a:lnTo>
                      <a:pt x="290134" y="0"/>
                    </a:lnTo>
                    <a:lnTo>
                      <a:pt x="290134" y="0"/>
                    </a:lnTo>
                    <a:lnTo>
                      <a:pt x="339402" y="169705"/>
                    </a:lnTo>
                    <a:lnTo>
                      <a:pt x="279186" y="213500"/>
                    </a:lnTo>
                    <a:lnTo>
                      <a:pt x="279186" y="213500"/>
                    </a:lnTo>
                    <a:lnTo>
                      <a:pt x="191598" y="224449"/>
                    </a:lnTo>
                    <a:lnTo>
                      <a:pt x="169701" y="284667"/>
                    </a:lnTo>
                    <a:lnTo>
                      <a:pt x="82114" y="262770"/>
                    </a:lnTo>
                    <a:lnTo>
                      <a:pt x="82114" y="262770"/>
                    </a:lnTo>
                    <a:lnTo>
                      <a:pt x="0" y="235398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7" name="Forma libre 7"/>
              <p:cNvSpPr/>
              <p:nvPr/>
            </p:nvSpPr>
            <p:spPr>
              <a:xfrm>
                <a:off x="821483" y="6041943"/>
                <a:ext cx="119551" cy="132363"/>
              </a:xfrm>
              <a:custGeom>
                <a:avLst/>
                <a:gdLst>
                  <a:gd name="connsiteX0" fmla="*/ 257289 w 799236"/>
                  <a:gd name="connsiteY0" fmla="*/ 837576 h 837576"/>
                  <a:gd name="connsiteX1" fmla="*/ 109485 w 799236"/>
                  <a:gd name="connsiteY1" fmla="*/ 749987 h 837576"/>
                  <a:gd name="connsiteX2" fmla="*/ 71165 w 799236"/>
                  <a:gd name="connsiteY2" fmla="*/ 689769 h 837576"/>
                  <a:gd name="connsiteX3" fmla="*/ 93062 w 799236"/>
                  <a:gd name="connsiteY3" fmla="*/ 635025 h 837576"/>
                  <a:gd name="connsiteX4" fmla="*/ 98536 w 799236"/>
                  <a:gd name="connsiteY4" fmla="*/ 585756 h 837576"/>
                  <a:gd name="connsiteX5" fmla="*/ 136856 w 799236"/>
                  <a:gd name="connsiteY5" fmla="*/ 640499 h 837576"/>
                  <a:gd name="connsiteX6" fmla="*/ 136856 w 799236"/>
                  <a:gd name="connsiteY6" fmla="*/ 640499 h 837576"/>
                  <a:gd name="connsiteX7" fmla="*/ 180650 w 799236"/>
                  <a:gd name="connsiteY7" fmla="*/ 613128 h 837576"/>
                  <a:gd name="connsiteX8" fmla="*/ 164227 w 799236"/>
                  <a:gd name="connsiteY8" fmla="*/ 503641 h 837576"/>
                  <a:gd name="connsiteX9" fmla="*/ 93062 w 799236"/>
                  <a:gd name="connsiteY9" fmla="*/ 443423 h 837576"/>
                  <a:gd name="connsiteX10" fmla="*/ 49268 w 799236"/>
                  <a:gd name="connsiteY10" fmla="*/ 405102 h 837576"/>
                  <a:gd name="connsiteX11" fmla="*/ 60217 w 799236"/>
                  <a:gd name="connsiteY11" fmla="*/ 355833 h 837576"/>
                  <a:gd name="connsiteX12" fmla="*/ 109485 w 799236"/>
                  <a:gd name="connsiteY12" fmla="*/ 333936 h 837576"/>
                  <a:gd name="connsiteX13" fmla="*/ 0 w 799236"/>
                  <a:gd name="connsiteY13" fmla="*/ 208025 h 837576"/>
                  <a:gd name="connsiteX14" fmla="*/ 16423 w 799236"/>
                  <a:gd name="connsiteY14" fmla="*/ 125910 h 837576"/>
                  <a:gd name="connsiteX15" fmla="*/ 32846 w 799236"/>
                  <a:gd name="connsiteY15" fmla="*/ 54743 h 837576"/>
                  <a:gd name="connsiteX16" fmla="*/ 98536 w 799236"/>
                  <a:gd name="connsiteY16" fmla="*/ 5474 h 837576"/>
                  <a:gd name="connsiteX17" fmla="*/ 279185 w 799236"/>
                  <a:gd name="connsiteY17" fmla="*/ 60218 h 837576"/>
                  <a:gd name="connsiteX18" fmla="*/ 328453 w 799236"/>
                  <a:gd name="connsiteY18" fmla="*/ 0 h 837576"/>
                  <a:gd name="connsiteX19" fmla="*/ 377721 w 799236"/>
                  <a:gd name="connsiteY19" fmla="*/ 21897 h 837576"/>
                  <a:gd name="connsiteX20" fmla="*/ 339402 w 799236"/>
                  <a:gd name="connsiteY20" fmla="*/ 109487 h 837576"/>
                  <a:gd name="connsiteX21" fmla="*/ 339402 w 799236"/>
                  <a:gd name="connsiteY21" fmla="*/ 109487 h 837576"/>
                  <a:gd name="connsiteX22" fmla="*/ 377721 w 799236"/>
                  <a:gd name="connsiteY22" fmla="*/ 136859 h 837576"/>
                  <a:gd name="connsiteX23" fmla="*/ 448886 w 799236"/>
                  <a:gd name="connsiteY23" fmla="*/ 54743 h 837576"/>
                  <a:gd name="connsiteX24" fmla="*/ 541948 w 799236"/>
                  <a:gd name="connsiteY24" fmla="*/ 98538 h 837576"/>
                  <a:gd name="connsiteX25" fmla="*/ 574793 w 799236"/>
                  <a:gd name="connsiteY25" fmla="*/ 136859 h 837576"/>
                  <a:gd name="connsiteX26" fmla="*/ 645958 w 799236"/>
                  <a:gd name="connsiteY26" fmla="*/ 109487 h 837576"/>
                  <a:gd name="connsiteX27" fmla="*/ 700700 w 799236"/>
                  <a:gd name="connsiteY27" fmla="*/ 164230 h 837576"/>
                  <a:gd name="connsiteX28" fmla="*/ 733546 w 799236"/>
                  <a:gd name="connsiteY28" fmla="*/ 257295 h 837576"/>
                  <a:gd name="connsiteX29" fmla="*/ 799236 w 799236"/>
                  <a:gd name="connsiteY29" fmla="*/ 317512 h 837576"/>
                  <a:gd name="connsiteX30" fmla="*/ 722597 w 799236"/>
                  <a:gd name="connsiteY30" fmla="*/ 394153 h 837576"/>
                  <a:gd name="connsiteX31" fmla="*/ 777340 w 799236"/>
                  <a:gd name="connsiteY31" fmla="*/ 531012 h 837576"/>
                  <a:gd name="connsiteX32" fmla="*/ 722597 w 799236"/>
                  <a:gd name="connsiteY32" fmla="*/ 531012 h 837576"/>
                  <a:gd name="connsiteX33" fmla="*/ 722597 w 799236"/>
                  <a:gd name="connsiteY33" fmla="*/ 596705 h 837576"/>
                  <a:gd name="connsiteX34" fmla="*/ 739020 w 799236"/>
                  <a:gd name="connsiteY34" fmla="*/ 673346 h 837576"/>
                  <a:gd name="connsiteX35" fmla="*/ 739020 w 799236"/>
                  <a:gd name="connsiteY35" fmla="*/ 673346 h 837576"/>
                  <a:gd name="connsiteX36" fmla="*/ 645958 w 799236"/>
                  <a:gd name="connsiteY36" fmla="*/ 684294 h 837576"/>
                  <a:gd name="connsiteX37" fmla="*/ 645958 w 799236"/>
                  <a:gd name="connsiteY37" fmla="*/ 618602 h 837576"/>
                  <a:gd name="connsiteX38" fmla="*/ 596690 w 799236"/>
                  <a:gd name="connsiteY38" fmla="*/ 635025 h 837576"/>
                  <a:gd name="connsiteX39" fmla="*/ 569319 w 799236"/>
                  <a:gd name="connsiteY39" fmla="*/ 569333 h 837576"/>
                  <a:gd name="connsiteX40" fmla="*/ 525525 w 799236"/>
                  <a:gd name="connsiteY40" fmla="*/ 498166 h 837576"/>
                  <a:gd name="connsiteX41" fmla="*/ 487206 w 799236"/>
                  <a:gd name="connsiteY41" fmla="*/ 596705 h 837576"/>
                  <a:gd name="connsiteX42" fmla="*/ 443412 w 799236"/>
                  <a:gd name="connsiteY42" fmla="*/ 656923 h 837576"/>
                  <a:gd name="connsiteX43" fmla="*/ 372247 w 799236"/>
                  <a:gd name="connsiteY43" fmla="*/ 678820 h 837576"/>
                  <a:gd name="connsiteX44" fmla="*/ 257289 w 799236"/>
                  <a:gd name="connsiteY44" fmla="*/ 837576 h 837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99236" h="837576">
                    <a:moveTo>
                      <a:pt x="257289" y="837576"/>
                    </a:moveTo>
                    <a:lnTo>
                      <a:pt x="109485" y="749987"/>
                    </a:lnTo>
                    <a:lnTo>
                      <a:pt x="71165" y="689769"/>
                    </a:lnTo>
                    <a:lnTo>
                      <a:pt x="93062" y="635025"/>
                    </a:lnTo>
                    <a:lnTo>
                      <a:pt x="98536" y="585756"/>
                    </a:lnTo>
                    <a:lnTo>
                      <a:pt x="136856" y="640499"/>
                    </a:lnTo>
                    <a:lnTo>
                      <a:pt x="136856" y="640499"/>
                    </a:lnTo>
                    <a:lnTo>
                      <a:pt x="180650" y="613128"/>
                    </a:lnTo>
                    <a:lnTo>
                      <a:pt x="164227" y="503641"/>
                    </a:lnTo>
                    <a:lnTo>
                      <a:pt x="93062" y="443423"/>
                    </a:lnTo>
                    <a:lnTo>
                      <a:pt x="49268" y="405102"/>
                    </a:lnTo>
                    <a:lnTo>
                      <a:pt x="60217" y="355833"/>
                    </a:lnTo>
                    <a:lnTo>
                      <a:pt x="109485" y="333936"/>
                    </a:lnTo>
                    <a:lnTo>
                      <a:pt x="0" y="208025"/>
                    </a:lnTo>
                    <a:lnTo>
                      <a:pt x="16423" y="125910"/>
                    </a:lnTo>
                    <a:lnTo>
                      <a:pt x="32846" y="54743"/>
                    </a:lnTo>
                    <a:lnTo>
                      <a:pt x="98536" y="5474"/>
                    </a:lnTo>
                    <a:lnTo>
                      <a:pt x="279185" y="60218"/>
                    </a:lnTo>
                    <a:lnTo>
                      <a:pt x="328453" y="0"/>
                    </a:lnTo>
                    <a:lnTo>
                      <a:pt x="377721" y="21897"/>
                    </a:lnTo>
                    <a:lnTo>
                      <a:pt x="339402" y="109487"/>
                    </a:lnTo>
                    <a:lnTo>
                      <a:pt x="339402" y="109487"/>
                    </a:lnTo>
                    <a:lnTo>
                      <a:pt x="377721" y="136859"/>
                    </a:lnTo>
                    <a:lnTo>
                      <a:pt x="448886" y="54743"/>
                    </a:lnTo>
                    <a:lnTo>
                      <a:pt x="541948" y="98538"/>
                    </a:lnTo>
                    <a:lnTo>
                      <a:pt x="574793" y="136859"/>
                    </a:lnTo>
                    <a:lnTo>
                      <a:pt x="645958" y="109487"/>
                    </a:lnTo>
                    <a:lnTo>
                      <a:pt x="700700" y="164230"/>
                    </a:lnTo>
                    <a:lnTo>
                      <a:pt x="733546" y="257295"/>
                    </a:lnTo>
                    <a:lnTo>
                      <a:pt x="799236" y="317512"/>
                    </a:lnTo>
                    <a:lnTo>
                      <a:pt x="722597" y="394153"/>
                    </a:lnTo>
                    <a:lnTo>
                      <a:pt x="777340" y="531012"/>
                    </a:lnTo>
                    <a:lnTo>
                      <a:pt x="722597" y="531012"/>
                    </a:lnTo>
                    <a:lnTo>
                      <a:pt x="722597" y="596705"/>
                    </a:lnTo>
                    <a:lnTo>
                      <a:pt x="739020" y="673346"/>
                    </a:lnTo>
                    <a:lnTo>
                      <a:pt x="739020" y="673346"/>
                    </a:lnTo>
                    <a:lnTo>
                      <a:pt x="645958" y="684294"/>
                    </a:lnTo>
                    <a:lnTo>
                      <a:pt x="645958" y="618602"/>
                    </a:lnTo>
                    <a:lnTo>
                      <a:pt x="596690" y="635025"/>
                    </a:lnTo>
                    <a:lnTo>
                      <a:pt x="569319" y="569333"/>
                    </a:lnTo>
                    <a:lnTo>
                      <a:pt x="525525" y="498166"/>
                    </a:lnTo>
                    <a:lnTo>
                      <a:pt x="487206" y="596705"/>
                    </a:lnTo>
                    <a:lnTo>
                      <a:pt x="443412" y="656923"/>
                    </a:lnTo>
                    <a:lnTo>
                      <a:pt x="372247" y="678820"/>
                    </a:lnTo>
                    <a:lnTo>
                      <a:pt x="257289" y="837576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8" name="Forma libre 8"/>
              <p:cNvSpPr/>
              <p:nvPr/>
            </p:nvSpPr>
            <p:spPr>
              <a:xfrm>
                <a:off x="927257" y="6070401"/>
                <a:ext cx="94711" cy="184509"/>
              </a:xfrm>
              <a:custGeom>
                <a:avLst/>
                <a:gdLst>
                  <a:gd name="connsiteX0" fmla="*/ 263519 w 633177"/>
                  <a:gd name="connsiteY0" fmla="*/ 0 h 1167553"/>
                  <a:gd name="connsiteX1" fmla="*/ 212279 w 633177"/>
                  <a:gd name="connsiteY1" fmla="*/ 18300 h 1167553"/>
                  <a:gd name="connsiteX2" fmla="*/ 193979 w 633177"/>
                  <a:gd name="connsiteY2" fmla="*/ 62220 h 1167553"/>
                  <a:gd name="connsiteX3" fmla="*/ 219599 w 633177"/>
                  <a:gd name="connsiteY3" fmla="*/ 106141 h 1167553"/>
                  <a:gd name="connsiteX4" fmla="*/ 179339 w 633177"/>
                  <a:gd name="connsiteY4" fmla="*/ 109801 h 1167553"/>
                  <a:gd name="connsiteX5" fmla="*/ 157380 w 633177"/>
                  <a:gd name="connsiteY5" fmla="*/ 153721 h 1167553"/>
                  <a:gd name="connsiteX6" fmla="*/ 117120 w 633177"/>
                  <a:gd name="connsiteY6" fmla="*/ 131761 h 1167553"/>
                  <a:gd name="connsiteX7" fmla="*/ 32940 w 633177"/>
                  <a:gd name="connsiteY7" fmla="*/ 223262 h 1167553"/>
                  <a:gd name="connsiteX8" fmla="*/ 84180 w 633177"/>
                  <a:gd name="connsiteY8" fmla="*/ 358684 h 1167553"/>
                  <a:gd name="connsiteX9" fmla="*/ 32940 w 633177"/>
                  <a:gd name="connsiteY9" fmla="*/ 366004 h 1167553"/>
                  <a:gd name="connsiteX10" fmla="*/ 29280 w 633177"/>
                  <a:gd name="connsiteY10" fmla="*/ 428224 h 1167553"/>
                  <a:gd name="connsiteX11" fmla="*/ 51240 w 633177"/>
                  <a:gd name="connsiteY11" fmla="*/ 483125 h 1167553"/>
                  <a:gd name="connsiteX12" fmla="*/ 14640 w 633177"/>
                  <a:gd name="connsiteY12" fmla="*/ 512405 h 1167553"/>
                  <a:gd name="connsiteX13" fmla="*/ 95160 w 633177"/>
                  <a:gd name="connsiteY13" fmla="*/ 538026 h 1167553"/>
                  <a:gd name="connsiteX14" fmla="*/ 69540 w 633177"/>
                  <a:gd name="connsiteY14" fmla="*/ 589266 h 1167553"/>
                  <a:gd name="connsiteX15" fmla="*/ 47580 w 633177"/>
                  <a:gd name="connsiteY15" fmla="*/ 629527 h 1167553"/>
                  <a:gd name="connsiteX16" fmla="*/ 3660 w 633177"/>
                  <a:gd name="connsiteY16" fmla="*/ 636847 h 1167553"/>
                  <a:gd name="connsiteX17" fmla="*/ 0 w 633177"/>
                  <a:gd name="connsiteY17" fmla="*/ 691747 h 1167553"/>
                  <a:gd name="connsiteX18" fmla="*/ 32940 w 633177"/>
                  <a:gd name="connsiteY18" fmla="*/ 761288 h 1167553"/>
                  <a:gd name="connsiteX19" fmla="*/ 117120 w 633177"/>
                  <a:gd name="connsiteY19" fmla="*/ 794228 h 1167553"/>
                  <a:gd name="connsiteX20" fmla="*/ 117120 w 633177"/>
                  <a:gd name="connsiteY20" fmla="*/ 794228 h 1167553"/>
                  <a:gd name="connsiteX21" fmla="*/ 76860 w 633177"/>
                  <a:gd name="connsiteY21" fmla="*/ 834489 h 1167553"/>
                  <a:gd name="connsiteX22" fmla="*/ 47580 w 633177"/>
                  <a:gd name="connsiteY22" fmla="*/ 911350 h 1167553"/>
                  <a:gd name="connsiteX23" fmla="*/ 80520 w 633177"/>
                  <a:gd name="connsiteY23" fmla="*/ 962590 h 1167553"/>
                  <a:gd name="connsiteX24" fmla="*/ 43920 w 633177"/>
                  <a:gd name="connsiteY24" fmla="*/ 1021151 h 1167553"/>
                  <a:gd name="connsiteX25" fmla="*/ 98820 w 633177"/>
                  <a:gd name="connsiteY25" fmla="*/ 1032131 h 1167553"/>
                  <a:gd name="connsiteX26" fmla="*/ 146400 w 633177"/>
                  <a:gd name="connsiteY26" fmla="*/ 1065071 h 1167553"/>
                  <a:gd name="connsiteX27" fmla="*/ 161040 w 633177"/>
                  <a:gd name="connsiteY27" fmla="*/ 1138272 h 1167553"/>
                  <a:gd name="connsiteX28" fmla="*/ 219599 w 633177"/>
                  <a:gd name="connsiteY28" fmla="*/ 1087032 h 1167553"/>
                  <a:gd name="connsiteX29" fmla="*/ 204959 w 633177"/>
                  <a:gd name="connsiteY29" fmla="*/ 1050431 h 1167553"/>
                  <a:gd name="connsiteX30" fmla="*/ 296459 w 633177"/>
                  <a:gd name="connsiteY30" fmla="*/ 1043111 h 1167553"/>
                  <a:gd name="connsiteX31" fmla="*/ 311099 w 633177"/>
                  <a:gd name="connsiteY31" fmla="*/ 1090692 h 1167553"/>
                  <a:gd name="connsiteX32" fmla="*/ 365998 w 633177"/>
                  <a:gd name="connsiteY32" fmla="*/ 1098012 h 1167553"/>
                  <a:gd name="connsiteX33" fmla="*/ 387958 w 633177"/>
                  <a:gd name="connsiteY33" fmla="*/ 1072391 h 1167553"/>
                  <a:gd name="connsiteX34" fmla="*/ 439198 w 633177"/>
                  <a:gd name="connsiteY34" fmla="*/ 1079712 h 1167553"/>
                  <a:gd name="connsiteX35" fmla="*/ 402598 w 633177"/>
                  <a:gd name="connsiteY35" fmla="*/ 1130952 h 1167553"/>
                  <a:gd name="connsiteX36" fmla="*/ 453838 w 633177"/>
                  <a:gd name="connsiteY36" fmla="*/ 1167553 h 1167553"/>
                  <a:gd name="connsiteX37" fmla="*/ 490438 w 633177"/>
                  <a:gd name="connsiteY37" fmla="*/ 1134612 h 1167553"/>
                  <a:gd name="connsiteX38" fmla="*/ 527037 w 633177"/>
                  <a:gd name="connsiteY38" fmla="*/ 1149252 h 1167553"/>
                  <a:gd name="connsiteX39" fmla="*/ 633177 w 633177"/>
                  <a:gd name="connsiteY39" fmla="*/ 1072391 h 1167553"/>
                  <a:gd name="connsiteX40" fmla="*/ 567297 w 633177"/>
                  <a:gd name="connsiteY40" fmla="*/ 936970 h 1167553"/>
                  <a:gd name="connsiteX41" fmla="*/ 527037 w 633177"/>
                  <a:gd name="connsiteY41" fmla="*/ 893049 h 1167553"/>
                  <a:gd name="connsiteX42" fmla="*/ 490438 w 633177"/>
                  <a:gd name="connsiteY42" fmla="*/ 757628 h 1167553"/>
                  <a:gd name="connsiteX43" fmla="*/ 384298 w 633177"/>
                  <a:gd name="connsiteY43" fmla="*/ 607566 h 1167553"/>
                  <a:gd name="connsiteX44" fmla="*/ 296459 w 633177"/>
                  <a:gd name="connsiteY44" fmla="*/ 549006 h 1167553"/>
                  <a:gd name="connsiteX45" fmla="*/ 259859 w 633177"/>
                  <a:gd name="connsiteY45" fmla="*/ 446525 h 1167553"/>
                  <a:gd name="connsiteX46" fmla="*/ 303779 w 633177"/>
                  <a:gd name="connsiteY46" fmla="*/ 366004 h 1167553"/>
                  <a:gd name="connsiteX47" fmla="*/ 340379 w 633177"/>
                  <a:gd name="connsiteY47" fmla="*/ 292803 h 1167553"/>
                  <a:gd name="connsiteX48" fmla="*/ 267179 w 633177"/>
                  <a:gd name="connsiteY48" fmla="*/ 234242 h 1167553"/>
                  <a:gd name="connsiteX49" fmla="*/ 285479 w 633177"/>
                  <a:gd name="connsiteY49" fmla="*/ 157381 h 1167553"/>
                  <a:gd name="connsiteX50" fmla="*/ 263519 w 633177"/>
                  <a:gd name="connsiteY50" fmla="*/ 0 h 1167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633177" h="1167553">
                    <a:moveTo>
                      <a:pt x="263519" y="0"/>
                    </a:moveTo>
                    <a:lnTo>
                      <a:pt x="212279" y="18300"/>
                    </a:lnTo>
                    <a:lnTo>
                      <a:pt x="193979" y="62220"/>
                    </a:lnTo>
                    <a:lnTo>
                      <a:pt x="219599" y="106141"/>
                    </a:lnTo>
                    <a:lnTo>
                      <a:pt x="179339" y="109801"/>
                    </a:lnTo>
                    <a:lnTo>
                      <a:pt x="157380" y="153721"/>
                    </a:lnTo>
                    <a:lnTo>
                      <a:pt x="117120" y="131761"/>
                    </a:lnTo>
                    <a:lnTo>
                      <a:pt x="32940" y="223262"/>
                    </a:lnTo>
                    <a:lnTo>
                      <a:pt x="84180" y="358684"/>
                    </a:lnTo>
                    <a:lnTo>
                      <a:pt x="32940" y="366004"/>
                    </a:lnTo>
                    <a:lnTo>
                      <a:pt x="29280" y="428224"/>
                    </a:lnTo>
                    <a:lnTo>
                      <a:pt x="51240" y="483125"/>
                    </a:lnTo>
                    <a:lnTo>
                      <a:pt x="14640" y="512405"/>
                    </a:lnTo>
                    <a:lnTo>
                      <a:pt x="95160" y="538026"/>
                    </a:lnTo>
                    <a:lnTo>
                      <a:pt x="69540" y="589266"/>
                    </a:lnTo>
                    <a:lnTo>
                      <a:pt x="47580" y="629527"/>
                    </a:lnTo>
                    <a:lnTo>
                      <a:pt x="3660" y="636847"/>
                    </a:lnTo>
                    <a:lnTo>
                      <a:pt x="0" y="691747"/>
                    </a:lnTo>
                    <a:lnTo>
                      <a:pt x="32940" y="761288"/>
                    </a:lnTo>
                    <a:lnTo>
                      <a:pt x="117120" y="794228"/>
                    </a:lnTo>
                    <a:lnTo>
                      <a:pt x="117120" y="794228"/>
                    </a:lnTo>
                    <a:lnTo>
                      <a:pt x="76860" y="834489"/>
                    </a:lnTo>
                    <a:lnTo>
                      <a:pt x="47580" y="911350"/>
                    </a:lnTo>
                    <a:lnTo>
                      <a:pt x="80520" y="962590"/>
                    </a:lnTo>
                    <a:lnTo>
                      <a:pt x="43920" y="1021151"/>
                    </a:lnTo>
                    <a:lnTo>
                      <a:pt x="98820" y="1032131"/>
                    </a:lnTo>
                    <a:lnTo>
                      <a:pt x="146400" y="1065071"/>
                    </a:lnTo>
                    <a:lnTo>
                      <a:pt x="161040" y="1138272"/>
                    </a:lnTo>
                    <a:lnTo>
                      <a:pt x="219599" y="1087032"/>
                    </a:lnTo>
                    <a:lnTo>
                      <a:pt x="204959" y="1050431"/>
                    </a:lnTo>
                    <a:lnTo>
                      <a:pt x="296459" y="1043111"/>
                    </a:lnTo>
                    <a:lnTo>
                      <a:pt x="311099" y="1090692"/>
                    </a:lnTo>
                    <a:lnTo>
                      <a:pt x="365998" y="1098012"/>
                    </a:lnTo>
                    <a:lnTo>
                      <a:pt x="387958" y="1072391"/>
                    </a:lnTo>
                    <a:lnTo>
                      <a:pt x="439198" y="1079712"/>
                    </a:lnTo>
                    <a:lnTo>
                      <a:pt x="402598" y="1130952"/>
                    </a:lnTo>
                    <a:lnTo>
                      <a:pt x="453838" y="1167553"/>
                    </a:lnTo>
                    <a:lnTo>
                      <a:pt x="490438" y="1134612"/>
                    </a:lnTo>
                    <a:lnTo>
                      <a:pt x="527037" y="1149252"/>
                    </a:lnTo>
                    <a:lnTo>
                      <a:pt x="633177" y="1072391"/>
                    </a:lnTo>
                    <a:lnTo>
                      <a:pt x="567297" y="936970"/>
                    </a:lnTo>
                    <a:lnTo>
                      <a:pt x="527037" y="893049"/>
                    </a:lnTo>
                    <a:lnTo>
                      <a:pt x="490438" y="757628"/>
                    </a:lnTo>
                    <a:lnTo>
                      <a:pt x="384298" y="607566"/>
                    </a:lnTo>
                    <a:lnTo>
                      <a:pt x="296459" y="549006"/>
                    </a:lnTo>
                    <a:lnTo>
                      <a:pt x="259859" y="446525"/>
                    </a:lnTo>
                    <a:lnTo>
                      <a:pt x="303779" y="366004"/>
                    </a:lnTo>
                    <a:lnTo>
                      <a:pt x="340379" y="292803"/>
                    </a:lnTo>
                    <a:lnTo>
                      <a:pt x="267179" y="234242"/>
                    </a:lnTo>
                    <a:lnTo>
                      <a:pt x="285479" y="157381"/>
                    </a:lnTo>
                    <a:lnTo>
                      <a:pt x="263519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9" name="Forma libre 9"/>
              <p:cNvSpPr/>
              <p:nvPr/>
            </p:nvSpPr>
            <p:spPr>
              <a:xfrm>
                <a:off x="862657" y="6122457"/>
                <a:ext cx="81572" cy="99485"/>
              </a:xfrm>
              <a:custGeom>
                <a:avLst/>
                <a:gdLst>
                  <a:gd name="connsiteX0" fmla="*/ 0 w 545337"/>
                  <a:gd name="connsiteY0" fmla="*/ 336724 h 629527"/>
                  <a:gd name="connsiteX1" fmla="*/ 182999 w 545337"/>
                  <a:gd name="connsiteY1" fmla="*/ 431885 h 629527"/>
                  <a:gd name="connsiteX2" fmla="*/ 259858 w 545337"/>
                  <a:gd name="connsiteY2" fmla="*/ 497766 h 629527"/>
                  <a:gd name="connsiteX3" fmla="*/ 237899 w 545337"/>
                  <a:gd name="connsiteY3" fmla="*/ 527046 h 629527"/>
                  <a:gd name="connsiteX4" fmla="*/ 347698 w 545337"/>
                  <a:gd name="connsiteY4" fmla="*/ 629527 h 629527"/>
                  <a:gd name="connsiteX5" fmla="*/ 420898 w 545337"/>
                  <a:gd name="connsiteY5" fmla="*/ 541686 h 629527"/>
                  <a:gd name="connsiteX6" fmla="*/ 464817 w 545337"/>
                  <a:gd name="connsiteY6" fmla="*/ 559986 h 629527"/>
                  <a:gd name="connsiteX7" fmla="*/ 464817 w 545337"/>
                  <a:gd name="connsiteY7" fmla="*/ 559986 h 629527"/>
                  <a:gd name="connsiteX8" fmla="*/ 497757 w 545337"/>
                  <a:gd name="connsiteY8" fmla="*/ 497766 h 629527"/>
                  <a:gd name="connsiteX9" fmla="*/ 545337 w 545337"/>
                  <a:gd name="connsiteY9" fmla="*/ 468485 h 629527"/>
                  <a:gd name="connsiteX10" fmla="*/ 453837 w 545337"/>
                  <a:gd name="connsiteY10" fmla="*/ 431885 h 629527"/>
                  <a:gd name="connsiteX11" fmla="*/ 409918 w 545337"/>
                  <a:gd name="connsiteY11" fmla="*/ 355024 h 629527"/>
                  <a:gd name="connsiteX12" fmla="*/ 420898 w 545337"/>
                  <a:gd name="connsiteY12" fmla="*/ 303784 h 629527"/>
                  <a:gd name="connsiteX13" fmla="*/ 472137 w 545337"/>
                  <a:gd name="connsiteY13" fmla="*/ 278163 h 629527"/>
                  <a:gd name="connsiteX14" fmla="*/ 512397 w 545337"/>
                  <a:gd name="connsiteY14" fmla="*/ 212283 h 629527"/>
                  <a:gd name="connsiteX15" fmla="*/ 446517 w 545337"/>
                  <a:gd name="connsiteY15" fmla="*/ 193982 h 629527"/>
                  <a:gd name="connsiteX16" fmla="*/ 355018 w 545337"/>
                  <a:gd name="connsiteY16" fmla="*/ 183002 h 629527"/>
                  <a:gd name="connsiteX17" fmla="*/ 355018 w 545337"/>
                  <a:gd name="connsiteY17" fmla="*/ 117122 h 629527"/>
                  <a:gd name="connsiteX18" fmla="*/ 314758 w 545337"/>
                  <a:gd name="connsiteY18" fmla="*/ 142742 h 629527"/>
                  <a:gd name="connsiteX19" fmla="*/ 252538 w 545337"/>
                  <a:gd name="connsiteY19" fmla="*/ 0 h 629527"/>
                  <a:gd name="connsiteX20" fmla="*/ 179339 w 545337"/>
                  <a:gd name="connsiteY20" fmla="*/ 157382 h 629527"/>
                  <a:gd name="connsiteX21" fmla="*/ 106139 w 545337"/>
                  <a:gd name="connsiteY21" fmla="*/ 183002 h 629527"/>
                  <a:gd name="connsiteX22" fmla="*/ 0 w 545337"/>
                  <a:gd name="connsiteY22" fmla="*/ 336724 h 629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45337" h="629527">
                    <a:moveTo>
                      <a:pt x="0" y="336724"/>
                    </a:moveTo>
                    <a:lnTo>
                      <a:pt x="182999" y="431885"/>
                    </a:lnTo>
                    <a:lnTo>
                      <a:pt x="259858" y="497766"/>
                    </a:lnTo>
                    <a:lnTo>
                      <a:pt x="237899" y="527046"/>
                    </a:lnTo>
                    <a:lnTo>
                      <a:pt x="347698" y="629527"/>
                    </a:lnTo>
                    <a:lnTo>
                      <a:pt x="420898" y="541686"/>
                    </a:lnTo>
                    <a:lnTo>
                      <a:pt x="464817" y="559986"/>
                    </a:lnTo>
                    <a:lnTo>
                      <a:pt x="464817" y="559986"/>
                    </a:lnTo>
                    <a:lnTo>
                      <a:pt x="497757" y="497766"/>
                    </a:lnTo>
                    <a:lnTo>
                      <a:pt x="545337" y="468485"/>
                    </a:lnTo>
                    <a:lnTo>
                      <a:pt x="453837" y="431885"/>
                    </a:lnTo>
                    <a:lnTo>
                      <a:pt x="409918" y="355024"/>
                    </a:lnTo>
                    <a:lnTo>
                      <a:pt x="420898" y="303784"/>
                    </a:lnTo>
                    <a:lnTo>
                      <a:pt x="472137" y="278163"/>
                    </a:lnTo>
                    <a:lnTo>
                      <a:pt x="512397" y="212283"/>
                    </a:lnTo>
                    <a:lnTo>
                      <a:pt x="446517" y="193982"/>
                    </a:lnTo>
                    <a:lnTo>
                      <a:pt x="355018" y="183002"/>
                    </a:lnTo>
                    <a:lnTo>
                      <a:pt x="355018" y="117122"/>
                    </a:lnTo>
                    <a:lnTo>
                      <a:pt x="314758" y="142742"/>
                    </a:lnTo>
                    <a:lnTo>
                      <a:pt x="252538" y="0"/>
                    </a:lnTo>
                    <a:lnTo>
                      <a:pt x="179339" y="157382"/>
                    </a:lnTo>
                    <a:lnTo>
                      <a:pt x="106139" y="183002"/>
                    </a:lnTo>
                    <a:lnTo>
                      <a:pt x="0" y="336724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0" name="Forma libre 10"/>
              <p:cNvSpPr/>
              <p:nvPr/>
            </p:nvSpPr>
            <p:spPr>
              <a:xfrm>
                <a:off x="916308" y="6210952"/>
                <a:ext cx="153837" cy="117415"/>
              </a:xfrm>
              <a:custGeom>
                <a:avLst/>
                <a:gdLst>
                  <a:gd name="connsiteX0" fmla="*/ 373318 w 1028454"/>
                  <a:gd name="connsiteY0" fmla="*/ 742989 h 742989"/>
                  <a:gd name="connsiteX1" fmla="*/ 325738 w 1028454"/>
                  <a:gd name="connsiteY1" fmla="*/ 666128 h 742989"/>
                  <a:gd name="connsiteX2" fmla="*/ 336718 w 1028454"/>
                  <a:gd name="connsiteY2" fmla="*/ 607567 h 742989"/>
                  <a:gd name="connsiteX3" fmla="*/ 256198 w 1028454"/>
                  <a:gd name="connsiteY3" fmla="*/ 549006 h 742989"/>
                  <a:gd name="connsiteX4" fmla="*/ 292798 w 1028454"/>
                  <a:gd name="connsiteY4" fmla="*/ 534366 h 742989"/>
                  <a:gd name="connsiteX5" fmla="*/ 190319 w 1028454"/>
                  <a:gd name="connsiteY5" fmla="*/ 391625 h 742989"/>
                  <a:gd name="connsiteX6" fmla="*/ 102479 w 1028454"/>
                  <a:gd name="connsiteY6" fmla="*/ 329404 h 742989"/>
                  <a:gd name="connsiteX7" fmla="*/ 54900 w 1028454"/>
                  <a:gd name="connsiteY7" fmla="*/ 259863 h 742989"/>
                  <a:gd name="connsiteX8" fmla="*/ 54900 w 1028454"/>
                  <a:gd name="connsiteY8" fmla="*/ 259863 h 742989"/>
                  <a:gd name="connsiteX9" fmla="*/ 21960 w 1028454"/>
                  <a:gd name="connsiteY9" fmla="*/ 142742 h 742989"/>
                  <a:gd name="connsiteX10" fmla="*/ 0 w 1028454"/>
                  <a:gd name="connsiteY10" fmla="*/ 80521 h 742989"/>
                  <a:gd name="connsiteX11" fmla="*/ 69539 w 1028454"/>
                  <a:gd name="connsiteY11" fmla="*/ 0 h 742989"/>
                  <a:gd name="connsiteX12" fmla="*/ 102479 w 1028454"/>
                  <a:gd name="connsiteY12" fmla="*/ 10981 h 742989"/>
                  <a:gd name="connsiteX13" fmla="*/ 142739 w 1028454"/>
                  <a:gd name="connsiteY13" fmla="*/ 76861 h 742989"/>
                  <a:gd name="connsiteX14" fmla="*/ 102479 w 1028454"/>
                  <a:gd name="connsiteY14" fmla="*/ 135422 h 742989"/>
                  <a:gd name="connsiteX15" fmla="*/ 168359 w 1028454"/>
                  <a:gd name="connsiteY15" fmla="*/ 164702 h 742989"/>
                  <a:gd name="connsiteX16" fmla="*/ 197639 w 1028454"/>
                  <a:gd name="connsiteY16" fmla="*/ 179342 h 742989"/>
                  <a:gd name="connsiteX17" fmla="*/ 234239 w 1028454"/>
                  <a:gd name="connsiteY17" fmla="*/ 274503 h 742989"/>
                  <a:gd name="connsiteX18" fmla="*/ 311098 w 1028454"/>
                  <a:gd name="connsiteY18" fmla="*/ 215943 h 742989"/>
                  <a:gd name="connsiteX19" fmla="*/ 300118 w 1028454"/>
                  <a:gd name="connsiteY19" fmla="*/ 168362 h 742989"/>
                  <a:gd name="connsiteX20" fmla="*/ 358678 w 1028454"/>
                  <a:gd name="connsiteY20" fmla="*/ 168362 h 742989"/>
                  <a:gd name="connsiteX21" fmla="*/ 376978 w 1028454"/>
                  <a:gd name="connsiteY21" fmla="*/ 219603 h 742989"/>
                  <a:gd name="connsiteX22" fmla="*/ 435537 w 1028454"/>
                  <a:gd name="connsiteY22" fmla="*/ 226923 h 742989"/>
                  <a:gd name="connsiteX23" fmla="*/ 475797 w 1028454"/>
                  <a:gd name="connsiteY23" fmla="*/ 197643 h 742989"/>
                  <a:gd name="connsiteX24" fmla="*/ 475797 w 1028454"/>
                  <a:gd name="connsiteY24" fmla="*/ 197643 h 742989"/>
                  <a:gd name="connsiteX25" fmla="*/ 472137 w 1028454"/>
                  <a:gd name="connsiteY25" fmla="*/ 259863 h 742989"/>
                  <a:gd name="connsiteX26" fmla="*/ 527037 w 1028454"/>
                  <a:gd name="connsiteY26" fmla="*/ 303784 h 742989"/>
                  <a:gd name="connsiteX27" fmla="*/ 578277 w 1028454"/>
                  <a:gd name="connsiteY27" fmla="*/ 270843 h 742989"/>
                  <a:gd name="connsiteX28" fmla="*/ 622196 w 1028454"/>
                  <a:gd name="connsiteY28" fmla="*/ 270843 h 742989"/>
                  <a:gd name="connsiteX29" fmla="*/ 728336 w 1028454"/>
                  <a:gd name="connsiteY29" fmla="*/ 183002 h 742989"/>
                  <a:gd name="connsiteX30" fmla="*/ 629516 w 1028454"/>
                  <a:gd name="connsiteY30" fmla="*/ 3660 h 742989"/>
                  <a:gd name="connsiteX31" fmla="*/ 717356 w 1028454"/>
                  <a:gd name="connsiteY31" fmla="*/ 0 h 742989"/>
                  <a:gd name="connsiteX32" fmla="*/ 761276 w 1028454"/>
                  <a:gd name="connsiteY32" fmla="*/ 76861 h 742989"/>
                  <a:gd name="connsiteX33" fmla="*/ 761276 w 1028454"/>
                  <a:gd name="connsiteY33" fmla="*/ 168362 h 742989"/>
                  <a:gd name="connsiteX34" fmla="*/ 801535 w 1028454"/>
                  <a:gd name="connsiteY34" fmla="*/ 230583 h 742989"/>
                  <a:gd name="connsiteX35" fmla="*/ 823495 w 1028454"/>
                  <a:gd name="connsiteY35" fmla="*/ 296464 h 742989"/>
                  <a:gd name="connsiteX36" fmla="*/ 845455 w 1028454"/>
                  <a:gd name="connsiteY36" fmla="*/ 409925 h 742989"/>
                  <a:gd name="connsiteX37" fmla="*/ 925975 w 1028454"/>
                  <a:gd name="connsiteY37" fmla="*/ 391625 h 742989"/>
                  <a:gd name="connsiteX38" fmla="*/ 988194 w 1028454"/>
                  <a:gd name="connsiteY38" fmla="*/ 406265 h 742989"/>
                  <a:gd name="connsiteX39" fmla="*/ 1028454 w 1028454"/>
                  <a:gd name="connsiteY39" fmla="*/ 450185 h 742989"/>
                  <a:gd name="connsiteX40" fmla="*/ 1021134 w 1028454"/>
                  <a:gd name="connsiteY40" fmla="*/ 501426 h 742989"/>
                  <a:gd name="connsiteX41" fmla="*/ 951594 w 1028454"/>
                  <a:gd name="connsiteY41" fmla="*/ 541686 h 742989"/>
                  <a:gd name="connsiteX42" fmla="*/ 863755 w 1028454"/>
                  <a:gd name="connsiteY42" fmla="*/ 574627 h 742989"/>
                  <a:gd name="connsiteX43" fmla="*/ 724676 w 1028454"/>
                  <a:gd name="connsiteY43" fmla="*/ 406265 h 742989"/>
                  <a:gd name="connsiteX44" fmla="*/ 658796 w 1028454"/>
                  <a:gd name="connsiteY44" fmla="*/ 409925 h 742989"/>
                  <a:gd name="connsiteX45" fmla="*/ 625856 w 1028454"/>
                  <a:gd name="connsiteY45" fmla="*/ 472146 h 742989"/>
                  <a:gd name="connsiteX46" fmla="*/ 556317 w 1028454"/>
                  <a:gd name="connsiteY46" fmla="*/ 505086 h 742989"/>
                  <a:gd name="connsiteX47" fmla="*/ 530697 w 1028454"/>
                  <a:gd name="connsiteY47" fmla="*/ 625867 h 742989"/>
                  <a:gd name="connsiteX48" fmla="*/ 464817 w 1028454"/>
                  <a:gd name="connsiteY48" fmla="*/ 629527 h 742989"/>
                  <a:gd name="connsiteX49" fmla="*/ 413578 w 1028454"/>
                  <a:gd name="connsiteY49" fmla="*/ 673448 h 742989"/>
                  <a:gd name="connsiteX50" fmla="*/ 373318 w 1028454"/>
                  <a:gd name="connsiteY50" fmla="*/ 742989 h 742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028454" h="742989">
                    <a:moveTo>
                      <a:pt x="373318" y="742989"/>
                    </a:moveTo>
                    <a:lnTo>
                      <a:pt x="325738" y="666128"/>
                    </a:lnTo>
                    <a:lnTo>
                      <a:pt x="336718" y="607567"/>
                    </a:lnTo>
                    <a:lnTo>
                      <a:pt x="256198" y="549006"/>
                    </a:lnTo>
                    <a:lnTo>
                      <a:pt x="292798" y="534366"/>
                    </a:lnTo>
                    <a:lnTo>
                      <a:pt x="190319" y="391625"/>
                    </a:lnTo>
                    <a:lnTo>
                      <a:pt x="102479" y="329404"/>
                    </a:lnTo>
                    <a:lnTo>
                      <a:pt x="54900" y="259863"/>
                    </a:lnTo>
                    <a:lnTo>
                      <a:pt x="54900" y="259863"/>
                    </a:lnTo>
                    <a:lnTo>
                      <a:pt x="21960" y="142742"/>
                    </a:lnTo>
                    <a:lnTo>
                      <a:pt x="0" y="80521"/>
                    </a:lnTo>
                    <a:lnTo>
                      <a:pt x="69539" y="0"/>
                    </a:lnTo>
                    <a:lnTo>
                      <a:pt x="102479" y="10981"/>
                    </a:lnTo>
                    <a:lnTo>
                      <a:pt x="142739" y="76861"/>
                    </a:lnTo>
                    <a:lnTo>
                      <a:pt x="102479" y="135422"/>
                    </a:lnTo>
                    <a:lnTo>
                      <a:pt x="168359" y="164702"/>
                    </a:lnTo>
                    <a:lnTo>
                      <a:pt x="197639" y="179342"/>
                    </a:lnTo>
                    <a:lnTo>
                      <a:pt x="234239" y="274503"/>
                    </a:lnTo>
                    <a:lnTo>
                      <a:pt x="311098" y="215943"/>
                    </a:lnTo>
                    <a:lnTo>
                      <a:pt x="300118" y="168362"/>
                    </a:lnTo>
                    <a:lnTo>
                      <a:pt x="358678" y="168362"/>
                    </a:lnTo>
                    <a:lnTo>
                      <a:pt x="376978" y="219603"/>
                    </a:lnTo>
                    <a:lnTo>
                      <a:pt x="435537" y="226923"/>
                    </a:lnTo>
                    <a:lnTo>
                      <a:pt x="475797" y="197643"/>
                    </a:lnTo>
                    <a:lnTo>
                      <a:pt x="475797" y="197643"/>
                    </a:lnTo>
                    <a:lnTo>
                      <a:pt x="472137" y="259863"/>
                    </a:lnTo>
                    <a:lnTo>
                      <a:pt x="527037" y="303784"/>
                    </a:lnTo>
                    <a:lnTo>
                      <a:pt x="578277" y="270843"/>
                    </a:lnTo>
                    <a:lnTo>
                      <a:pt x="622196" y="270843"/>
                    </a:lnTo>
                    <a:lnTo>
                      <a:pt x="728336" y="183002"/>
                    </a:lnTo>
                    <a:lnTo>
                      <a:pt x="629516" y="3660"/>
                    </a:lnTo>
                    <a:lnTo>
                      <a:pt x="717356" y="0"/>
                    </a:lnTo>
                    <a:lnTo>
                      <a:pt x="761276" y="76861"/>
                    </a:lnTo>
                    <a:lnTo>
                      <a:pt x="761276" y="168362"/>
                    </a:lnTo>
                    <a:lnTo>
                      <a:pt x="801535" y="230583"/>
                    </a:lnTo>
                    <a:lnTo>
                      <a:pt x="823495" y="296464"/>
                    </a:lnTo>
                    <a:lnTo>
                      <a:pt x="845455" y="409925"/>
                    </a:lnTo>
                    <a:lnTo>
                      <a:pt x="925975" y="391625"/>
                    </a:lnTo>
                    <a:lnTo>
                      <a:pt x="988194" y="406265"/>
                    </a:lnTo>
                    <a:lnTo>
                      <a:pt x="1028454" y="450185"/>
                    </a:lnTo>
                    <a:lnTo>
                      <a:pt x="1021134" y="501426"/>
                    </a:lnTo>
                    <a:lnTo>
                      <a:pt x="951594" y="541686"/>
                    </a:lnTo>
                    <a:lnTo>
                      <a:pt x="863755" y="574627"/>
                    </a:lnTo>
                    <a:lnTo>
                      <a:pt x="724676" y="406265"/>
                    </a:lnTo>
                    <a:lnTo>
                      <a:pt x="658796" y="409925"/>
                    </a:lnTo>
                    <a:lnTo>
                      <a:pt x="625856" y="472146"/>
                    </a:lnTo>
                    <a:lnTo>
                      <a:pt x="556317" y="505086"/>
                    </a:lnTo>
                    <a:lnTo>
                      <a:pt x="530697" y="625867"/>
                    </a:lnTo>
                    <a:lnTo>
                      <a:pt x="464817" y="629527"/>
                    </a:lnTo>
                    <a:lnTo>
                      <a:pt x="413578" y="673448"/>
                    </a:lnTo>
                    <a:lnTo>
                      <a:pt x="373318" y="742989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1" name="Forma libre 11"/>
              <p:cNvSpPr/>
              <p:nvPr/>
            </p:nvSpPr>
            <p:spPr>
              <a:xfrm>
                <a:off x="1022516" y="6119565"/>
                <a:ext cx="127012" cy="198969"/>
              </a:xfrm>
              <a:custGeom>
                <a:avLst/>
                <a:gdLst>
                  <a:gd name="connsiteX0" fmla="*/ 3660 w 849115"/>
                  <a:gd name="connsiteY0" fmla="*/ 0 h 1259054"/>
                  <a:gd name="connsiteX1" fmla="*/ 65879 w 849115"/>
                  <a:gd name="connsiteY1" fmla="*/ 14640 h 1259054"/>
                  <a:gd name="connsiteX2" fmla="*/ 106139 w 849115"/>
                  <a:gd name="connsiteY2" fmla="*/ 62221 h 1259054"/>
                  <a:gd name="connsiteX3" fmla="*/ 344038 w 849115"/>
                  <a:gd name="connsiteY3" fmla="*/ 128102 h 1259054"/>
                  <a:gd name="connsiteX4" fmla="*/ 380638 w 849115"/>
                  <a:gd name="connsiteY4" fmla="*/ 226923 h 1259054"/>
                  <a:gd name="connsiteX5" fmla="*/ 453837 w 849115"/>
                  <a:gd name="connsiteY5" fmla="*/ 234243 h 1259054"/>
                  <a:gd name="connsiteX6" fmla="*/ 501417 w 849115"/>
                  <a:gd name="connsiteY6" fmla="*/ 215942 h 1259054"/>
                  <a:gd name="connsiteX7" fmla="*/ 592916 w 849115"/>
                  <a:gd name="connsiteY7" fmla="*/ 292803 h 1259054"/>
                  <a:gd name="connsiteX8" fmla="*/ 658796 w 849115"/>
                  <a:gd name="connsiteY8" fmla="*/ 263523 h 1259054"/>
                  <a:gd name="connsiteX9" fmla="*/ 761275 w 849115"/>
                  <a:gd name="connsiteY9" fmla="*/ 263523 h 1259054"/>
                  <a:gd name="connsiteX10" fmla="*/ 812515 w 849115"/>
                  <a:gd name="connsiteY10" fmla="*/ 219603 h 1259054"/>
                  <a:gd name="connsiteX11" fmla="*/ 849115 w 849115"/>
                  <a:gd name="connsiteY11" fmla="*/ 289143 h 1259054"/>
                  <a:gd name="connsiteX12" fmla="*/ 805195 w 849115"/>
                  <a:gd name="connsiteY12" fmla="*/ 322084 h 1259054"/>
                  <a:gd name="connsiteX13" fmla="*/ 830815 w 849115"/>
                  <a:gd name="connsiteY13" fmla="*/ 486785 h 1259054"/>
                  <a:gd name="connsiteX14" fmla="*/ 746636 w 849115"/>
                  <a:gd name="connsiteY14" fmla="*/ 519726 h 1259054"/>
                  <a:gd name="connsiteX15" fmla="*/ 684416 w 849115"/>
                  <a:gd name="connsiteY15" fmla="*/ 472145 h 1259054"/>
                  <a:gd name="connsiteX16" fmla="*/ 581936 w 849115"/>
                  <a:gd name="connsiteY16" fmla="*/ 490445 h 1259054"/>
                  <a:gd name="connsiteX17" fmla="*/ 636836 w 849115"/>
                  <a:gd name="connsiteY17" fmla="*/ 556326 h 1259054"/>
                  <a:gd name="connsiteX18" fmla="*/ 611216 w 849115"/>
                  <a:gd name="connsiteY18" fmla="*/ 647827 h 1259054"/>
                  <a:gd name="connsiteX19" fmla="*/ 567297 w 849115"/>
                  <a:gd name="connsiteY19" fmla="*/ 677108 h 1259054"/>
                  <a:gd name="connsiteX20" fmla="*/ 548997 w 849115"/>
                  <a:gd name="connsiteY20" fmla="*/ 746648 h 1259054"/>
                  <a:gd name="connsiteX21" fmla="*/ 600236 w 849115"/>
                  <a:gd name="connsiteY21" fmla="*/ 801549 h 1259054"/>
                  <a:gd name="connsiteX22" fmla="*/ 607556 w 849115"/>
                  <a:gd name="connsiteY22" fmla="*/ 856450 h 1259054"/>
                  <a:gd name="connsiteX23" fmla="*/ 647816 w 849115"/>
                  <a:gd name="connsiteY23" fmla="*/ 936970 h 1259054"/>
                  <a:gd name="connsiteX24" fmla="*/ 699056 w 849115"/>
                  <a:gd name="connsiteY24" fmla="*/ 944290 h 1259054"/>
                  <a:gd name="connsiteX25" fmla="*/ 662456 w 849115"/>
                  <a:gd name="connsiteY25" fmla="*/ 991871 h 1259054"/>
                  <a:gd name="connsiteX26" fmla="*/ 680756 w 849115"/>
                  <a:gd name="connsiteY26" fmla="*/ 1076052 h 1259054"/>
                  <a:gd name="connsiteX27" fmla="*/ 625856 w 849115"/>
                  <a:gd name="connsiteY27" fmla="*/ 1083372 h 1259054"/>
                  <a:gd name="connsiteX28" fmla="*/ 611216 w 849115"/>
                  <a:gd name="connsiteY28" fmla="*/ 1215133 h 1259054"/>
                  <a:gd name="connsiteX29" fmla="*/ 563637 w 849115"/>
                  <a:gd name="connsiteY29" fmla="*/ 1259054 h 1259054"/>
                  <a:gd name="connsiteX30" fmla="*/ 530697 w 849115"/>
                  <a:gd name="connsiteY30" fmla="*/ 1112652 h 1259054"/>
                  <a:gd name="connsiteX31" fmla="*/ 483117 w 849115"/>
                  <a:gd name="connsiteY31" fmla="*/ 1127292 h 1259054"/>
                  <a:gd name="connsiteX32" fmla="*/ 475797 w 849115"/>
                  <a:gd name="connsiteY32" fmla="*/ 1174873 h 1259054"/>
                  <a:gd name="connsiteX33" fmla="*/ 442857 w 849115"/>
                  <a:gd name="connsiteY33" fmla="*/ 1141933 h 1259054"/>
                  <a:gd name="connsiteX34" fmla="*/ 325738 w 849115"/>
                  <a:gd name="connsiteY34" fmla="*/ 1152913 h 1259054"/>
                  <a:gd name="connsiteX35" fmla="*/ 325738 w 849115"/>
                  <a:gd name="connsiteY35" fmla="*/ 1152913 h 1259054"/>
                  <a:gd name="connsiteX36" fmla="*/ 256198 w 849115"/>
                  <a:gd name="connsiteY36" fmla="*/ 1163893 h 1259054"/>
                  <a:gd name="connsiteX37" fmla="*/ 230578 w 849115"/>
                  <a:gd name="connsiteY37" fmla="*/ 1134613 h 1259054"/>
                  <a:gd name="connsiteX38" fmla="*/ 314758 w 849115"/>
                  <a:gd name="connsiteY38" fmla="*/ 1105332 h 1259054"/>
                  <a:gd name="connsiteX39" fmla="*/ 322078 w 849115"/>
                  <a:gd name="connsiteY39" fmla="*/ 1028471 h 1259054"/>
                  <a:gd name="connsiteX40" fmla="*/ 292798 w 849115"/>
                  <a:gd name="connsiteY40" fmla="*/ 977231 h 1259054"/>
                  <a:gd name="connsiteX41" fmla="*/ 212279 w 849115"/>
                  <a:gd name="connsiteY41" fmla="*/ 955271 h 1259054"/>
                  <a:gd name="connsiteX42" fmla="*/ 135419 w 849115"/>
                  <a:gd name="connsiteY42" fmla="*/ 966251 h 1259054"/>
                  <a:gd name="connsiteX43" fmla="*/ 117119 w 849115"/>
                  <a:gd name="connsiteY43" fmla="*/ 823509 h 1259054"/>
                  <a:gd name="connsiteX44" fmla="*/ 62219 w 849115"/>
                  <a:gd name="connsiteY44" fmla="*/ 732008 h 1259054"/>
                  <a:gd name="connsiteX45" fmla="*/ 65879 w 849115"/>
                  <a:gd name="connsiteY45" fmla="*/ 644167 h 1259054"/>
                  <a:gd name="connsiteX46" fmla="*/ 14640 w 849115"/>
                  <a:gd name="connsiteY46" fmla="*/ 559986 h 1259054"/>
                  <a:gd name="connsiteX47" fmla="*/ 18300 w 849115"/>
                  <a:gd name="connsiteY47" fmla="*/ 475805 h 1259054"/>
                  <a:gd name="connsiteX48" fmla="*/ 54899 w 849115"/>
                  <a:gd name="connsiteY48" fmla="*/ 461165 h 1259054"/>
                  <a:gd name="connsiteX49" fmla="*/ 150059 w 849115"/>
                  <a:gd name="connsiteY49" fmla="*/ 497766 h 1259054"/>
                  <a:gd name="connsiteX50" fmla="*/ 157379 w 849115"/>
                  <a:gd name="connsiteY50" fmla="*/ 424565 h 1259054"/>
                  <a:gd name="connsiteX51" fmla="*/ 201299 w 849115"/>
                  <a:gd name="connsiteY51" fmla="*/ 340384 h 1259054"/>
                  <a:gd name="connsiteX52" fmla="*/ 278158 w 849115"/>
                  <a:gd name="connsiteY52" fmla="*/ 333064 h 1259054"/>
                  <a:gd name="connsiteX53" fmla="*/ 146399 w 849115"/>
                  <a:gd name="connsiteY53" fmla="*/ 212282 h 1259054"/>
                  <a:gd name="connsiteX54" fmla="*/ 54899 w 849115"/>
                  <a:gd name="connsiteY54" fmla="*/ 201302 h 1259054"/>
                  <a:gd name="connsiteX55" fmla="*/ 0 w 849115"/>
                  <a:gd name="connsiteY55" fmla="*/ 128102 h 1259054"/>
                  <a:gd name="connsiteX56" fmla="*/ 3660 w 849115"/>
                  <a:gd name="connsiteY56" fmla="*/ 0 h 1259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849115" h="1259054">
                    <a:moveTo>
                      <a:pt x="3660" y="0"/>
                    </a:moveTo>
                    <a:lnTo>
                      <a:pt x="65879" y="14640"/>
                    </a:lnTo>
                    <a:lnTo>
                      <a:pt x="106139" y="62221"/>
                    </a:lnTo>
                    <a:lnTo>
                      <a:pt x="344038" y="128102"/>
                    </a:lnTo>
                    <a:lnTo>
                      <a:pt x="380638" y="226923"/>
                    </a:lnTo>
                    <a:lnTo>
                      <a:pt x="453837" y="234243"/>
                    </a:lnTo>
                    <a:lnTo>
                      <a:pt x="501417" y="215942"/>
                    </a:lnTo>
                    <a:lnTo>
                      <a:pt x="592916" y="292803"/>
                    </a:lnTo>
                    <a:lnTo>
                      <a:pt x="658796" y="263523"/>
                    </a:lnTo>
                    <a:lnTo>
                      <a:pt x="761275" y="263523"/>
                    </a:lnTo>
                    <a:lnTo>
                      <a:pt x="812515" y="219603"/>
                    </a:lnTo>
                    <a:lnTo>
                      <a:pt x="849115" y="289143"/>
                    </a:lnTo>
                    <a:lnTo>
                      <a:pt x="805195" y="322084"/>
                    </a:lnTo>
                    <a:lnTo>
                      <a:pt x="830815" y="486785"/>
                    </a:lnTo>
                    <a:lnTo>
                      <a:pt x="746636" y="519726"/>
                    </a:lnTo>
                    <a:lnTo>
                      <a:pt x="684416" y="472145"/>
                    </a:lnTo>
                    <a:lnTo>
                      <a:pt x="581936" y="490445"/>
                    </a:lnTo>
                    <a:lnTo>
                      <a:pt x="636836" y="556326"/>
                    </a:lnTo>
                    <a:lnTo>
                      <a:pt x="611216" y="647827"/>
                    </a:lnTo>
                    <a:lnTo>
                      <a:pt x="567297" y="677108"/>
                    </a:lnTo>
                    <a:lnTo>
                      <a:pt x="548997" y="746648"/>
                    </a:lnTo>
                    <a:lnTo>
                      <a:pt x="600236" y="801549"/>
                    </a:lnTo>
                    <a:lnTo>
                      <a:pt x="607556" y="856450"/>
                    </a:lnTo>
                    <a:lnTo>
                      <a:pt x="647816" y="936970"/>
                    </a:lnTo>
                    <a:lnTo>
                      <a:pt x="699056" y="944290"/>
                    </a:lnTo>
                    <a:lnTo>
                      <a:pt x="662456" y="991871"/>
                    </a:lnTo>
                    <a:lnTo>
                      <a:pt x="680756" y="1076052"/>
                    </a:lnTo>
                    <a:lnTo>
                      <a:pt x="625856" y="1083372"/>
                    </a:lnTo>
                    <a:lnTo>
                      <a:pt x="611216" y="1215133"/>
                    </a:lnTo>
                    <a:lnTo>
                      <a:pt x="563637" y="1259054"/>
                    </a:lnTo>
                    <a:lnTo>
                      <a:pt x="530697" y="1112652"/>
                    </a:lnTo>
                    <a:lnTo>
                      <a:pt x="483117" y="1127292"/>
                    </a:lnTo>
                    <a:lnTo>
                      <a:pt x="475797" y="1174873"/>
                    </a:lnTo>
                    <a:lnTo>
                      <a:pt x="442857" y="1141933"/>
                    </a:lnTo>
                    <a:lnTo>
                      <a:pt x="325738" y="1152913"/>
                    </a:lnTo>
                    <a:lnTo>
                      <a:pt x="325738" y="1152913"/>
                    </a:lnTo>
                    <a:lnTo>
                      <a:pt x="256198" y="1163893"/>
                    </a:lnTo>
                    <a:lnTo>
                      <a:pt x="230578" y="1134613"/>
                    </a:lnTo>
                    <a:lnTo>
                      <a:pt x="314758" y="1105332"/>
                    </a:lnTo>
                    <a:lnTo>
                      <a:pt x="322078" y="1028471"/>
                    </a:lnTo>
                    <a:lnTo>
                      <a:pt x="292798" y="977231"/>
                    </a:lnTo>
                    <a:lnTo>
                      <a:pt x="212279" y="955271"/>
                    </a:lnTo>
                    <a:lnTo>
                      <a:pt x="135419" y="966251"/>
                    </a:lnTo>
                    <a:lnTo>
                      <a:pt x="117119" y="823509"/>
                    </a:lnTo>
                    <a:lnTo>
                      <a:pt x="62219" y="732008"/>
                    </a:lnTo>
                    <a:lnTo>
                      <a:pt x="65879" y="644167"/>
                    </a:lnTo>
                    <a:lnTo>
                      <a:pt x="14640" y="559986"/>
                    </a:lnTo>
                    <a:lnTo>
                      <a:pt x="18300" y="475805"/>
                    </a:lnTo>
                    <a:lnTo>
                      <a:pt x="54899" y="461165"/>
                    </a:lnTo>
                    <a:lnTo>
                      <a:pt x="150059" y="497766"/>
                    </a:lnTo>
                    <a:lnTo>
                      <a:pt x="157379" y="424565"/>
                    </a:lnTo>
                    <a:lnTo>
                      <a:pt x="201299" y="340384"/>
                    </a:lnTo>
                    <a:lnTo>
                      <a:pt x="278158" y="333064"/>
                    </a:lnTo>
                    <a:lnTo>
                      <a:pt x="146399" y="212282"/>
                    </a:lnTo>
                    <a:lnTo>
                      <a:pt x="54899" y="201302"/>
                    </a:lnTo>
                    <a:lnTo>
                      <a:pt x="0" y="128102"/>
                    </a:lnTo>
                    <a:lnTo>
                      <a:pt x="3660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2" name="Forma libre 12"/>
              <p:cNvSpPr/>
              <p:nvPr/>
            </p:nvSpPr>
            <p:spPr>
              <a:xfrm>
                <a:off x="971972" y="6276059"/>
                <a:ext cx="108514" cy="158734"/>
              </a:xfrm>
              <a:custGeom>
                <a:avLst/>
                <a:gdLst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32940 w 713696"/>
                  <a:gd name="connsiteY8" fmla="*/ 281823 h 988211"/>
                  <a:gd name="connsiteX9" fmla="*/ 87839 w 713696"/>
                  <a:gd name="connsiteY9" fmla="*/ 219603 h 988211"/>
                  <a:gd name="connsiteX10" fmla="*/ 172019 w 713696"/>
                  <a:gd name="connsiteY10" fmla="*/ 215943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32940 w 713696"/>
                  <a:gd name="connsiteY8" fmla="*/ 281823 h 988211"/>
                  <a:gd name="connsiteX9" fmla="*/ 87839 w 713696"/>
                  <a:gd name="connsiteY9" fmla="*/ 219603 h 988211"/>
                  <a:gd name="connsiteX10" fmla="*/ 162275 w 713696"/>
                  <a:gd name="connsiteY10" fmla="*/ 206199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32940 w 713696"/>
                  <a:gd name="connsiteY8" fmla="*/ 281823 h 988211"/>
                  <a:gd name="connsiteX9" fmla="*/ 81343 w 713696"/>
                  <a:gd name="connsiteY9" fmla="*/ 206610 h 988211"/>
                  <a:gd name="connsiteX10" fmla="*/ 162275 w 713696"/>
                  <a:gd name="connsiteY10" fmla="*/ 206199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23196 w 713696"/>
                  <a:gd name="connsiteY8" fmla="*/ 272078 h 988211"/>
                  <a:gd name="connsiteX9" fmla="*/ 81343 w 713696"/>
                  <a:gd name="connsiteY9" fmla="*/ 206610 h 988211"/>
                  <a:gd name="connsiteX10" fmla="*/ 162275 w 713696"/>
                  <a:gd name="connsiteY10" fmla="*/ 206199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01424 w 722204"/>
                  <a:gd name="connsiteY24" fmla="*/ 559986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400125 w 722204"/>
                  <a:gd name="connsiteY37" fmla="*/ 834489 h 988211"/>
                  <a:gd name="connsiteX38" fmla="*/ 330586 w 722204"/>
                  <a:gd name="connsiteY38" fmla="*/ 819849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01424 w 722204"/>
                  <a:gd name="connsiteY24" fmla="*/ 559986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400125 w 722204"/>
                  <a:gd name="connsiteY37" fmla="*/ 834489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01424 w 722204"/>
                  <a:gd name="connsiteY24" fmla="*/ 559986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14416 w 722204"/>
                  <a:gd name="connsiteY24" fmla="*/ 572978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14416 w 722204"/>
                  <a:gd name="connsiteY24" fmla="*/ 572978 h 988211"/>
                  <a:gd name="connsiteX25" fmla="*/ 616064 w 722204"/>
                  <a:gd name="connsiteY25" fmla="*/ 611227 h 988211"/>
                  <a:gd name="connsiteX26" fmla="*/ 658337 w 722204"/>
                  <a:gd name="connsiteY26" fmla="*/ 632728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14416 w 722204"/>
                  <a:gd name="connsiteY24" fmla="*/ 572978 h 988211"/>
                  <a:gd name="connsiteX25" fmla="*/ 635552 w 722204"/>
                  <a:gd name="connsiteY25" fmla="*/ 598234 h 988211"/>
                  <a:gd name="connsiteX26" fmla="*/ 658337 w 722204"/>
                  <a:gd name="connsiteY26" fmla="*/ 632728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35196"/>
                  <a:gd name="connsiteY0" fmla="*/ 925990 h 988211"/>
                  <a:gd name="connsiteX1" fmla="*/ 198827 w 735196"/>
                  <a:gd name="connsiteY1" fmla="*/ 779589 h 988211"/>
                  <a:gd name="connsiteX2" fmla="*/ 143927 w 735196"/>
                  <a:gd name="connsiteY2" fmla="*/ 640507 h 988211"/>
                  <a:gd name="connsiteX3" fmla="*/ 143927 w 735196"/>
                  <a:gd name="connsiteY3" fmla="*/ 640507 h 988211"/>
                  <a:gd name="connsiteX4" fmla="*/ 125627 w 735196"/>
                  <a:gd name="connsiteY4" fmla="*/ 592927 h 988211"/>
                  <a:gd name="connsiteX5" fmla="*/ 48767 w 735196"/>
                  <a:gd name="connsiteY5" fmla="*/ 391624 h 988211"/>
                  <a:gd name="connsiteX6" fmla="*/ 8508 w 735196"/>
                  <a:gd name="connsiteY6" fmla="*/ 398945 h 988211"/>
                  <a:gd name="connsiteX7" fmla="*/ 0 w 735196"/>
                  <a:gd name="connsiteY7" fmla="*/ 318471 h 988211"/>
                  <a:gd name="connsiteX8" fmla="*/ 31704 w 735196"/>
                  <a:gd name="connsiteY8" fmla="*/ 272078 h 988211"/>
                  <a:gd name="connsiteX9" fmla="*/ 89851 w 735196"/>
                  <a:gd name="connsiteY9" fmla="*/ 206610 h 988211"/>
                  <a:gd name="connsiteX10" fmla="*/ 170783 w 735196"/>
                  <a:gd name="connsiteY10" fmla="*/ 206199 h 988211"/>
                  <a:gd name="connsiteX11" fmla="*/ 198827 w 735196"/>
                  <a:gd name="connsiteY11" fmla="*/ 102481 h 988211"/>
                  <a:gd name="connsiteX12" fmla="*/ 268366 w 735196"/>
                  <a:gd name="connsiteY12" fmla="*/ 58561 h 988211"/>
                  <a:gd name="connsiteX13" fmla="*/ 301306 w 735196"/>
                  <a:gd name="connsiteY13" fmla="*/ 0 h 988211"/>
                  <a:gd name="connsiteX14" fmla="*/ 341566 w 735196"/>
                  <a:gd name="connsiteY14" fmla="*/ 0 h 988211"/>
                  <a:gd name="connsiteX15" fmla="*/ 491625 w 735196"/>
                  <a:gd name="connsiteY15" fmla="*/ 164702 h 988211"/>
                  <a:gd name="connsiteX16" fmla="*/ 561165 w 735196"/>
                  <a:gd name="connsiteY16" fmla="*/ 307444 h 988211"/>
                  <a:gd name="connsiteX17" fmla="*/ 692924 w 735196"/>
                  <a:gd name="connsiteY17" fmla="*/ 391624 h 988211"/>
                  <a:gd name="connsiteX18" fmla="*/ 735196 w 735196"/>
                  <a:gd name="connsiteY18" fmla="*/ 422964 h 988211"/>
                  <a:gd name="connsiteX19" fmla="*/ 711224 w 735196"/>
                  <a:gd name="connsiteY19" fmla="*/ 475805 h 988211"/>
                  <a:gd name="connsiteX20" fmla="*/ 667304 w 735196"/>
                  <a:gd name="connsiteY20" fmla="*/ 424565 h 988211"/>
                  <a:gd name="connsiteX21" fmla="*/ 627044 w 735196"/>
                  <a:gd name="connsiteY21" fmla="*/ 490446 h 988211"/>
                  <a:gd name="connsiteX22" fmla="*/ 627044 w 735196"/>
                  <a:gd name="connsiteY22" fmla="*/ 490446 h 988211"/>
                  <a:gd name="connsiteX23" fmla="*/ 641684 w 735196"/>
                  <a:gd name="connsiteY23" fmla="*/ 545346 h 988211"/>
                  <a:gd name="connsiteX24" fmla="*/ 614416 w 735196"/>
                  <a:gd name="connsiteY24" fmla="*/ 572978 h 988211"/>
                  <a:gd name="connsiteX25" fmla="*/ 635552 w 735196"/>
                  <a:gd name="connsiteY25" fmla="*/ 598234 h 988211"/>
                  <a:gd name="connsiteX26" fmla="*/ 658337 w 735196"/>
                  <a:gd name="connsiteY26" fmla="*/ 632728 h 988211"/>
                  <a:gd name="connsiteX27" fmla="*/ 696584 w 735196"/>
                  <a:gd name="connsiteY27" fmla="*/ 728348 h 988211"/>
                  <a:gd name="connsiteX28" fmla="*/ 641684 w 735196"/>
                  <a:gd name="connsiteY28" fmla="*/ 746648 h 988211"/>
                  <a:gd name="connsiteX29" fmla="*/ 641684 w 735196"/>
                  <a:gd name="connsiteY29" fmla="*/ 808869 h 988211"/>
                  <a:gd name="connsiteX30" fmla="*/ 583124 w 735196"/>
                  <a:gd name="connsiteY30" fmla="*/ 827169 h 988211"/>
                  <a:gd name="connsiteX31" fmla="*/ 535545 w 735196"/>
                  <a:gd name="connsiteY31" fmla="*/ 904030 h 988211"/>
                  <a:gd name="connsiteX32" fmla="*/ 535545 w 735196"/>
                  <a:gd name="connsiteY32" fmla="*/ 904030 h 988211"/>
                  <a:gd name="connsiteX33" fmla="*/ 455025 w 735196"/>
                  <a:gd name="connsiteY33" fmla="*/ 973571 h 988211"/>
                  <a:gd name="connsiteX34" fmla="*/ 389146 w 735196"/>
                  <a:gd name="connsiteY34" fmla="*/ 988211 h 988211"/>
                  <a:gd name="connsiteX35" fmla="*/ 400125 w 735196"/>
                  <a:gd name="connsiteY35" fmla="*/ 925990 h 988211"/>
                  <a:gd name="connsiteX36" fmla="*/ 356206 w 735196"/>
                  <a:gd name="connsiteY36" fmla="*/ 904030 h 988211"/>
                  <a:gd name="connsiteX37" fmla="*/ 374140 w 735196"/>
                  <a:gd name="connsiteY37" fmla="*/ 847482 h 988211"/>
                  <a:gd name="connsiteX38" fmla="*/ 327338 w 735196"/>
                  <a:gd name="connsiteY38" fmla="*/ 849082 h 988211"/>
                  <a:gd name="connsiteX39" fmla="*/ 275686 w 735196"/>
                  <a:gd name="connsiteY39" fmla="*/ 925990 h 988211"/>
                  <a:gd name="connsiteX0" fmla="*/ 275686 w 735196"/>
                  <a:gd name="connsiteY0" fmla="*/ 925990 h 988211"/>
                  <a:gd name="connsiteX1" fmla="*/ 198827 w 735196"/>
                  <a:gd name="connsiteY1" fmla="*/ 779589 h 988211"/>
                  <a:gd name="connsiteX2" fmla="*/ 143927 w 735196"/>
                  <a:gd name="connsiteY2" fmla="*/ 640507 h 988211"/>
                  <a:gd name="connsiteX3" fmla="*/ 143927 w 735196"/>
                  <a:gd name="connsiteY3" fmla="*/ 640507 h 988211"/>
                  <a:gd name="connsiteX4" fmla="*/ 125627 w 735196"/>
                  <a:gd name="connsiteY4" fmla="*/ 592927 h 988211"/>
                  <a:gd name="connsiteX5" fmla="*/ 48767 w 735196"/>
                  <a:gd name="connsiteY5" fmla="*/ 391624 h 988211"/>
                  <a:gd name="connsiteX6" fmla="*/ 8508 w 735196"/>
                  <a:gd name="connsiteY6" fmla="*/ 398945 h 988211"/>
                  <a:gd name="connsiteX7" fmla="*/ 0 w 735196"/>
                  <a:gd name="connsiteY7" fmla="*/ 318471 h 988211"/>
                  <a:gd name="connsiteX8" fmla="*/ 31704 w 735196"/>
                  <a:gd name="connsiteY8" fmla="*/ 272078 h 988211"/>
                  <a:gd name="connsiteX9" fmla="*/ 89851 w 735196"/>
                  <a:gd name="connsiteY9" fmla="*/ 206610 h 988211"/>
                  <a:gd name="connsiteX10" fmla="*/ 170783 w 735196"/>
                  <a:gd name="connsiteY10" fmla="*/ 206199 h 988211"/>
                  <a:gd name="connsiteX11" fmla="*/ 198827 w 735196"/>
                  <a:gd name="connsiteY11" fmla="*/ 102481 h 988211"/>
                  <a:gd name="connsiteX12" fmla="*/ 268366 w 735196"/>
                  <a:gd name="connsiteY12" fmla="*/ 58561 h 988211"/>
                  <a:gd name="connsiteX13" fmla="*/ 301306 w 735196"/>
                  <a:gd name="connsiteY13" fmla="*/ 0 h 988211"/>
                  <a:gd name="connsiteX14" fmla="*/ 341566 w 735196"/>
                  <a:gd name="connsiteY14" fmla="*/ 0 h 988211"/>
                  <a:gd name="connsiteX15" fmla="*/ 491625 w 735196"/>
                  <a:gd name="connsiteY15" fmla="*/ 164702 h 988211"/>
                  <a:gd name="connsiteX16" fmla="*/ 561165 w 735196"/>
                  <a:gd name="connsiteY16" fmla="*/ 307444 h 988211"/>
                  <a:gd name="connsiteX17" fmla="*/ 647451 w 735196"/>
                  <a:gd name="connsiteY17" fmla="*/ 339654 h 988211"/>
                  <a:gd name="connsiteX18" fmla="*/ 735196 w 735196"/>
                  <a:gd name="connsiteY18" fmla="*/ 422964 h 988211"/>
                  <a:gd name="connsiteX19" fmla="*/ 711224 w 735196"/>
                  <a:gd name="connsiteY19" fmla="*/ 475805 h 988211"/>
                  <a:gd name="connsiteX20" fmla="*/ 667304 w 735196"/>
                  <a:gd name="connsiteY20" fmla="*/ 424565 h 988211"/>
                  <a:gd name="connsiteX21" fmla="*/ 627044 w 735196"/>
                  <a:gd name="connsiteY21" fmla="*/ 490446 h 988211"/>
                  <a:gd name="connsiteX22" fmla="*/ 627044 w 735196"/>
                  <a:gd name="connsiteY22" fmla="*/ 490446 h 988211"/>
                  <a:gd name="connsiteX23" fmla="*/ 641684 w 735196"/>
                  <a:gd name="connsiteY23" fmla="*/ 545346 h 988211"/>
                  <a:gd name="connsiteX24" fmla="*/ 614416 w 735196"/>
                  <a:gd name="connsiteY24" fmla="*/ 572978 h 988211"/>
                  <a:gd name="connsiteX25" fmla="*/ 635552 w 735196"/>
                  <a:gd name="connsiteY25" fmla="*/ 598234 h 988211"/>
                  <a:gd name="connsiteX26" fmla="*/ 658337 w 735196"/>
                  <a:gd name="connsiteY26" fmla="*/ 632728 h 988211"/>
                  <a:gd name="connsiteX27" fmla="*/ 696584 w 735196"/>
                  <a:gd name="connsiteY27" fmla="*/ 728348 h 988211"/>
                  <a:gd name="connsiteX28" fmla="*/ 641684 w 735196"/>
                  <a:gd name="connsiteY28" fmla="*/ 746648 h 988211"/>
                  <a:gd name="connsiteX29" fmla="*/ 641684 w 735196"/>
                  <a:gd name="connsiteY29" fmla="*/ 808869 h 988211"/>
                  <a:gd name="connsiteX30" fmla="*/ 583124 w 735196"/>
                  <a:gd name="connsiteY30" fmla="*/ 827169 h 988211"/>
                  <a:gd name="connsiteX31" fmla="*/ 535545 w 735196"/>
                  <a:gd name="connsiteY31" fmla="*/ 904030 h 988211"/>
                  <a:gd name="connsiteX32" fmla="*/ 535545 w 735196"/>
                  <a:gd name="connsiteY32" fmla="*/ 904030 h 988211"/>
                  <a:gd name="connsiteX33" fmla="*/ 455025 w 735196"/>
                  <a:gd name="connsiteY33" fmla="*/ 973571 h 988211"/>
                  <a:gd name="connsiteX34" fmla="*/ 389146 w 735196"/>
                  <a:gd name="connsiteY34" fmla="*/ 988211 h 988211"/>
                  <a:gd name="connsiteX35" fmla="*/ 400125 w 735196"/>
                  <a:gd name="connsiteY35" fmla="*/ 925990 h 988211"/>
                  <a:gd name="connsiteX36" fmla="*/ 356206 w 735196"/>
                  <a:gd name="connsiteY36" fmla="*/ 904030 h 988211"/>
                  <a:gd name="connsiteX37" fmla="*/ 374140 w 735196"/>
                  <a:gd name="connsiteY37" fmla="*/ 847482 h 988211"/>
                  <a:gd name="connsiteX38" fmla="*/ 327338 w 735196"/>
                  <a:gd name="connsiteY38" fmla="*/ 849082 h 988211"/>
                  <a:gd name="connsiteX39" fmla="*/ 275686 w 735196"/>
                  <a:gd name="connsiteY39" fmla="*/ 925990 h 988211"/>
                  <a:gd name="connsiteX0" fmla="*/ 275686 w 735196"/>
                  <a:gd name="connsiteY0" fmla="*/ 925990 h 988211"/>
                  <a:gd name="connsiteX1" fmla="*/ 198827 w 735196"/>
                  <a:gd name="connsiteY1" fmla="*/ 779589 h 988211"/>
                  <a:gd name="connsiteX2" fmla="*/ 143927 w 735196"/>
                  <a:gd name="connsiteY2" fmla="*/ 640507 h 988211"/>
                  <a:gd name="connsiteX3" fmla="*/ 143927 w 735196"/>
                  <a:gd name="connsiteY3" fmla="*/ 640507 h 988211"/>
                  <a:gd name="connsiteX4" fmla="*/ 125627 w 735196"/>
                  <a:gd name="connsiteY4" fmla="*/ 592927 h 988211"/>
                  <a:gd name="connsiteX5" fmla="*/ 48767 w 735196"/>
                  <a:gd name="connsiteY5" fmla="*/ 391624 h 988211"/>
                  <a:gd name="connsiteX6" fmla="*/ 8508 w 735196"/>
                  <a:gd name="connsiteY6" fmla="*/ 398945 h 988211"/>
                  <a:gd name="connsiteX7" fmla="*/ 0 w 735196"/>
                  <a:gd name="connsiteY7" fmla="*/ 318471 h 988211"/>
                  <a:gd name="connsiteX8" fmla="*/ 31704 w 735196"/>
                  <a:gd name="connsiteY8" fmla="*/ 272078 h 988211"/>
                  <a:gd name="connsiteX9" fmla="*/ 89851 w 735196"/>
                  <a:gd name="connsiteY9" fmla="*/ 206610 h 988211"/>
                  <a:gd name="connsiteX10" fmla="*/ 170783 w 735196"/>
                  <a:gd name="connsiteY10" fmla="*/ 206199 h 988211"/>
                  <a:gd name="connsiteX11" fmla="*/ 198827 w 735196"/>
                  <a:gd name="connsiteY11" fmla="*/ 102481 h 988211"/>
                  <a:gd name="connsiteX12" fmla="*/ 268366 w 735196"/>
                  <a:gd name="connsiteY12" fmla="*/ 58561 h 988211"/>
                  <a:gd name="connsiteX13" fmla="*/ 301306 w 735196"/>
                  <a:gd name="connsiteY13" fmla="*/ 0 h 988211"/>
                  <a:gd name="connsiteX14" fmla="*/ 341566 w 735196"/>
                  <a:gd name="connsiteY14" fmla="*/ 0 h 988211"/>
                  <a:gd name="connsiteX15" fmla="*/ 491625 w 735196"/>
                  <a:gd name="connsiteY15" fmla="*/ 164702 h 988211"/>
                  <a:gd name="connsiteX16" fmla="*/ 561165 w 735196"/>
                  <a:gd name="connsiteY16" fmla="*/ 307444 h 988211"/>
                  <a:gd name="connsiteX17" fmla="*/ 634459 w 735196"/>
                  <a:gd name="connsiteY17" fmla="*/ 359142 h 988211"/>
                  <a:gd name="connsiteX18" fmla="*/ 735196 w 735196"/>
                  <a:gd name="connsiteY18" fmla="*/ 422964 h 988211"/>
                  <a:gd name="connsiteX19" fmla="*/ 711224 w 735196"/>
                  <a:gd name="connsiteY19" fmla="*/ 475805 h 988211"/>
                  <a:gd name="connsiteX20" fmla="*/ 667304 w 735196"/>
                  <a:gd name="connsiteY20" fmla="*/ 424565 h 988211"/>
                  <a:gd name="connsiteX21" fmla="*/ 627044 w 735196"/>
                  <a:gd name="connsiteY21" fmla="*/ 490446 h 988211"/>
                  <a:gd name="connsiteX22" fmla="*/ 627044 w 735196"/>
                  <a:gd name="connsiteY22" fmla="*/ 490446 h 988211"/>
                  <a:gd name="connsiteX23" fmla="*/ 641684 w 735196"/>
                  <a:gd name="connsiteY23" fmla="*/ 545346 h 988211"/>
                  <a:gd name="connsiteX24" fmla="*/ 614416 w 735196"/>
                  <a:gd name="connsiteY24" fmla="*/ 572978 h 988211"/>
                  <a:gd name="connsiteX25" fmla="*/ 635552 w 735196"/>
                  <a:gd name="connsiteY25" fmla="*/ 598234 h 988211"/>
                  <a:gd name="connsiteX26" fmla="*/ 658337 w 735196"/>
                  <a:gd name="connsiteY26" fmla="*/ 632728 h 988211"/>
                  <a:gd name="connsiteX27" fmla="*/ 696584 w 735196"/>
                  <a:gd name="connsiteY27" fmla="*/ 728348 h 988211"/>
                  <a:gd name="connsiteX28" fmla="*/ 641684 w 735196"/>
                  <a:gd name="connsiteY28" fmla="*/ 746648 h 988211"/>
                  <a:gd name="connsiteX29" fmla="*/ 641684 w 735196"/>
                  <a:gd name="connsiteY29" fmla="*/ 808869 h 988211"/>
                  <a:gd name="connsiteX30" fmla="*/ 583124 w 735196"/>
                  <a:gd name="connsiteY30" fmla="*/ 827169 h 988211"/>
                  <a:gd name="connsiteX31" fmla="*/ 535545 w 735196"/>
                  <a:gd name="connsiteY31" fmla="*/ 904030 h 988211"/>
                  <a:gd name="connsiteX32" fmla="*/ 535545 w 735196"/>
                  <a:gd name="connsiteY32" fmla="*/ 904030 h 988211"/>
                  <a:gd name="connsiteX33" fmla="*/ 455025 w 735196"/>
                  <a:gd name="connsiteY33" fmla="*/ 973571 h 988211"/>
                  <a:gd name="connsiteX34" fmla="*/ 389146 w 735196"/>
                  <a:gd name="connsiteY34" fmla="*/ 988211 h 988211"/>
                  <a:gd name="connsiteX35" fmla="*/ 400125 w 735196"/>
                  <a:gd name="connsiteY35" fmla="*/ 925990 h 988211"/>
                  <a:gd name="connsiteX36" fmla="*/ 356206 w 735196"/>
                  <a:gd name="connsiteY36" fmla="*/ 904030 h 988211"/>
                  <a:gd name="connsiteX37" fmla="*/ 374140 w 735196"/>
                  <a:gd name="connsiteY37" fmla="*/ 847482 h 988211"/>
                  <a:gd name="connsiteX38" fmla="*/ 327338 w 735196"/>
                  <a:gd name="connsiteY38" fmla="*/ 849082 h 988211"/>
                  <a:gd name="connsiteX39" fmla="*/ 275686 w 735196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491625 w 725452"/>
                  <a:gd name="connsiteY15" fmla="*/ 164702 h 988211"/>
                  <a:gd name="connsiteX16" fmla="*/ 561165 w 725452"/>
                  <a:gd name="connsiteY16" fmla="*/ 307444 h 988211"/>
                  <a:gd name="connsiteX17" fmla="*/ 634459 w 725452"/>
                  <a:gd name="connsiteY17" fmla="*/ 359142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491625 w 725452"/>
                  <a:gd name="connsiteY15" fmla="*/ 164702 h 988211"/>
                  <a:gd name="connsiteX16" fmla="*/ 561165 w 725452"/>
                  <a:gd name="connsiteY16" fmla="*/ 307444 h 988211"/>
                  <a:gd name="connsiteX17" fmla="*/ 637707 w 725452"/>
                  <a:gd name="connsiteY17" fmla="*/ 346149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491625 w 725452"/>
                  <a:gd name="connsiteY15" fmla="*/ 164702 h 988211"/>
                  <a:gd name="connsiteX16" fmla="*/ 570909 w 725452"/>
                  <a:gd name="connsiteY16" fmla="*/ 294451 h 988211"/>
                  <a:gd name="connsiteX17" fmla="*/ 637707 w 725452"/>
                  <a:gd name="connsiteY17" fmla="*/ 346149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501369 w 725452"/>
                  <a:gd name="connsiteY15" fmla="*/ 164702 h 988211"/>
                  <a:gd name="connsiteX16" fmla="*/ 570909 w 725452"/>
                  <a:gd name="connsiteY16" fmla="*/ 294451 h 988211"/>
                  <a:gd name="connsiteX17" fmla="*/ 637707 w 725452"/>
                  <a:gd name="connsiteY17" fmla="*/ 346149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32486 h 994707"/>
                  <a:gd name="connsiteX1" fmla="*/ 198827 w 725452"/>
                  <a:gd name="connsiteY1" fmla="*/ 786085 h 994707"/>
                  <a:gd name="connsiteX2" fmla="*/ 143927 w 725452"/>
                  <a:gd name="connsiteY2" fmla="*/ 647003 h 994707"/>
                  <a:gd name="connsiteX3" fmla="*/ 143927 w 725452"/>
                  <a:gd name="connsiteY3" fmla="*/ 647003 h 994707"/>
                  <a:gd name="connsiteX4" fmla="*/ 125627 w 725452"/>
                  <a:gd name="connsiteY4" fmla="*/ 599423 h 994707"/>
                  <a:gd name="connsiteX5" fmla="*/ 48767 w 725452"/>
                  <a:gd name="connsiteY5" fmla="*/ 398120 h 994707"/>
                  <a:gd name="connsiteX6" fmla="*/ 8508 w 725452"/>
                  <a:gd name="connsiteY6" fmla="*/ 405441 h 994707"/>
                  <a:gd name="connsiteX7" fmla="*/ 0 w 725452"/>
                  <a:gd name="connsiteY7" fmla="*/ 324967 h 994707"/>
                  <a:gd name="connsiteX8" fmla="*/ 31704 w 725452"/>
                  <a:gd name="connsiteY8" fmla="*/ 278574 h 994707"/>
                  <a:gd name="connsiteX9" fmla="*/ 89851 w 725452"/>
                  <a:gd name="connsiteY9" fmla="*/ 213106 h 994707"/>
                  <a:gd name="connsiteX10" fmla="*/ 170783 w 725452"/>
                  <a:gd name="connsiteY10" fmla="*/ 212695 h 994707"/>
                  <a:gd name="connsiteX11" fmla="*/ 198827 w 725452"/>
                  <a:gd name="connsiteY11" fmla="*/ 108977 h 994707"/>
                  <a:gd name="connsiteX12" fmla="*/ 268366 w 725452"/>
                  <a:gd name="connsiteY12" fmla="*/ 65057 h 994707"/>
                  <a:gd name="connsiteX13" fmla="*/ 301306 w 725452"/>
                  <a:gd name="connsiteY13" fmla="*/ 6496 h 994707"/>
                  <a:gd name="connsiteX14" fmla="*/ 357806 w 725452"/>
                  <a:gd name="connsiteY14" fmla="*/ 0 h 994707"/>
                  <a:gd name="connsiteX15" fmla="*/ 501369 w 725452"/>
                  <a:gd name="connsiteY15" fmla="*/ 171198 h 994707"/>
                  <a:gd name="connsiteX16" fmla="*/ 570909 w 725452"/>
                  <a:gd name="connsiteY16" fmla="*/ 300947 h 994707"/>
                  <a:gd name="connsiteX17" fmla="*/ 637707 w 725452"/>
                  <a:gd name="connsiteY17" fmla="*/ 352645 h 994707"/>
                  <a:gd name="connsiteX18" fmla="*/ 725452 w 725452"/>
                  <a:gd name="connsiteY18" fmla="*/ 432708 h 994707"/>
                  <a:gd name="connsiteX19" fmla="*/ 711224 w 725452"/>
                  <a:gd name="connsiteY19" fmla="*/ 482301 h 994707"/>
                  <a:gd name="connsiteX20" fmla="*/ 667304 w 725452"/>
                  <a:gd name="connsiteY20" fmla="*/ 431061 h 994707"/>
                  <a:gd name="connsiteX21" fmla="*/ 627044 w 725452"/>
                  <a:gd name="connsiteY21" fmla="*/ 496942 h 994707"/>
                  <a:gd name="connsiteX22" fmla="*/ 627044 w 725452"/>
                  <a:gd name="connsiteY22" fmla="*/ 496942 h 994707"/>
                  <a:gd name="connsiteX23" fmla="*/ 641684 w 725452"/>
                  <a:gd name="connsiteY23" fmla="*/ 551842 h 994707"/>
                  <a:gd name="connsiteX24" fmla="*/ 614416 w 725452"/>
                  <a:gd name="connsiteY24" fmla="*/ 579474 h 994707"/>
                  <a:gd name="connsiteX25" fmla="*/ 635552 w 725452"/>
                  <a:gd name="connsiteY25" fmla="*/ 604730 h 994707"/>
                  <a:gd name="connsiteX26" fmla="*/ 658337 w 725452"/>
                  <a:gd name="connsiteY26" fmla="*/ 639224 h 994707"/>
                  <a:gd name="connsiteX27" fmla="*/ 696584 w 725452"/>
                  <a:gd name="connsiteY27" fmla="*/ 734844 h 994707"/>
                  <a:gd name="connsiteX28" fmla="*/ 641684 w 725452"/>
                  <a:gd name="connsiteY28" fmla="*/ 753144 h 994707"/>
                  <a:gd name="connsiteX29" fmla="*/ 641684 w 725452"/>
                  <a:gd name="connsiteY29" fmla="*/ 815365 h 994707"/>
                  <a:gd name="connsiteX30" fmla="*/ 583124 w 725452"/>
                  <a:gd name="connsiteY30" fmla="*/ 833665 h 994707"/>
                  <a:gd name="connsiteX31" fmla="*/ 535545 w 725452"/>
                  <a:gd name="connsiteY31" fmla="*/ 910526 h 994707"/>
                  <a:gd name="connsiteX32" fmla="*/ 535545 w 725452"/>
                  <a:gd name="connsiteY32" fmla="*/ 910526 h 994707"/>
                  <a:gd name="connsiteX33" fmla="*/ 455025 w 725452"/>
                  <a:gd name="connsiteY33" fmla="*/ 980067 h 994707"/>
                  <a:gd name="connsiteX34" fmla="*/ 389146 w 725452"/>
                  <a:gd name="connsiteY34" fmla="*/ 994707 h 994707"/>
                  <a:gd name="connsiteX35" fmla="*/ 400125 w 725452"/>
                  <a:gd name="connsiteY35" fmla="*/ 932486 h 994707"/>
                  <a:gd name="connsiteX36" fmla="*/ 356206 w 725452"/>
                  <a:gd name="connsiteY36" fmla="*/ 910526 h 994707"/>
                  <a:gd name="connsiteX37" fmla="*/ 374140 w 725452"/>
                  <a:gd name="connsiteY37" fmla="*/ 853978 h 994707"/>
                  <a:gd name="connsiteX38" fmla="*/ 327338 w 725452"/>
                  <a:gd name="connsiteY38" fmla="*/ 855578 h 994707"/>
                  <a:gd name="connsiteX39" fmla="*/ 275686 w 725452"/>
                  <a:gd name="connsiteY39" fmla="*/ 932486 h 994707"/>
                  <a:gd name="connsiteX0" fmla="*/ 275686 w 725452"/>
                  <a:gd name="connsiteY0" fmla="*/ 942230 h 1004451"/>
                  <a:gd name="connsiteX1" fmla="*/ 198827 w 725452"/>
                  <a:gd name="connsiteY1" fmla="*/ 795829 h 1004451"/>
                  <a:gd name="connsiteX2" fmla="*/ 143927 w 725452"/>
                  <a:gd name="connsiteY2" fmla="*/ 656747 h 1004451"/>
                  <a:gd name="connsiteX3" fmla="*/ 143927 w 725452"/>
                  <a:gd name="connsiteY3" fmla="*/ 656747 h 1004451"/>
                  <a:gd name="connsiteX4" fmla="*/ 125627 w 725452"/>
                  <a:gd name="connsiteY4" fmla="*/ 609167 h 1004451"/>
                  <a:gd name="connsiteX5" fmla="*/ 48767 w 725452"/>
                  <a:gd name="connsiteY5" fmla="*/ 407864 h 1004451"/>
                  <a:gd name="connsiteX6" fmla="*/ 8508 w 725452"/>
                  <a:gd name="connsiteY6" fmla="*/ 415185 h 1004451"/>
                  <a:gd name="connsiteX7" fmla="*/ 0 w 725452"/>
                  <a:gd name="connsiteY7" fmla="*/ 334711 h 1004451"/>
                  <a:gd name="connsiteX8" fmla="*/ 31704 w 725452"/>
                  <a:gd name="connsiteY8" fmla="*/ 288318 h 1004451"/>
                  <a:gd name="connsiteX9" fmla="*/ 89851 w 725452"/>
                  <a:gd name="connsiteY9" fmla="*/ 222850 h 1004451"/>
                  <a:gd name="connsiteX10" fmla="*/ 170783 w 725452"/>
                  <a:gd name="connsiteY10" fmla="*/ 222439 h 1004451"/>
                  <a:gd name="connsiteX11" fmla="*/ 198827 w 725452"/>
                  <a:gd name="connsiteY11" fmla="*/ 118721 h 1004451"/>
                  <a:gd name="connsiteX12" fmla="*/ 268366 w 725452"/>
                  <a:gd name="connsiteY12" fmla="*/ 74801 h 1004451"/>
                  <a:gd name="connsiteX13" fmla="*/ 288314 w 725452"/>
                  <a:gd name="connsiteY13" fmla="*/ 0 h 1004451"/>
                  <a:gd name="connsiteX14" fmla="*/ 357806 w 725452"/>
                  <a:gd name="connsiteY14" fmla="*/ 9744 h 1004451"/>
                  <a:gd name="connsiteX15" fmla="*/ 501369 w 725452"/>
                  <a:gd name="connsiteY15" fmla="*/ 180942 h 1004451"/>
                  <a:gd name="connsiteX16" fmla="*/ 570909 w 725452"/>
                  <a:gd name="connsiteY16" fmla="*/ 310691 h 1004451"/>
                  <a:gd name="connsiteX17" fmla="*/ 637707 w 725452"/>
                  <a:gd name="connsiteY17" fmla="*/ 362389 h 1004451"/>
                  <a:gd name="connsiteX18" fmla="*/ 725452 w 725452"/>
                  <a:gd name="connsiteY18" fmla="*/ 442452 h 1004451"/>
                  <a:gd name="connsiteX19" fmla="*/ 711224 w 725452"/>
                  <a:gd name="connsiteY19" fmla="*/ 492045 h 1004451"/>
                  <a:gd name="connsiteX20" fmla="*/ 667304 w 725452"/>
                  <a:gd name="connsiteY20" fmla="*/ 440805 h 1004451"/>
                  <a:gd name="connsiteX21" fmla="*/ 627044 w 725452"/>
                  <a:gd name="connsiteY21" fmla="*/ 506686 h 1004451"/>
                  <a:gd name="connsiteX22" fmla="*/ 627044 w 725452"/>
                  <a:gd name="connsiteY22" fmla="*/ 506686 h 1004451"/>
                  <a:gd name="connsiteX23" fmla="*/ 641684 w 725452"/>
                  <a:gd name="connsiteY23" fmla="*/ 561586 h 1004451"/>
                  <a:gd name="connsiteX24" fmla="*/ 614416 w 725452"/>
                  <a:gd name="connsiteY24" fmla="*/ 589218 h 1004451"/>
                  <a:gd name="connsiteX25" fmla="*/ 635552 w 725452"/>
                  <a:gd name="connsiteY25" fmla="*/ 614474 h 1004451"/>
                  <a:gd name="connsiteX26" fmla="*/ 658337 w 725452"/>
                  <a:gd name="connsiteY26" fmla="*/ 648968 h 1004451"/>
                  <a:gd name="connsiteX27" fmla="*/ 696584 w 725452"/>
                  <a:gd name="connsiteY27" fmla="*/ 744588 h 1004451"/>
                  <a:gd name="connsiteX28" fmla="*/ 641684 w 725452"/>
                  <a:gd name="connsiteY28" fmla="*/ 762888 h 1004451"/>
                  <a:gd name="connsiteX29" fmla="*/ 641684 w 725452"/>
                  <a:gd name="connsiteY29" fmla="*/ 825109 h 1004451"/>
                  <a:gd name="connsiteX30" fmla="*/ 583124 w 725452"/>
                  <a:gd name="connsiteY30" fmla="*/ 843409 h 1004451"/>
                  <a:gd name="connsiteX31" fmla="*/ 535545 w 725452"/>
                  <a:gd name="connsiteY31" fmla="*/ 920270 h 1004451"/>
                  <a:gd name="connsiteX32" fmla="*/ 535545 w 725452"/>
                  <a:gd name="connsiteY32" fmla="*/ 920270 h 1004451"/>
                  <a:gd name="connsiteX33" fmla="*/ 455025 w 725452"/>
                  <a:gd name="connsiteY33" fmla="*/ 989811 h 1004451"/>
                  <a:gd name="connsiteX34" fmla="*/ 389146 w 725452"/>
                  <a:gd name="connsiteY34" fmla="*/ 1004451 h 1004451"/>
                  <a:gd name="connsiteX35" fmla="*/ 400125 w 725452"/>
                  <a:gd name="connsiteY35" fmla="*/ 942230 h 1004451"/>
                  <a:gd name="connsiteX36" fmla="*/ 356206 w 725452"/>
                  <a:gd name="connsiteY36" fmla="*/ 920270 h 1004451"/>
                  <a:gd name="connsiteX37" fmla="*/ 374140 w 725452"/>
                  <a:gd name="connsiteY37" fmla="*/ 863722 h 1004451"/>
                  <a:gd name="connsiteX38" fmla="*/ 327338 w 725452"/>
                  <a:gd name="connsiteY38" fmla="*/ 865322 h 1004451"/>
                  <a:gd name="connsiteX39" fmla="*/ 275686 w 725452"/>
                  <a:gd name="connsiteY39" fmla="*/ 942230 h 1004451"/>
                  <a:gd name="connsiteX0" fmla="*/ 275686 w 725452"/>
                  <a:gd name="connsiteY0" fmla="*/ 942230 h 1004451"/>
                  <a:gd name="connsiteX1" fmla="*/ 198827 w 725452"/>
                  <a:gd name="connsiteY1" fmla="*/ 795829 h 1004451"/>
                  <a:gd name="connsiteX2" fmla="*/ 143927 w 725452"/>
                  <a:gd name="connsiteY2" fmla="*/ 656747 h 1004451"/>
                  <a:gd name="connsiteX3" fmla="*/ 143927 w 725452"/>
                  <a:gd name="connsiteY3" fmla="*/ 656747 h 1004451"/>
                  <a:gd name="connsiteX4" fmla="*/ 125627 w 725452"/>
                  <a:gd name="connsiteY4" fmla="*/ 609167 h 1004451"/>
                  <a:gd name="connsiteX5" fmla="*/ 48767 w 725452"/>
                  <a:gd name="connsiteY5" fmla="*/ 407864 h 1004451"/>
                  <a:gd name="connsiteX6" fmla="*/ 8508 w 725452"/>
                  <a:gd name="connsiteY6" fmla="*/ 415185 h 1004451"/>
                  <a:gd name="connsiteX7" fmla="*/ 0 w 725452"/>
                  <a:gd name="connsiteY7" fmla="*/ 334711 h 1004451"/>
                  <a:gd name="connsiteX8" fmla="*/ 31704 w 725452"/>
                  <a:gd name="connsiteY8" fmla="*/ 288318 h 1004451"/>
                  <a:gd name="connsiteX9" fmla="*/ 89851 w 725452"/>
                  <a:gd name="connsiteY9" fmla="*/ 222850 h 1004451"/>
                  <a:gd name="connsiteX10" fmla="*/ 170783 w 725452"/>
                  <a:gd name="connsiteY10" fmla="*/ 222439 h 1004451"/>
                  <a:gd name="connsiteX11" fmla="*/ 198827 w 725452"/>
                  <a:gd name="connsiteY11" fmla="*/ 118721 h 1004451"/>
                  <a:gd name="connsiteX12" fmla="*/ 268366 w 725452"/>
                  <a:gd name="connsiteY12" fmla="*/ 58561 h 1004451"/>
                  <a:gd name="connsiteX13" fmla="*/ 288314 w 725452"/>
                  <a:gd name="connsiteY13" fmla="*/ 0 h 1004451"/>
                  <a:gd name="connsiteX14" fmla="*/ 357806 w 725452"/>
                  <a:gd name="connsiteY14" fmla="*/ 9744 h 1004451"/>
                  <a:gd name="connsiteX15" fmla="*/ 501369 w 725452"/>
                  <a:gd name="connsiteY15" fmla="*/ 180942 h 1004451"/>
                  <a:gd name="connsiteX16" fmla="*/ 570909 w 725452"/>
                  <a:gd name="connsiteY16" fmla="*/ 310691 h 1004451"/>
                  <a:gd name="connsiteX17" fmla="*/ 637707 w 725452"/>
                  <a:gd name="connsiteY17" fmla="*/ 362389 h 1004451"/>
                  <a:gd name="connsiteX18" fmla="*/ 725452 w 725452"/>
                  <a:gd name="connsiteY18" fmla="*/ 442452 h 1004451"/>
                  <a:gd name="connsiteX19" fmla="*/ 711224 w 725452"/>
                  <a:gd name="connsiteY19" fmla="*/ 492045 h 1004451"/>
                  <a:gd name="connsiteX20" fmla="*/ 667304 w 725452"/>
                  <a:gd name="connsiteY20" fmla="*/ 440805 h 1004451"/>
                  <a:gd name="connsiteX21" fmla="*/ 627044 w 725452"/>
                  <a:gd name="connsiteY21" fmla="*/ 506686 h 1004451"/>
                  <a:gd name="connsiteX22" fmla="*/ 627044 w 725452"/>
                  <a:gd name="connsiteY22" fmla="*/ 506686 h 1004451"/>
                  <a:gd name="connsiteX23" fmla="*/ 641684 w 725452"/>
                  <a:gd name="connsiteY23" fmla="*/ 561586 h 1004451"/>
                  <a:gd name="connsiteX24" fmla="*/ 614416 w 725452"/>
                  <a:gd name="connsiteY24" fmla="*/ 589218 h 1004451"/>
                  <a:gd name="connsiteX25" fmla="*/ 635552 w 725452"/>
                  <a:gd name="connsiteY25" fmla="*/ 614474 h 1004451"/>
                  <a:gd name="connsiteX26" fmla="*/ 658337 w 725452"/>
                  <a:gd name="connsiteY26" fmla="*/ 648968 h 1004451"/>
                  <a:gd name="connsiteX27" fmla="*/ 696584 w 725452"/>
                  <a:gd name="connsiteY27" fmla="*/ 744588 h 1004451"/>
                  <a:gd name="connsiteX28" fmla="*/ 641684 w 725452"/>
                  <a:gd name="connsiteY28" fmla="*/ 762888 h 1004451"/>
                  <a:gd name="connsiteX29" fmla="*/ 641684 w 725452"/>
                  <a:gd name="connsiteY29" fmla="*/ 825109 h 1004451"/>
                  <a:gd name="connsiteX30" fmla="*/ 583124 w 725452"/>
                  <a:gd name="connsiteY30" fmla="*/ 843409 h 1004451"/>
                  <a:gd name="connsiteX31" fmla="*/ 535545 w 725452"/>
                  <a:gd name="connsiteY31" fmla="*/ 920270 h 1004451"/>
                  <a:gd name="connsiteX32" fmla="*/ 535545 w 725452"/>
                  <a:gd name="connsiteY32" fmla="*/ 920270 h 1004451"/>
                  <a:gd name="connsiteX33" fmla="*/ 455025 w 725452"/>
                  <a:gd name="connsiteY33" fmla="*/ 989811 h 1004451"/>
                  <a:gd name="connsiteX34" fmla="*/ 389146 w 725452"/>
                  <a:gd name="connsiteY34" fmla="*/ 1004451 h 1004451"/>
                  <a:gd name="connsiteX35" fmla="*/ 400125 w 725452"/>
                  <a:gd name="connsiteY35" fmla="*/ 942230 h 1004451"/>
                  <a:gd name="connsiteX36" fmla="*/ 356206 w 725452"/>
                  <a:gd name="connsiteY36" fmla="*/ 920270 h 1004451"/>
                  <a:gd name="connsiteX37" fmla="*/ 374140 w 725452"/>
                  <a:gd name="connsiteY37" fmla="*/ 863722 h 1004451"/>
                  <a:gd name="connsiteX38" fmla="*/ 327338 w 725452"/>
                  <a:gd name="connsiteY38" fmla="*/ 865322 h 1004451"/>
                  <a:gd name="connsiteX39" fmla="*/ 275686 w 725452"/>
                  <a:gd name="connsiteY39" fmla="*/ 942230 h 1004451"/>
                  <a:gd name="connsiteX0" fmla="*/ 275686 w 725452"/>
                  <a:gd name="connsiteY0" fmla="*/ 942230 h 1004451"/>
                  <a:gd name="connsiteX1" fmla="*/ 198827 w 725452"/>
                  <a:gd name="connsiteY1" fmla="*/ 795829 h 1004451"/>
                  <a:gd name="connsiteX2" fmla="*/ 143927 w 725452"/>
                  <a:gd name="connsiteY2" fmla="*/ 656747 h 1004451"/>
                  <a:gd name="connsiteX3" fmla="*/ 143927 w 725452"/>
                  <a:gd name="connsiteY3" fmla="*/ 656747 h 1004451"/>
                  <a:gd name="connsiteX4" fmla="*/ 125627 w 725452"/>
                  <a:gd name="connsiteY4" fmla="*/ 609167 h 1004451"/>
                  <a:gd name="connsiteX5" fmla="*/ 48767 w 725452"/>
                  <a:gd name="connsiteY5" fmla="*/ 407864 h 1004451"/>
                  <a:gd name="connsiteX6" fmla="*/ 8508 w 725452"/>
                  <a:gd name="connsiteY6" fmla="*/ 415185 h 1004451"/>
                  <a:gd name="connsiteX7" fmla="*/ 0 w 725452"/>
                  <a:gd name="connsiteY7" fmla="*/ 334711 h 1004451"/>
                  <a:gd name="connsiteX8" fmla="*/ 31704 w 725452"/>
                  <a:gd name="connsiteY8" fmla="*/ 288318 h 1004451"/>
                  <a:gd name="connsiteX9" fmla="*/ 89851 w 725452"/>
                  <a:gd name="connsiteY9" fmla="*/ 222850 h 1004451"/>
                  <a:gd name="connsiteX10" fmla="*/ 170783 w 725452"/>
                  <a:gd name="connsiteY10" fmla="*/ 222439 h 1004451"/>
                  <a:gd name="connsiteX11" fmla="*/ 195579 w 725452"/>
                  <a:gd name="connsiteY11" fmla="*/ 92736 h 1004451"/>
                  <a:gd name="connsiteX12" fmla="*/ 268366 w 725452"/>
                  <a:gd name="connsiteY12" fmla="*/ 58561 h 1004451"/>
                  <a:gd name="connsiteX13" fmla="*/ 288314 w 725452"/>
                  <a:gd name="connsiteY13" fmla="*/ 0 h 1004451"/>
                  <a:gd name="connsiteX14" fmla="*/ 357806 w 725452"/>
                  <a:gd name="connsiteY14" fmla="*/ 9744 h 1004451"/>
                  <a:gd name="connsiteX15" fmla="*/ 501369 w 725452"/>
                  <a:gd name="connsiteY15" fmla="*/ 180942 h 1004451"/>
                  <a:gd name="connsiteX16" fmla="*/ 570909 w 725452"/>
                  <a:gd name="connsiteY16" fmla="*/ 310691 h 1004451"/>
                  <a:gd name="connsiteX17" fmla="*/ 637707 w 725452"/>
                  <a:gd name="connsiteY17" fmla="*/ 362389 h 1004451"/>
                  <a:gd name="connsiteX18" fmla="*/ 725452 w 725452"/>
                  <a:gd name="connsiteY18" fmla="*/ 442452 h 1004451"/>
                  <a:gd name="connsiteX19" fmla="*/ 711224 w 725452"/>
                  <a:gd name="connsiteY19" fmla="*/ 492045 h 1004451"/>
                  <a:gd name="connsiteX20" fmla="*/ 667304 w 725452"/>
                  <a:gd name="connsiteY20" fmla="*/ 440805 h 1004451"/>
                  <a:gd name="connsiteX21" fmla="*/ 627044 w 725452"/>
                  <a:gd name="connsiteY21" fmla="*/ 506686 h 1004451"/>
                  <a:gd name="connsiteX22" fmla="*/ 627044 w 725452"/>
                  <a:gd name="connsiteY22" fmla="*/ 506686 h 1004451"/>
                  <a:gd name="connsiteX23" fmla="*/ 641684 w 725452"/>
                  <a:gd name="connsiteY23" fmla="*/ 561586 h 1004451"/>
                  <a:gd name="connsiteX24" fmla="*/ 614416 w 725452"/>
                  <a:gd name="connsiteY24" fmla="*/ 589218 h 1004451"/>
                  <a:gd name="connsiteX25" fmla="*/ 635552 w 725452"/>
                  <a:gd name="connsiteY25" fmla="*/ 614474 h 1004451"/>
                  <a:gd name="connsiteX26" fmla="*/ 658337 w 725452"/>
                  <a:gd name="connsiteY26" fmla="*/ 648968 h 1004451"/>
                  <a:gd name="connsiteX27" fmla="*/ 696584 w 725452"/>
                  <a:gd name="connsiteY27" fmla="*/ 744588 h 1004451"/>
                  <a:gd name="connsiteX28" fmla="*/ 641684 w 725452"/>
                  <a:gd name="connsiteY28" fmla="*/ 762888 h 1004451"/>
                  <a:gd name="connsiteX29" fmla="*/ 641684 w 725452"/>
                  <a:gd name="connsiteY29" fmla="*/ 825109 h 1004451"/>
                  <a:gd name="connsiteX30" fmla="*/ 583124 w 725452"/>
                  <a:gd name="connsiteY30" fmla="*/ 843409 h 1004451"/>
                  <a:gd name="connsiteX31" fmla="*/ 535545 w 725452"/>
                  <a:gd name="connsiteY31" fmla="*/ 920270 h 1004451"/>
                  <a:gd name="connsiteX32" fmla="*/ 535545 w 725452"/>
                  <a:gd name="connsiteY32" fmla="*/ 920270 h 1004451"/>
                  <a:gd name="connsiteX33" fmla="*/ 455025 w 725452"/>
                  <a:gd name="connsiteY33" fmla="*/ 989811 h 1004451"/>
                  <a:gd name="connsiteX34" fmla="*/ 389146 w 725452"/>
                  <a:gd name="connsiteY34" fmla="*/ 1004451 h 1004451"/>
                  <a:gd name="connsiteX35" fmla="*/ 400125 w 725452"/>
                  <a:gd name="connsiteY35" fmla="*/ 942230 h 1004451"/>
                  <a:gd name="connsiteX36" fmla="*/ 356206 w 725452"/>
                  <a:gd name="connsiteY36" fmla="*/ 920270 h 1004451"/>
                  <a:gd name="connsiteX37" fmla="*/ 374140 w 725452"/>
                  <a:gd name="connsiteY37" fmla="*/ 863722 h 1004451"/>
                  <a:gd name="connsiteX38" fmla="*/ 327338 w 725452"/>
                  <a:gd name="connsiteY38" fmla="*/ 865322 h 1004451"/>
                  <a:gd name="connsiteX39" fmla="*/ 275686 w 725452"/>
                  <a:gd name="connsiteY39" fmla="*/ 942230 h 100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25452" h="1004451">
                    <a:moveTo>
                      <a:pt x="275686" y="942230"/>
                    </a:moveTo>
                    <a:lnTo>
                      <a:pt x="198827" y="795829"/>
                    </a:lnTo>
                    <a:lnTo>
                      <a:pt x="143927" y="656747"/>
                    </a:lnTo>
                    <a:lnTo>
                      <a:pt x="143927" y="656747"/>
                    </a:lnTo>
                    <a:lnTo>
                      <a:pt x="125627" y="609167"/>
                    </a:lnTo>
                    <a:lnTo>
                      <a:pt x="48767" y="407864"/>
                    </a:lnTo>
                    <a:lnTo>
                      <a:pt x="8508" y="415185"/>
                    </a:lnTo>
                    <a:lnTo>
                      <a:pt x="0" y="334711"/>
                    </a:lnTo>
                    <a:lnTo>
                      <a:pt x="31704" y="288318"/>
                    </a:lnTo>
                    <a:lnTo>
                      <a:pt x="89851" y="222850"/>
                    </a:lnTo>
                    <a:lnTo>
                      <a:pt x="170783" y="222439"/>
                    </a:lnTo>
                    <a:lnTo>
                      <a:pt x="195579" y="92736"/>
                    </a:lnTo>
                    <a:lnTo>
                      <a:pt x="268366" y="58561"/>
                    </a:lnTo>
                    <a:lnTo>
                      <a:pt x="288314" y="0"/>
                    </a:lnTo>
                    <a:lnTo>
                      <a:pt x="357806" y="9744"/>
                    </a:lnTo>
                    <a:lnTo>
                      <a:pt x="501369" y="180942"/>
                    </a:lnTo>
                    <a:lnTo>
                      <a:pt x="570909" y="310691"/>
                    </a:lnTo>
                    <a:lnTo>
                      <a:pt x="637707" y="362389"/>
                    </a:lnTo>
                    <a:lnTo>
                      <a:pt x="725452" y="442452"/>
                    </a:lnTo>
                    <a:lnTo>
                      <a:pt x="711224" y="492045"/>
                    </a:lnTo>
                    <a:lnTo>
                      <a:pt x="667304" y="440805"/>
                    </a:lnTo>
                    <a:lnTo>
                      <a:pt x="627044" y="506686"/>
                    </a:lnTo>
                    <a:lnTo>
                      <a:pt x="627044" y="506686"/>
                    </a:lnTo>
                    <a:lnTo>
                      <a:pt x="641684" y="561586"/>
                    </a:lnTo>
                    <a:lnTo>
                      <a:pt x="614416" y="589218"/>
                    </a:lnTo>
                    <a:cubicBezTo>
                      <a:pt x="614965" y="601968"/>
                      <a:pt x="635003" y="601724"/>
                      <a:pt x="635552" y="614474"/>
                    </a:cubicBezTo>
                    <a:lnTo>
                      <a:pt x="658337" y="648968"/>
                    </a:lnTo>
                    <a:lnTo>
                      <a:pt x="696584" y="744588"/>
                    </a:lnTo>
                    <a:lnTo>
                      <a:pt x="641684" y="762888"/>
                    </a:lnTo>
                    <a:lnTo>
                      <a:pt x="641684" y="825109"/>
                    </a:lnTo>
                    <a:lnTo>
                      <a:pt x="583124" y="843409"/>
                    </a:lnTo>
                    <a:lnTo>
                      <a:pt x="535545" y="920270"/>
                    </a:lnTo>
                    <a:lnTo>
                      <a:pt x="535545" y="920270"/>
                    </a:lnTo>
                    <a:lnTo>
                      <a:pt x="455025" y="989811"/>
                    </a:lnTo>
                    <a:lnTo>
                      <a:pt x="389146" y="1004451"/>
                    </a:lnTo>
                    <a:lnTo>
                      <a:pt x="400125" y="942230"/>
                    </a:lnTo>
                    <a:lnTo>
                      <a:pt x="356206" y="920270"/>
                    </a:lnTo>
                    <a:lnTo>
                      <a:pt x="374140" y="863722"/>
                    </a:lnTo>
                    <a:lnTo>
                      <a:pt x="327338" y="865322"/>
                    </a:lnTo>
                    <a:lnTo>
                      <a:pt x="275686" y="94223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3" name="Forma libre 13"/>
              <p:cNvSpPr/>
              <p:nvPr/>
            </p:nvSpPr>
            <p:spPr>
              <a:xfrm>
                <a:off x="1048247" y="6289036"/>
                <a:ext cx="154932" cy="127826"/>
              </a:xfrm>
              <a:custGeom>
                <a:avLst/>
                <a:gdLst>
                  <a:gd name="connsiteX0" fmla="*/ 1013814 w 1035774"/>
                  <a:gd name="connsiteY0" fmla="*/ 91501 h 808869"/>
                  <a:gd name="connsiteX1" fmla="*/ 1035774 w 1035774"/>
                  <a:gd name="connsiteY1" fmla="*/ 168362 h 808869"/>
                  <a:gd name="connsiteX2" fmla="*/ 973554 w 1035774"/>
                  <a:gd name="connsiteY2" fmla="*/ 234242 h 808869"/>
                  <a:gd name="connsiteX3" fmla="*/ 973554 w 1035774"/>
                  <a:gd name="connsiteY3" fmla="*/ 300123 h 808869"/>
                  <a:gd name="connsiteX4" fmla="*/ 1006494 w 1035774"/>
                  <a:gd name="connsiteY4" fmla="*/ 362344 h 808869"/>
                  <a:gd name="connsiteX5" fmla="*/ 969894 w 1035774"/>
                  <a:gd name="connsiteY5" fmla="*/ 424565 h 808869"/>
                  <a:gd name="connsiteX6" fmla="*/ 936954 w 1035774"/>
                  <a:gd name="connsiteY6" fmla="*/ 442865 h 808869"/>
                  <a:gd name="connsiteX7" fmla="*/ 925975 w 1035774"/>
                  <a:gd name="connsiteY7" fmla="*/ 530706 h 808869"/>
                  <a:gd name="connsiteX8" fmla="*/ 889375 w 1035774"/>
                  <a:gd name="connsiteY8" fmla="*/ 530706 h 808869"/>
                  <a:gd name="connsiteX9" fmla="*/ 849115 w 1035774"/>
                  <a:gd name="connsiteY9" fmla="*/ 559986 h 808869"/>
                  <a:gd name="connsiteX10" fmla="*/ 761275 w 1035774"/>
                  <a:gd name="connsiteY10" fmla="*/ 567306 h 808869"/>
                  <a:gd name="connsiteX11" fmla="*/ 735656 w 1035774"/>
                  <a:gd name="connsiteY11" fmla="*/ 538026 h 808869"/>
                  <a:gd name="connsiteX12" fmla="*/ 721016 w 1035774"/>
                  <a:gd name="connsiteY12" fmla="*/ 581946 h 808869"/>
                  <a:gd name="connsiteX13" fmla="*/ 658796 w 1035774"/>
                  <a:gd name="connsiteY13" fmla="*/ 629527 h 808869"/>
                  <a:gd name="connsiteX14" fmla="*/ 625856 w 1035774"/>
                  <a:gd name="connsiteY14" fmla="*/ 607567 h 808869"/>
                  <a:gd name="connsiteX15" fmla="*/ 589256 w 1035774"/>
                  <a:gd name="connsiteY15" fmla="*/ 655147 h 808869"/>
                  <a:gd name="connsiteX16" fmla="*/ 589256 w 1035774"/>
                  <a:gd name="connsiteY16" fmla="*/ 724688 h 808869"/>
                  <a:gd name="connsiteX17" fmla="*/ 527037 w 1035774"/>
                  <a:gd name="connsiteY17" fmla="*/ 739328 h 808869"/>
                  <a:gd name="connsiteX18" fmla="*/ 486777 w 1035774"/>
                  <a:gd name="connsiteY18" fmla="*/ 775928 h 808869"/>
                  <a:gd name="connsiteX19" fmla="*/ 486777 w 1035774"/>
                  <a:gd name="connsiteY19" fmla="*/ 808869 h 808869"/>
                  <a:gd name="connsiteX20" fmla="*/ 380638 w 1035774"/>
                  <a:gd name="connsiteY20" fmla="*/ 783248 h 808869"/>
                  <a:gd name="connsiteX21" fmla="*/ 344038 w 1035774"/>
                  <a:gd name="connsiteY21" fmla="*/ 786908 h 808869"/>
                  <a:gd name="connsiteX22" fmla="*/ 344038 w 1035774"/>
                  <a:gd name="connsiteY22" fmla="*/ 742988 h 808869"/>
                  <a:gd name="connsiteX23" fmla="*/ 274498 w 1035774"/>
                  <a:gd name="connsiteY23" fmla="*/ 750308 h 808869"/>
                  <a:gd name="connsiteX24" fmla="*/ 252538 w 1035774"/>
                  <a:gd name="connsiteY24" fmla="*/ 783248 h 808869"/>
                  <a:gd name="connsiteX25" fmla="*/ 197639 w 1035774"/>
                  <a:gd name="connsiteY25" fmla="*/ 794229 h 808869"/>
                  <a:gd name="connsiteX26" fmla="*/ 146399 w 1035774"/>
                  <a:gd name="connsiteY26" fmla="*/ 746648 h 808869"/>
                  <a:gd name="connsiteX27" fmla="*/ 161039 w 1035774"/>
                  <a:gd name="connsiteY27" fmla="*/ 684427 h 808869"/>
                  <a:gd name="connsiteX28" fmla="*/ 208619 w 1035774"/>
                  <a:gd name="connsiteY28" fmla="*/ 666127 h 808869"/>
                  <a:gd name="connsiteX29" fmla="*/ 131759 w 1035774"/>
                  <a:gd name="connsiteY29" fmla="*/ 508745 h 808869"/>
                  <a:gd name="connsiteX30" fmla="*/ 131759 w 1035774"/>
                  <a:gd name="connsiteY30" fmla="*/ 508745 h 808869"/>
                  <a:gd name="connsiteX31" fmla="*/ 153719 w 1035774"/>
                  <a:gd name="connsiteY31" fmla="*/ 472145 h 808869"/>
                  <a:gd name="connsiteX32" fmla="*/ 124439 w 1035774"/>
                  <a:gd name="connsiteY32" fmla="*/ 420904 h 808869"/>
                  <a:gd name="connsiteX33" fmla="*/ 168359 w 1035774"/>
                  <a:gd name="connsiteY33" fmla="*/ 387964 h 808869"/>
                  <a:gd name="connsiteX34" fmla="*/ 208619 w 1035774"/>
                  <a:gd name="connsiteY34" fmla="*/ 435545 h 808869"/>
                  <a:gd name="connsiteX35" fmla="*/ 234238 w 1035774"/>
                  <a:gd name="connsiteY35" fmla="*/ 355024 h 808869"/>
                  <a:gd name="connsiteX36" fmla="*/ 150059 w 1035774"/>
                  <a:gd name="connsiteY36" fmla="*/ 278163 h 808869"/>
                  <a:gd name="connsiteX37" fmla="*/ 65879 w 1035774"/>
                  <a:gd name="connsiteY37" fmla="*/ 226922 h 808869"/>
                  <a:gd name="connsiteX38" fmla="*/ 0 w 1035774"/>
                  <a:gd name="connsiteY38" fmla="*/ 84181 h 808869"/>
                  <a:gd name="connsiteX39" fmla="*/ 47580 w 1035774"/>
                  <a:gd name="connsiteY39" fmla="*/ 65881 h 808869"/>
                  <a:gd name="connsiteX40" fmla="*/ 76859 w 1035774"/>
                  <a:gd name="connsiteY40" fmla="*/ 109801 h 808869"/>
                  <a:gd name="connsiteX41" fmla="*/ 256198 w 1035774"/>
                  <a:gd name="connsiteY41" fmla="*/ 87841 h 808869"/>
                  <a:gd name="connsiteX42" fmla="*/ 307438 w 1035774"/>
                  <a:gd name="connsiteY42" fmla="*/ 131761 h 808869"/>
                  <a:gd name="connsiteX43" fmla="*/ 325738 w 1035774"/>
                  <a:gd name="connsiteY43" fmla="*/ 65881 h 808869"/>
                  <a:gd name="connsiteX44" fmla="*/ 325738 w 1035774"/>
                  <a:gd name="connsiteY44" fmla="*/ 65881 h 808869"/>
                  <a:gd name="connsiteX45" fmla="*/ 325738 w 1035774"/>
                  <a:gd name="connsiteY45" fmla="*/ 65881 h 808869"/>
                  <a:gd name="connsiteX46" fmla="*/ 358678 w 1035774"/>
                  <a:gd name="connsiteY46" fmla="*/ 51240 h 808869"/>
                  <a:gd name="connsiteX47" fmla="*/ 380638 w 1035774"/>
                  <a:gd name="connsiteY47" fmla="*/ 208622 h 808869"/>
                  <a:gd name="connsiteX48" fmla="*/ 446517 w 1035774"/>
                  <a:gd name="connsiteY48" fmla="*/ 157382 h 808869"/>
                  <a:gd name="connsiteX49" fmla="*/ 472137 w 1035774"/>
                  <a:gd name="connsiteY49" fmla="*/ 7320 h 808869"/>
                  <a:gd name="connsiteX50" fmla="*/ 512397 w 1035774"/>
                  <a:gd name="connsiteY50" fmla="*/ 0 h 808869"/>
                  <a:gd name="connsiteX51" fmla="*/ 486777 w 1035774"/>
                  <a:gd name="connsiteY51" fmla="*/ 179342 h 808869"/>
                  <a:gd name="connsiteX52" fmla="*/ 589256 w 1035774"/>
                  <a:gd name="connsiteY52" fmla="*/ 398944 h 808869"/>
                  <a:gd name="connsiteX53" fmla="*/ 677096 w 1035774"/>
                  <a:gd name="connsiteY53" fmla="*/ 402604 h 808869"/>
                  <a:gd name="connsiteX54" fmla="*/ 786895 w 1035774"/>
                  <a:gd name="connsiteY54" fmla="*/ 351364 h 808869"/>
                  <a:gd name="connsiteX55" fmla="*/ 761275 w 1035774"/>
                  <a:gd name="connsiteY55" fmla="*/ 307443 h 808869"/>
                  <a:gd name="connsiteX56" fmla="*/ 801535 w 1035774"/>
                  <a:gd name="connsiteY56" fmla="*/ 274503 h 808869"/>
                  <a:gd name="connsiteX57" fmla="*/ 801535 w 1035774"/>
                  <a:gd name="connsiteY57" fmla="*/ 230582 h 808869"/>
                  <a:gd name="connsiteX58" fmla="*/ 838135 w 1035774"/>
                  <a:gd name="connsiteY58" fmla="*/ 212282 h 808869"/>
                  <a:gd name="connsiteX59" fmla="*/ 863755 w 1035774"/>
                  <a:gd name="connsiteY59" fmla="*/ 245223 h 808869"/>
                  <a:gd name="connsiteX60" fmla="*/ 863755 w 1035774"/>
                  <a:gd name="connsiteY60" fmla="*/ 245223 h 808869"/>
                  <a:gd name="connsiteX61" fmla="*/ 882055 w 1035774"/>
                  <a:gd name="connsiteY61" fmla="*/ 204962 h 808869"/>
                  <a:gd name="connsiteX62" fmla="*/ 914995 w 1035774"/>
                  <a:gd name="connsiteY62" fmla="*/ 131761 h 808869"/>
                  <a:gd name="connsiteX63" fmla="*/ 1013814 w 1035774"/>
                  <a:gd name="connsiteY63" fmla="*/ 91501 h 80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1035774" h="808869">
                    <a:moveTo>
                      <a:pt x="1013814" y="91501"/>
                    </a:moveTo>
                    <a:lnTo>
                      <a:pt x="1035774" y="168362"/>
                    </a:lnTo>
                    <a:lnTo>
                      <a:pt x="973554" y="234242"/>
                    </a:lnTo>
                    <a:lnTo>
                      <a:pt x="973554" y="300123"/>
                    </a:lnTo>
                    <a:lnTo>
                      <a:pt x="1006494" y="362344"/>
                    </a:lnTo>
                    <a:lnTo>
                      <a:pt x="969894" y="424565"/>
                    </a:lnTo>
                    <a:lnTo>
                      <a:pt x="936954" y="442865"/>
                    </a:lnTo>
                    <a:lnTo>
                      <a:pt x="925975" y="530706"/>
                    </a:lnTo>
                    <a:lnTo>
                      <a:pt x="889375" y="530706"/>
                    </a:lnTo>
                    <a:lnTo>
                      <a:pt x="849115" y="559986"/>
                    </a:lnTo>
                    <a:lnTo>
                      <a:pt x="761275" y="567306"/>
                    </a:lnTo>
                    <a:lnTo>
                      <a:pt x="735656" y="538026"/>
                    </a:lnTo>
                    <a:lnTo>
                      <a:pt x="721016" y="581946"/>
                    </a:lnTo>
                    <a:lnTo>
                      <a:pt x="658796" y="629527"/>
                    </a:lnTo>
                    <a:lnTo>
                      <a:pt x="625856" y="607567"/>
                    </a:lnTo>
                    <a:lnTo>
                      <a:pt x="589256" y="655147"/>
                    </a:lnTo>
                    <a:lnTo>
                      <a:pt x="589256" y="724688"/>
                    </a:lnTo>
                    <a:lnTo>
                      <a:pt x="527037" y="739328"/>
                    </a:lnTo>
                    <a:lnTo>
                      <a:pt x="486777" y="775928"/>
                    </a:lnTo>
                    <a:lnTo>
                      <a:pt x="486777" y="808869"/>
                    </a:lnTo>
                    <a:lnTo>
                      <a:pt x="380638" y="783248"/>
                    </a:lnTo>
                    <a:lnTo>
                      <a:pt x="344038" y="786908"/>
                    </a:lnTo>
                    <a:lnTo>
                      <a:pt x="344038" y="742988"/>
                    </a:lnTo>
                    <a:lnTo>
                      <a:pt x="274498" y="750308"/>
                    </a:lnTo>
                    <a:lnTo>
                      <a:pt x="252538" y="783248"/>
                    </a:lnTo>
                    <a:lnTo>
                      <a:pt x="197639" y="794229"/>
                    </a:lnTo>
                    <a:lnTo>
                      <a:pt x="146399" y="746648"/>
                    </a:lnTo>
                    <a:lnTo>
                      <a:pt x="161039" y="684427"/>
                    </a:lnTo>
                    <a:lnTo>
                      <a:pt x="208619" y="666127"/>
                    </a:lnTo>
                    <a:lnTo>
                      <a:pt x="131759" y="508745"/>
                    </a:lnTo>
                    <a:lnTo>
                      <a:pt x="131759" y="508745"/>
                    </a:lnTo>
                    <a:lnTo>
                      <a:pt x="153719" y="472145"/>
                    </a:lnTo>
                    <a:lnTo>
                      <a:pt x="124439" y="420904"/>
                    </a:lnTo>
                    <a:lnTo>
                      <a:pt x="168359" y="387964"/>
                    </a:lnTo>
                    <a:lnTo>
                      <a:pt x="208619" y="435545"/>
                    </a:lnTo>
                    <a:lnTo>
                      <a:pt x="234238" y="355024"/>
                    </a:lnTo>
                    <a:lnTo>
                      <a:pt x="150059" y="278163"/>
                    </a:lnTo>
                    <a:lnTo>
                      <a:pt x="65879" y="226922"/>
                    </a:lnTo>
                    <a:lnTo>
                      <a:pt x="0" y="84181"/>
                    </a:lnTo>
                    <a:lnTo>
                      <a:pt x="47580" y="65881"/>
                    </a:lnTo>
                    <a:lnTo>
                      <a:pt x="76859" y="109801"/>
                    </a:lnTo>
                    <a:lnTo>
                      <a:pt x="256198" y="87841"/>
                    </a:lnTo>
                    <a:lnTo>
                      <a:pt x="307438" y="131761"/>
                    </a:lnTo>
                    <a:lnTo>
                      <a:pt x="325738" y="65881"/>
                    </a:lnTo>
                    <a:lnTo>
                      <a:pt x="325738" y="65881"/>
                    </a:lnTo>
                    <a:lnTo>
                      <a:pt x="325738" y="65881"/>
                    </a:lnTo>
                    <a:lnTo>
                      <a:pt x="358678" y="51240"/>
                    </a:lnTo>
                    <a:lnTo>
                      <a:pt x="380638" y="208622"/>
                    </a:lnTo>
                    <a:lnTo>
                      <a:pt x="446517" y="157382"/>
                    </a:lnTo>
                    <a:lnTo>
                      <a:pt x="472137" y="7320"/>
                    </a:lnTo>
                    <a:lnTo>
                      <a:pt x="512397" y="0"/>
                    </a:lnTo>
                    <a:lnTo>
                      <a:pt x="486777" y="179342"/>
                    </a:lnTo>
                    <a:lnTo>
                      <a:pt x="589256" y="398944"/>
                    </a:lnTo>
                    <a:lnTo>
                      <a:pt x="677096" y="402604"/>
                    </a:lnTo>
                    <a:lnTo>
                      <a:pt x="786895" y="351364"/>
                    </a:lnTo>
                    <a:lnTo>
                      <a:pt x="761275" y="307443"/>
                    </a:lnTo>
                    <a:lnTo>
                      <a:pt x="801535" y="274503"/>
                    </a:lnTo>
                    <a:lnTo>
                      <a:pt x="801535" y="230582"/>
                    </a:lnTo>
                    <a:lnTo>
                      <a:pt x="838135" y="212282"/>
                    </a:lnTo>
                    <a:lnTo>
                      <a:pt x="863755" y="245223"/>
                    </a:lnTo>
                    <a:lnTo>
                      <a:pt x="863755" y="245223"/>
                    </a:lnTo>
                    <a:lnTo>
                      <a:pt x="882055" y="204962"/>
                    </a:lnTo>
                    <a:lnTo>
                      <a:pt x="914995" y="131761"/>
                    </a:lnTo>
                    <a:lnTo>
                      <a:pt x="1013814" y="91501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4" name="Forma libre 14"/>
              <p:cNvSpPr/>
              <p:nvPr/>
            </p:nvSpPr>
            <p:spPr>
              <a:xfrm>
                <a:off x="1122702" y="6229461"/>
                <a:ext cx="304937" cy="243506"/>
              </a:xfrm>
              <a:custGeom>
                <a:avLst/>
                <a:gdLst>
                  <a:gd name="connsiteX0" fmla="*/ 552657 w 2038608"/>
                  <a:gd name="connsiteY0" fmla="*/ 0 h 1540877"/>
                  <a:gd name="connsiteX1" fmla="*/ 761276 w 2038608"/>
                  <a:gd name="connsiteY1" fmla="*/ 120781 h 1540877"/>
                  <a:gd name="connsiteX2" fmla="*/ 845455 w 2038608"/>
                  <a:gd name="connsiteY2" fmla="*/ 175682 h 1540877"/>
                  <a:gd name="connsiteX3" fmla="*/ 845455 w 2038608"/>
                  <a:gd name="connsiteY3" fmla="*/ 175682 h 1540877"/>
                  <a:gd name="connsiteX4" fmla="*/ 819835 w 2038608"/>
                  <a:gd name="connsiteY4" fmla="*/ 230582 h 1540877"/>
                  <a:gd name="connsiteX5" fmla="*/ 882055 w 2038608"/>
                  <a:gd name="connsiteY5" fmla="*/ 289143 h 1540877"/>
                  <a:gd name="connsiteX6" fmla="*/ 889375 w 2038608"/>
                  <a:gd name="connsiteY6" fmla="*/ 340383 h 1540877"/>
                  <a:gd name="connsiteX7" fmla="*/ 911335 w 2038608"/>
                  <a:gd name="connsiteY7" fmla="*/ 376984 h 1540877"/>
                  <a:gd name="connsiteX8" fmla="*/ 911335 w 2038608"/>
                  <a:gd name="connsiteY8" fmla="*/ 376984 h 1540877"/>
                  <a:gd name="connsiteX9" fmla="*/ 988194 w 2038608"/>
                  <a:gd name="connsiteY9" fmla="*/ 450185 h 1540877"/>
                  <a:gd name="connsiteX10" fmla="*/ 977214 w 2038608"/>
                  <a:gd name="connsiteY10" fmla="*/ 501425 h 1540877"/>
                  <a:gd name="connsiteX11" fmla="*/ 1046754 w 2038608"/>
                  <a:gd name="connsiteY11" fmla="*/ 538026 h 1540877"/>
                  <a:gd name="connsiteX12" fmla="*/ 1134593 w 2038608"/>
                  <a:gd name="connsiteY12" fmla="*/ 655147 h 1540877"/>
                  <a:gd name="connsiteX13" fmla="*/ 1119954 w 2038608"/>
                  <a:gd name="connsiteY13" fmla="*/ 710048 h 1540877"/>
                  <a:gd name="connsiteX14" fmla="*/ 1028454 w 2038608"/>
                  <a:gd name="connsiteY14" fmla="*/ 790568 h 1540877"/>
                  <a:gd name="connsiteX15" fmla="*/ 1237073 w 2038608"/>
                  <a:gd name="connsiteY15" fmla="*/ 794228 h 1540877"/>
                  <a:gd name="connsiteX16" fmla="*/ 1354192 w 2038608"/>
                  <a:gd name="connsiteY16" fmla="*/ 830829 h 1540877"/>
                  <a:gd name="connsiteX17" fmla="*/ 1405432 w 2038608"/>
                  <a:gd name="connsiteY17" fmla="*/ 918670 h 1540877"/>
                  <a:gd name="connsiteX18" fmla="*/ 1420072 w 2038608"/>
                  <a:gd name="connsiteY18" fmla="*/ 1006511 h 1540877"/>
                  <a:gd name="connsiteX19" fmla="*/ 1716530 w 2038608"/>
                  <a:gd name="connsiteY19" fmla="*/ 1010171 h 1540877"/>
                  <a:gd name="connsiteX20" fmla="*/ 1804370 w 2038608"/>
                  <a:gd name="connsiteY20" fmla="*/ 955270 h 1540877"/>
                  <a:gd name="connsiteX21" fmla="*/ 1917829 w 2038608"/>
                  <a:gd name="connsiteY21" fmla="*/ 871089 h 1540877"/>
                  <a:gd name="connsiteX22" fmla="*/ 2038608 w 2038608"/>
                  <a:gd name="connsiteY22" fmla="*/ 790568 h 1540877"/>
                  <a:gd name="connsiteX23" fmla="*/ 2012988 w 2038608"/>
                  <a:gd name="connsiteY23" fmla="*/ 867429 h 1540877"/>
                  <a:gd name="connsiteX24" fmla="*/ 2038608 w 2038608"/>
                  <a:gd name="connsiteY24" fmla="*/ 904030 h 1540877"/>
                  <a:gd name="connsiteX25" fmla="*/ 1991029 w 2038608"/>
                  <a:gd name="connsiteY25" fmla="*/ 958930 h 1540877"/>
                  <a:gd name="connsiteX26" fmla="*/ 1980049 w 2038608"/>
                  <a:gd name="connsiteY26" fmla="*/ 1050431 h 1540877"/>
                  <a:gd name="connsiteX27" fmla="*/ 1903189 w 2038608"/>
                  <a:gd name="connsiteY27" fmla="*/ 1108992 h 1540877"/>
                  <a:gd name="connsiteX28" fmla="*/ 1804370 w 2038608"/>
                  <a:gd name="connsiteY28" fmla="*/ 1207813 h 1540877"/>
                  <a:gd name="connsiteX29" fmla="*/ 1767770 w 2038608"/>
                  <a:gd name="connsiteY29" fmla="*/ 1248073 h 1540877"/>
                  <a:gd name="connsiteX30" fmla="*/ 1764110 w 2038608"/>
                  <a:gd name="connsiteY30" fmla="*/ 1310294 h 1540877"/>
                  <a:gd name="connsiteX31" fmla="*/ 1716530 w 2038608"/>
                  <a:gd name="connsiteY31" fmla="*/ 1372515 h 1540877"/>
                  <a:gd name="connsiteX32" fmla="*/ 1420072 w 2038608"/>
                  <a:gd name="connsiteY32" fmla="*/ 1387155 h 1540877"/>
                  <a:gd name="connsiteX33" fmla="*/ 1398112 w 2038608"/>
                  <a:gd name="connsiteY33" fmla="*/ 1507936 h 1540877"/>
                  <a:gd name="connsiteX34" fmla="*/ 1343212 w 2038608"/>
                  <a:gd name="connsiteY34" fmla="*/ 1504276 h 1540877"/>
                  <a:gd name="connsiteX35" fmla="*/ 1259033 w 2038608"/>
                  <a:gd name="connsiteY35" fmla="*/ 1540877 h 1540877"/>
                  <a:gd name="connsiteX36" fmla="*/ 1189493 w 2038608"/>
                  <a:gd name="connsiteY36" fmla="*/ 1518916 h 1540877"/>
                  <a:gd name="connsiteX37" fmla="*/ 1145573 w 2038608"/>
                  <a:gd name="connsiteY37" fmla="*/ 1522576 h 1540877"/>
                  <a:gd name="connsiteX38" fmla="*/ 1101654 w 2038608"/>
                  <a:gd name="connsiteY38" fmla="*/ 1467676 h 1540877"/>
                  <a:gd name="connsiteX39" fmla="*/ 1057734 w 2038608"/>
                  <a:gd name="connsiteY39" fmla="*/ 1500616 h 1540877"/>
                  <a:gd name="connsiteX40" fmla="*/ 980874 w 2038608"/>
                  <a:gd name="connsiteY40" fmla="*/ 1504276 h 1540877"/>
                  <a:gd name="connsiteX41" fmla="*/ 936955 w 2038608"/>
                  <a:gd name="connsiteY41" fmla="*/ 1529896 h 1540877"/>
                  <a:gd name="connsiteX42" fmla="*/ 936955 w 2038608"/>
                  <a:gd name="connsiteY42" fmla="*/ 1529896 h 1540877"/>
                  <a:gd name="connsiteX43" fmla="*/ 922315 w 2038608"/>
                  <a:gd name="connsiteY43" fmla="*/ 1412775 h 1540877"/>
                  <a:gd name="connsiteX44" fmla="*/ 889375 w 2038608"/>
                  <a:gd name="connsiteY44" fmla="*/ 1398135 h 1540877"/>
                  <a:gd name="connsiteX45" fmla="*/ 889375 w 2038608"/>
                  <a:gd name="connsiteY45" fmla="*/ 1332254 h 1540877"/>
                  <a:gd name="connsiteX46" fmla="*/ 823495 w 2038608"/>
                  <a:gd name="connsiteY46" fmla="*/ 1284674 h 1540877"/>
                  <a:gd name="connsiteX47" fmla="*/ 786895 w 2038608"/>
                  <a:gd name="connsiteY47" fmla="*/ 1302974 h 1540877"/>
                  <a:gd name="connsiteX48" fmla="*/ 775916 w 2038608"/>
                  <a:gd name="connsiteY48" fmla="*/ 1449376 h 1540877"/>
                  <a:gd name="connsiteX49" fmla="*/ 735656 w 2038608"/>
                  <a:gd name="connsiteY49" fmla="*/ 1438395 h 1540877"/>
                  <a:gd name="connsiteX50" fmla="*/ 731996 w 2038608"/>
                  <a:gd name="connsiteY50" fmla="*/ 1383495 h 1540877"/>
                  <a:gd name="connsiteX51" fmla="*/ 647816 w 2038608"/>
                  <a:gd name="connsiteY51" fmla="*/ 1383495 h 1540877"/>
                  <a:gd name="connsiteX52" fmla="*/ 581937 w 2038608"/>
                  <a:gd name="connsiteY52" fmla="*/ 1405455 h 1540877"/>
                  <a:gd name="connsiteX53" fmla="*/ 508737 w 2038608"/>
                  <a:gd name="connsiteY53" fmla="*/ 1354215 h 1540877"/>
                  <a:gd name="connsiteX54" fmla="*/ 592917 w 2038608"/>
                  <a:gd name="connsiteY54" fmla="*/ 1295654 h 1540877"/>
                  <a:gd name="connsiteX55" fmla="*/ 673436 w 2038608"/>
                  <a:gd name="connsiteY55" fmla="*/ 1237093 h 1540877"/>
                  <a:gd name="connsiteX56" fmla="*/ 636836 w 2038608"/>
                  <a:gd name="connsiteY56" fmla="*/ 1171213 h 1540877"/>
                  <a:gd name="connsiteX57" fmla="*/ 636836 w 2038608"/>
                  <a:gd name="connsiteY57" fmla="*/ 1171213 h 1540877"/>
                  <a:gd name="connsiteX58" fmla="*/ 636836 w 2038608"/>
                  <a:gd name="connsiteY58" fmla="*/ 1083372 h 1540877"/>
                  <a:gd name="connsiteX59" fmla="*/ 567297 w 2038608"/>
                  <a:gd name="connsiteY59" fmla="*/ 1028471 h 1540877"/>
                  <a:gd name="connsiteX60" fmla="*/ 556317 w 2038608"/>
                  <a:gd name="connsiteY60" fmla="*/ 944290 h 1540877"/>
                  <a:gd name="connsiteX61" fmla="*/ 545337 w 2038608"/>
                  <a:gd name="connsiteY61" fmla="*/ 863769 h 1540877"/>
                  <a:gd name="connsiteX62" fmla="*/ 486777 w 2038608"/>
                  <a:gd name="connsiteY62" fmla="*/ 808869 h 1540877"/>
                  <a:gd name="connsiteX63" fmla="*/ 519717 w 2038608"/>
                  <a:gd name="connsiteY63" fmla="*/ 746648 h 1540877"/>
                  <a:gd name="connsiteX64" fmla="*/ 497757 w 2038608"/>
                  <a:gd name="connsiteY64" fmla="*/ 673447 h 1540877"/>
                  <a:gd name="connsiteX65" fmla="*/ 497757 w 2038608"/>
                  <a:gd name="connsiteY65" fmla="*/ 618547 h 1540877"/>
                  <a:gd name="connsiteX66" fmla="*/ 559977 w 2038608"/>
                  <a:gd name="connsiteY66" fmla="*/ 545346 h 1540877"/>
                  <a:gd name="connsiteX67" fmla="*/ 527037 w 2038608"/>
                  <a:gd name="connsiteY67" fmla="*/ 446525 h 1540877"/>
                  <a:gd name="connsiteX68" fmla="*/ 402598 w 2038608"/>
                  <a:gd name="connsiteY68" fmla="*/ 494105 h 1540877"/>
                  <a:gd name="connsiteX69" fmla="*/ 365998 w 2038608"/>
                  <a:gd name="connsiteY69" fmla="*/ 603906 h 1540877"/>
                  <a:gd name="connsiteX70" fmla="*/ 351358 w 2038608"/>
                  <a:gd name="connsiteY70" fmla="*/ 563646 h 1540877"/>
                  <a:gd name="connsiteX71" fmla="*/ 281818 w 2038608"/>
                  <a:gd name="connsiteY71" fmla="*/ 603906 h 1540877"/>
                  <a:gd name="connsiteX72" fmla="*/ 281818 w 2038608"/>
                  <a:gd name="connsiteY72" fmla="*/ 644167 h 1540877"/>
                  <a:gd name="connsiteX73" fmla="*/ 241559 w 2038608"/>
                  <a:gd name="connsiteY73" fmla="*/ 684427 h 1540877"/>
                  <a:gd name="connsiteX74" fmla="*/ 274498 w 2038608"/>
                  <a:gd name="connsiteY74" fmla="*/ 721028 h 1540877"/>
                  <a:gd name="connsiteX75" fmla="*/ 172019 w 2038608"/>
                  <a:gd name="connsiteY75" fmla="*/ 764948 h 1540877"/>
                  <a:gd name="connsiteX76" fmla="*/ 91499 w 2038608"/>
                  <a:gd name="connsiteY76" fmla="*/ 764948 h 1540877"/>
                  <a:gd name="connsiteX77" fmla="*/ 0 w 2038608"/>
                  <a:gd name="connsiteY77" fmla="*/ 556326 h 1540877"/>
                  <a:gd name="connsiteX78" fmla="*/ 109799 w 2038608"/>
                  <a:gd name="connsiteY78" fmla="*/ 424564 h 1540877"/>
                  <a:gd name="connsiteX79" fmla="*/ 215939 w 2038608"/>
                  <a:gd name="connsiteY79" fmla="*/ 439205 h 1540877"/>
                  <a:gd name="connsiteX80" fmla="*/ 193979 w 2038608"/>
                  <a:gd name="connsiteY80" fmla="*/ 369664 h 1540877"/>
                  <a:gd name="connsiteX81" fmla="*/ 256198 w 2038608"/>
                  <a:gd name="connsiteY81" fmla="*/ 329403 h 1540877"/>
                  <a:gd name="connsiteX82" fmla="*/ 303778 w 2038608"/>
                  <a:gd name="connsiteY82" fmla="*/ 362344 h 1540877"/>
                  <a:gd name="connsiteX83" fmla="*/ 325738 w 2038608"/>
                  <a:gd name="connsiteY83" fmla="*/ 281823 h 1540877"/>
                  <a:gd name="connsiteX84" fmla="*/ 395278 w 2038608"/>
                  <a:gd name="connsiteY84" fmla="*/ 322083 h 1540877"/>
                  <a:gd name="connsiteX85" fmla="*/ 538017 w 2038608"/>
                  <a:gd name="connsiteY85" fmla="*/ 212282 h 1540877"/>
                  <a:gd name="connsiteX86" fmla="*/ 501417 w 2038608"/>
                  <a:gd name="connsiteY86" fmla="*/ 91501 h 1540877"/>
                  <a:gd name="connsiteX87" fmla="*/ 552657 w 2038608"/>
                  <a:gd name="connsiteY87" fmla="*/ 0 h 1540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2038608" h="1540877">
                    <a:moveTo>
                      <a:pt x="552657" y="0"/>
                    </a:moveTo>
                    <a:lnTo>
                      <a:pt x="761276" y="120781"/>
                    </a:lnTo>
                    <a:lnTo>
                      <a:pt x="845455" y="175682"/>
                    </a:lnTo>
                    <a:lnTo>
                      <a:pt x="845455" y="175682"/>
                    </a:lnTo>
                    <a:lnTo>
                      <a:pt x="819835" y="230582"/>
                    </a:lnTo>
                    <a:lnTo>
                      <a:pt x="882055" y="289143"/>
                    </a:lnTo>
                    <a:lnTo>
                      <a:pt x="889375" y="340383"/>
                    </a:lnTo>
                    <a:lnTo>
                      <a:pt x="911335" y="376984"/>
                    </a:lnTo>
                    <a:lnTo>
                      <a:pt x="911335" y="376984"/>
                    </a:lnTo>
                    <a:lnTo>
                      <a:pt x="988194" y="450185"/>
                    </a:lnTo>
                    <a:lnTo>
                      <a:pt x="977214" y="501425"/>
                    </a:lnTo>
                    <a:lnTo>
                      <a:pt x="1046754" y="538026"/>
                    </a:lnTo>
                    <a:lnTo>
                      <a:pt x="1134593" y="655147"/>
                    </a:lnTo>
                    <a:lnTo>
                      <a:pt x="1119954" y="710048"/>
                    </a:lnTo>
                    <a:lnTo>
                      <a:pt x="1028454" y="790568"/>
                    </a:lnTo>
                    <a:lnTo>
                      <a:pt x="1237073" y="794228"/>
                    </a:lnTo>
                    <a:lnTo>
                      <a:pt x="1354192" y="830829"/>
                    </a:lnTo>
                    <a:lnTo>
                      <a:pt x="1405432" y="918670"/>
                    </a:lnTo>
                    <a:lnTo>
                      <a:pt x="1420072" y="1006511"/>
                    </a:lnTo>
                    <a:lnTo>
                      <a:pt x="1716530" y="1010171"/>
                    </a:lnTo>
                    <a:lnTo>
                      <a:pt x="1804370" y="955270"/>
                    </a:lnTo>
                    <a:lnTo>
                      <a:pt x="1917829" y="871089"/>
                    </a:lnTo>
                    <a:lnTo>
                      <a:pt x="2038608" y="790568"/>
                    </a:lnTo>
                    <a:lnTo>
                      <a:pt x="2012988" y="867429"/>
                    </a:lnTo>
                    <a:lnTo>
                      <a:pt x="2038608" y="904030"/>
                    </a:lnTo>
                    <a:lnTo>
                      <a:pt x="1991029" y="958930"/>
                    </a:lnTo>
                    <a:lnTo>
                      <a:pt x="1980049" y="1050431"/>
                    </a:lnTo>
                    <a:lnTo>
                      <a:pt x="1903189" y="1108992"/>
                    </a:lnTo>
                    <a:lnTo>
                      <a:pt x="1804370" y="1207813"/>
                    </a:lnTo>
                    <a:lnTo>
                      <a:pt x="1767770" y="1248073"/>
                    </a:lnTo>
                    <a:lnTo>
                      <a:pt x="1764110" y="1310294"/>
                    </a:lnTo>
                    <a:lnTo>
                      <a:pt x="1716530" y="1372515"/>
                    </a:lnTo>
                    <a:lnTo>
                      <a:pt x="1420072" y="1387155"/>
                    </a:lnTo>
                    <a:lnTo>
                      <a:pt x="1398112" y="1507936"/>
                    </a:lnTo>
                    <a:lnTo>
                      <a:pt x="1343212" y="1504276"/>
                    </a:lnTo>
                    <a:lnTo>
                      <a:pt x="1259033" y="1540877"/>
                    </a:lnTo>
                    <a:lnTo>
                      <a:pt x="1189493" y="1518916"/>
                    </a:lnTo>
                    <a:lnTo>
                      <a:pt x="1145573" y="1522576"/>
                    </a:lnTo>
                    <a:lnTo>
                      <a:pt x="1101654" y="1467676"/>
                    </a:lnTo>
                    <a:lnTo>
                      <a:pt x="1057734" y="1500616"/>
                    </a:lnTo>
                    <a:lnTo>
                      <a:pt x="980874" y="1504276"/>
                    </a:lnTo>
                    <a:lnTo>
                      <a:pt x="936955" y="1529896"/>
                    </a:lnTo>
                    <a:lnTo>
                      <a:pt x="936955" y="1529896"/>
                    </a:lnTo>
                    <a:lnTo>
                      <a:pt x="922315" y="1412775"/>
                    </a:lnTo>
                    <a:lnTo>
                      <a:pt x="889375" y="1398135"/>
                    </a:lnTo>
                    <a:lnTo>
                      <a:pt x="889375" y="1332254"/>
                    </a:lnTo>
                    <a:lnTo>
                      <a:pt x="823495" y="1284674"/>
                    </a:lnTo>
                    <a:lnTo>
                      <a:pt x="786895" y="1302974"/>
                    </a:lnTo>
                    <a:lnTo>
                      <a:pt x="775916" y="1449376"/>
                    </a:lnTo>
                    <a:lnTo>
                      <a:pt x="735656" y="1438395"/>
                    </a:lnTo>
                    <a:lnTo>
                      <a:pt x="731996" y="1383495"/>
                    </a:lnTo>
                    <a:lnTo>
                      <a:pt x="647816" y="1383495"/>
                    </a:lnTo>
                    <a:lnTo>
                      <a:pt x="581937" y="1405455"/>
                    </a:lnTo>
                    <a:lnTo>
                      <a:pt x="508737" y="1354215"/>
                    </a:lnTo>
                    <a:lnTo>
                      <a:pt x="592917" y="1295654"/>
                    </a:lnTo>
                    <a:lnTo>
                      <a:pt x="673436" y="1237093"/>
                    </a:lnTo>
                    <a:lnTo>
                      <a:pt x="636836" y="1171213"/>
                    </a:lnTo>
                    <a:lnTo>
                      <a:pt x="636836" y="1171213"/>
                    </a:lnTo>
                    <a:lnTo>
                      <a:pt x="636836" y="1083372"/>
                    </a:lnTo>
                    <a:lnTo>
                      <a:pt x="567297" y="1028471"/>
                    </a:lnTo>
                    <a:lnTo>
                      <a:pt x="556317" y="944290"/>
                    </a:lnTo>
                    <a:lnTo>
                      <a:pt x="545337" y="863769"/>
                    </a:lnTo>
                    <a:lnTo>
                      <a:pt x="486777" y="808869"/>
                    </a:lnTo>
                    <a:lnTo>
                      <a:pt x="519717" y="746648"/>
                    </a:lnTo>
                    <a:lnTo>
                      <a:pt x="497757" y="673447"/>
                    </a:lnTo>
                    <a:lnTo>
                      <a:pt x="497757" y="618547"/>
                    </a:lnTo>
                    <a:lnTo>
                      <a:pt x="559977" y="545346"/>
                    </a:lnTo>
                    <a:lnTo>
                      <a:pt x="527037" y="446525"/>
                    </a:lnTo>
                    <a:lnTo>
                      <a:pt x="402598" y="494105"/>
                    </a:lnTo>
                    <a:lnTo>
                      <a:pt x="365998" y="603906"/>
                    </a:lnTo>
                    <a:lnTo>
                      <a:pt x="351358" y="563646"/>
                    </a:lnTo>
                    <a:lnTo>
                      <a:pt x="281818" y="603906"/>
                    </a:lnTo>
                    <a:lnTo>
                      <a:pt x="281818" y="644167"/>
                    </a:lnTo>
                    <a:lnTo>
                      <a:pt x="241559" y="684427"/>
                    </a:lnTo>
                    <a:lnTo>
                      <a:pt x="274498" y="721028"/>
                    </a:lnTo>
                    <a:lnTo>
                      <a:pt x="172019" y="764948"/>
                    </a:lnTo>
                    <a:lnTo>
                      <a:pt x="91499" y="764948"/>
                    </a:lnTo>
                    <a:lnTo>
                      <a:pt x="0" y="556326"/>
                    </a:lnTo>
                    <a:lnTo>
                      <a:pt x="109799" y="424564"/>
                    </a:lnTo>
                    <a:lnTo>
                      <a:pt x="215939" y="439205"/>
                    </a:lnTo>
                    <a:lnTo>
                      <a:pt x="193979" y="369664"/>
                    </a:lnTo>
                    <a:lnTo>
                      <a:pt x="256198" y="329403"/>
                    </a:lnTo>
                    <a:lnTo>
                      <a:pt x="303778" y="362344"/>
                    </a:lnTo>
                    <a:lnTo>
                      <a:pt x="325738" y="281823"/>
                    </a:lnTo>
                    <a:lnTo>
                      <a:pt x="395278" y="322083"/>
                    </a:lnTo>
                    <a:lnTo>
                      <a:pt x="538017" y="212282"/>
                    </a:lnTo>
                    <a:lnTo>
                      <a:pt x="501417" y="91501"/>
                    </a:lnTo>
                    <a:lnTo>
                      <a:pt x="552657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5" name="Forma libre 16"/>
              <p:cNvSpPr/>
              <p:nvPr/>
            </p:nvSpPr>
            <p:spPr>
              <a:xfrm>
                <a:off x="1081030" y="6358658"/>
                <a:ext cx="142001" cy="95834"/>
              </a:xfrm>
              <a:custGeom>
                <a:avLst/>
                <a:gdLst>
                  <a:gd name="connsiteX0" fmla="*/ 758825 w 949325"/>
                  <a:gd name="connsiteY0" fmla="*/ 0 h 606425"/>
                  <a:gd name="connsiteX1" fmla="*/ 809625 w 949325"/>
                  <a:gd name="connsiteY1" fmla="*/ 41275 h 606425"/>
                  <a:gd name="connsiteX2" fmla="*/ 831850 w 949325"/>
                  <a:gd name="connsiteY2" fmla="*/ 215900 h 606425"/>
                  <a:gd name="connsiteX3" fmla="*/ 904875 w 949325"/>
                  <a:gd name="connsiteY3" fmla="*/ 269875 h 606425"/>
                  <a:gd name="connsiteX4" fmla="*/ 908050 w 949325"/>
                  <a:gd name="connsiteY4" fmla="*/ 349250 h 606425"/>
                  <a:gd name="connsiteX5" fmla="*/ 949325 w 949325"/>
                  <a:gd name="connsiteY5" fmla="*/ 419100 h 606425"/>
                  <a:gd name="connsiteX6" fmla="*/ 866775 w 949325"/>
                  <a:gd name="connsiteY6" fmla="*/ 479425 h 606425"/>
                  <a:gd name="connsiteX7" fmla="*/ 781050 w 949325"/>
                  <a:gd name="connsiteY7" fmla="*/ 527050 h 606425"/>
                  <a:gd name="connsiteX8" fmla="*/ 720725 w 949325"/>
                  <a:gd name="connsiteY8" fmla="*/ 511175 h 606425"/>
                  <a:gd name="connsiteX9" fmla="*/ 676275 w 949325"/>
                  <a:gd name="connsiteY9" fmla="*/ 454025 h 606425"/>
                  <a:gd name="connsiteX10" fmla="*/ 660400 w 949325"/>
                  <a:gd name="connsiteY10" fmla="*/ 476250 h 606425"/>
                  <a:gd name="connsiteX11" fmla="*/ 635000 w 949325"/>
                  <a:gd name="connsiteY11" fmla="*/ 466725 h 606425"/>
                  <a:gd name="connsiteX12" fmla="*/ 600075 w 949325"/>
                  <a:gd name="connsiteY12" fmla="*/ 434975 h 606425"/>
                  <a:gd name="connsiteX13" fmla="*/ 558800 w 949325"/>
                  <a:gd name="connsiteY13" fmla="*/ 466725 h 606425"/>
                  <a:gd name="connsiteX14" fmla="*/ 523875 w 949325"/>
                  <a:gd name="connsiteY14" fmla="*/ 520700 h 606425"/>
                  <a:gd name="connsiteX15" fmla="*/ 450850 w 949325"/>
                  <a:gd name="connsiteY15" fmla="*/ 520700 h 606425"/>
                  <a:gd name="connsiteX16" fmla="*/ 460375 w 949325"/>
                  <a:gd name="connsiteY16" fmla="*/ 469900 h 606425"/>
                  <a:gd name="connsiteX17" fmla="*/ 415925 w 949325"/>
                  <a:gd name="connsiteY17" fmla="*/ 466725 h 606425"/>
                  <a:gd name="connsiteX18" fmla="*/ 415925 w 949325"/>
                  <a:gd name="connsiteY18" fmla="*/ 466725 h 606425"/>
                  <a:gd name="connsiteX19" fmla="*/ 409575 w 949325"/>
                  <a:gd name="connsiteY19" fmla="*/ 508000 h 606425"/>
                  <a:gd name="connsiteX20" fmla="*/ 346075 w 949325"/>
                  <a:gd name="connsiteY20" fmla="*/ 495300 h 606425"/>
                  <a:gd name="connsiteX21" fmla="*/ 314325 w 949325"/>
                  <a:gd name="connsiteY21" fmla="*/ 517525 h 606425"/>
                  <a:gd name="connsiteX22" fmla="*/ 260350 w 949325"/>
                  <a:gd name="connsiteY22" fmla="*/ 501650 h 606425"/>
                  <a:gd name="connsiteX23" fmla="*/ 225425 w 949325"/>
                  <a:gd name="connsiteY23" fmla="*/ 536575 h 606425"/>
                  <a:gd name="connsiteX24" fmla="*/ 250825 w 949325"/>
                  <a:gd name="connsiteY24" fmla="*/ 577850 h 606425"/>
                  <a:gd name="connsiteX25" fmla="*/ 234950 w 949325"/>
                  <a:gd name="connsiteY25" fmla="*/ 606425 h 606425"/>
                  <a:gd name="connsiteX26" fmla="*/ 200025 w 949325"/>
                  <a:gd name="connsiteY26" fmla="*/ 593725 h 606425"/>
                  <a:gd name="connsiteX27" fmla="*/ 152400 w 949325"/>
                  <a:gd name="connsiteY27" fmla="*/ 533400 h 606425"/>
                  <a:gd name="connsiteX28" fmla="*/ 161925 w 949325"/>
                  <a:gd name="connsiteY28" fmla="*/ 600075 h 606425"/>
                  <a:gd name="connsiteX29" fmla="*/ 161925 w 949325"/>
                  <a:gd name="connsiteY29" fmla="*/ 600075 h 606425"/>
                  <a:gd name="connsiteX30" fmla="*/ 120650 w 949325"/>
                  <a:gd name="connsiteY30" fmla="*/ 596900 h 606425"/>
                  <a:gd name="connsiteX31" fmla="*/ 79375 w 949325"/>
                  <a:gd name="connsiteY31" fmla="*/ 600075 h 606425"/>
                  <a:gd name="connsiteX32" fmla="*/ 31750 w 949325"/>
                  <a:gd name="connsiteY32" fmla="*/ 495300 h 606425"/>
                  <a:gd name="connsiteX33" fmla="*/ 0 w 949325"/>
                  <a:gd name="connsiteY33" fmla="*/ 358775 h 606425"/>
                  <a:gd name="connsiteX34" fmla="*/ 73025 w 949325"/>
                  <a:gd name="connsiteY34" fmla="*/ 317500 h 606425"/>
                  <a:gd name="connsiteX35" fmla="*/ 123825 w 949325"/>
                  <a:gd name="connsiteY35" fmla="*/ 311150 h 606425"/>
                  <a:gd name="connsiteX36" fmla="*/ 133350 w 949325"/>
                  <a:gd name="connsiteY36" fmla="*/ 346075 h 606425"/>
                  <a:gd name="connsiteX37" fmla="*/ 209550 w 949325"/>
                  <a:gd name="connsiteY37" fmla="*/ 346075 h 606425"/>
                  <a:gd name="connsiteX38" fmla="*/ 269875 w 949325"/>
                  <a:gd name="connsiteY38" fmla="*/ 384175 h 606425"/>
                  <a:gd name="connsiteX39" fmla="*/ 279400 w 949325"/>
                  <a:gd name="connsiteY39" fmla="*/ 352425 h 606425"/>
                  <a:gd name="connsiteX40" fmla="*/ 279400 w 949325"/>
                  <a:gd name="connsiteY40" fmla="*/ 352425 h 606425"/>
                  <a:gd name="connsiteX41" fmla="*/ 307975 w 949325"/>
                  <a:gd name="connsiteY41" fmla="*/ 301625 h 606425"/>
                  <a:gd name="connsiteX42" fmla="*/ 374650 w 949325"/>
                  <a:gd name="connsiteY42" fmla="*/ 282575 h 606425"/>
                  <a:gd name="connsiteX43" fmla="*/ 371475 w 949325"/>
                  <a:gd name="connsiteY43" fmla="*/ 209550 h 606425"/>
                  <a:gd name="connsiteX44" fmla="*/ 409575 w 949325"/>
                  <a:gd name="connsiteY44" fmla="*/ 161925 h 606425"/>
                  <a:gd name="connsiteX45" fmla="*/ 447675 w 949325"/>
                  <a:gd name="connsiteY45" fmla="*/ 203200 h 606425"/>
                  <a:gd name="connsiteX46" fmla="*/ 511175 w 949325"/>
                  <a:gd name="connsiteY46" fmla="*/ 149225 h 606425"/>
                  <a:gd name="connsiteX47" fmla="*/ 520700 w 949325"/>
                  <a:gd name="connsiteY47" fmla="*/ 107950 h 606425"/>
                  <a:gd name="connsiteX48" fmla="*/ 549275 w 949325"/>
                  <a:gd name="connsiteY48" fmla="*/ 136525 h 606425"/>
                  <a:gd name="connsiteX49" fmla="*/ 654050 w 949325"/>
                  <a:gd name="connsiteY49" fmla="*/ 120650 h 606425"/>
                  <a:gd name="connsiteX50" fmla="*/ 679450 w 949325"/>
                  <a:gd name="connsiteY50" fmla="*/ 107950 h 606425"/>
                  <a:gd name="connsiteX51" fmla="*/ 720725 w 949325"/>
                  <a:gd name="connsiteY51" fmla="*/ 95250 h 606425"/>
                  <a:gd name="connsiteX52" fmla="*/ 758825 w 949325"/>
                  <a:gd name="connsiteY52" fmla="*/ 0 h 606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49325" h="606425">
                    <a:moveTo>
                      <a:pt x="758825" y="0"/>
                    </a:moveTo>
                    <a:lnTo>
                      <a:pt x="809625" y="41275"/>
                    </a:lnTo>
                    <a:lnTo>
                      <a:pt x="831850" y="215900"/>
                    </a:lnTo>
                    <a:lnTo>
                      <a:pt x="904875" y="269875"/>
                    </a:lnTo>
                    <a:lnTo>
                      <a:pt x="908050" y="349250"/>
                    </a:lnTo>
                    <a:lnTo>
                      <a:pt x="949325" y="419100"/>
                    </a:lnTo>
                    <a:lnTo>
                      <a:pt x="866775" y="479425"/>
                    </a:lnTo>
                    <a:lnTo>
                      <a:pt x="781050" y="527050"/>
                    </a:lnTo>
                    <a:lnTo>
                      <a:pt x="720725" y="511175"/>
                    </a:lnTo>
                    <a:lnTo>
                      <a:pt x="676275" y="454025"/>
                    </a:lnTo>
                    <a:lnTo>
                      <a:pt x="660400" y="476250"/>
                    </a:lnTo>
                    <a:lnTo>
                      <a:pt x="635000" y="466725"/>
                    </a:lnTo>
                    <a:lnTo>
                      <a:pt x="600075" y="434975"/>
                    </a:lnTo>
                    <a:lnTo>
                      <a:pt x="558800" y="466725"/>
                    </a:lnTo>
                    <a:lnTo>
                      <a:pt x="523875" y="520700"/>
                    </a:lnTo>
                    <a:lnTo>
                      <a:pt x="450850" y="520700"/>
                    </a:lnTo>
                    <a:lnTo>
                      <a:pt x="460375" y="469900"/>
                    </a:lnTo>
                    <a:lnTo>
                      <a:pt x="415925" y="466725"/>
                    </a:lnTo>
                    <a:lnTo>
                      <a:pt x="415925" y="466725"/>
                    </a:lnTo>
                    <a:lnTo>
                      <a:pt x="409575" y="508000"/>
                    </a:lnTo>
                    <a:lnTo>
                      <a:pt x="346075" y="495300"/>
                    </a:lnTo>
                    <a:lnTo>
                      <a:pt x="314325" y="517525"/>
                    </a:lnTo>
                    <a:lnTo>
                      <a:pt x="260350" y="501650"/>
                    </a:lnTo>
                    <a:lnTo>
                      <a:pt x="225425" y="536575"/>
                    </a:lnTo>
                    <a:lnTo>
                      <a:pt x="250825" y="577850"/>
                    </a:lnTo>
                    <a:lnTo>
                      <a:pt x="234950" y="606425"/>
                    </a:lnTo>
                    <a:lnTo>
                      <a:pt x="200025" y="593725"/>
                    </a:lnTo>
                    <a:lnTo>
                      <a:pt x="152400" y="533400"/>
                    </a:lnTo>
                    <a:lnTo>
                      <a:pt x="161925" y="600075"/>
                    </a:lnTo>
                    <a:lnTo>
                      <a:pt x="161925" y="600075"/>
                    </a:lnTo>
                    <a:lnTo>
                      <a:pt x="120650" y="596900"/>
                    </a:lnTo>
                    <a:lnTo>
                      <a:pt x="79375" y="600075"/>
                    </a:lnTo>
                    <a:lnTo>
                      <a:pt x="31750" y="495300"/>
                    </a:lnTo>
                    <a:lnTo>
                      <a:pt x="0" y="358775"/>
                    </a:lnTo>
                    <a:lnTo>
                      <a:pt x="73025" y="317500"/>
                    </a:lnTo>
                    <a:lnTo>
                      <a:pt x="123825" y="311150"/>
                    </a:lnTo>
                    <a:lnTo>
                      <a:pt x="133350" y="346075"/>
                    </a:lnTo>
                    <a:lnTo>
                      <a:pt x="209550" y="346075"/>
                    </a:lnTo>
                    <a:lnTo>
                      <a:pt x="269875" y="384175"/>
                    </a:lnTo>
                    <a:lnTo>
                      <a:pt x="279400" y="352425"/>
                    </a:lnTo>
                    <a:lnTo>
                      <a:pt x="279400" y="352425"/>
                    </a:lnTo>
                    <a:lnTo>
                      <a:pt x="307975" y="301625"/>
                    </a:lnTo>
                    <a:lnTo>
                      <a:pt x="374650" y="282575"/>
                    </a:lnTo>
                    <a:lnTo>
                      <a:pt x="371475" y="209550"/>
                    </a:lnTo>
                    <a:lnTo>
                      <a:pt x="409575" y="161925"/>
                    </a:lnTo>
                    <a:lnTo>
                      <a:pt x="447675" y="203200"/>
                    </a:lnTo>
                    <a:lnTo>
                      <a:pt x="511175" y="149225"/>
                    </a:lnTo>
                    <a:lnTo>
                      <a:pt x="520700" y="107950"/>
                    </a:lnTo>
                    <a:lnTo>
                      <a:pt x="549275" y="136525"/>
                    </a:lnTo>
                    <a:lnTo>
                      <a:pt x="654050" y="120650"/>
                    </a:lnTo>
                    <a:lnTo>
                      <a:pt x="679450" y="107950"/>
                    </a:lnTo>
                    <a:lnTo>
                      <a:pt x="720725" y="95250"/>
                    </a:lnTo>
                    <a:lnTo>
                      <a:pt x="758825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Forma libre 17"/>
              <p:cNvSpPr/>
              <p:nvPr/>
            </p:nvSpPr>
            <p:spPr>
              <a:xfrm>
                <a:off x="1092428" y="6430909"/>
                <a:ext cx="174296" cy="115904"/>
              </a:xfrm>
              <a:custGeom>
                <a:avLst/>
                <a:gdLst>
                  <a:gd name="connsiteX0" fmla="*/ 365125 w 1165225"/>
                  <a:gd name="connsiteY0" fmla="*/ 733425 h 733425"/>
                  <a:gd name="connsiteX1" fmla="*/ 473075 w 1165225"/>
                  <a:gd name="connsiteY1" fmla="*/ 650875 h 733425"/>
                  <a:gd name="connsiteX2" fmla="*/ 539750 w 1165225"/>
                  <a:gd name="connsiteY2" fmla="*/ 565150 h 733425"/>
                  <a:gd name="connsiteX3" fmla="*/ 542925 w 1165225"/>
                  <a:gd name="connsiteY3" fmla="*/ 482600 h 733425"/>
                  <a:gd name="connsiteX4" fmla="*/ 596900 w 1165225"/>
                  <a:gd name="connsiteY4" fmla="*/ 492125 h 733425"/>
                  <a:gd name="connsiteX5" fmla="*/ 635000 w 1165225"/>
                  <a:gd name="connsiteY5" fmla="*/ 504825 h 733425"/>
                  <a:gd name="connsiteX6" fmla="*/ 704850 w 1165225"/>
                  <a:gd name="connsiteY6" fmla="*/ 479425 h 733425"/>
                  <a:gd name="connsiteX7" fmla="*/ 781050 w 1165225"/>
                  <a:gd name="connsiteY7" fmla="*/ 504825 h 733425"/>
                  <a:gd name="connsiteX8" fmla="*/ 803275 w 1165225"/>
                  <a:gd name="connsiteY8" fmla="*/ 555625 h 733425"/>
                  <a:gd name="connsiteX9" fmla="*/ 889000 w 1165225"/>
                  <a:gd name="connsiteY9" fmla="*/ 593725 h 733425"/>
                  <a:gd name="connsiteX10" fmla="*/ 952500 w 1165225"/>
                  <a:gd name="connsiteY10" fmla="*/ 561975 h 733425"/>
                  <a:gd name="connsiteX11" fmla="*/ 1028700 w 1165225"/>
                  <a:gd name="connsiteY11" fmla="*/ 561975 h 733425"/>
                  <a:gd name="connsiteX12" fmla="*/ 1066800 w 1165225"/>
                  <a:gd name="connsiteY12" fmla="*/ 619125 h 733425"/>
                  <a:gd name="connsiteX13" fmla="*/ 1092200 w 1165225"/>
                  <a:gd name="connsiteY13" fmla="*/ 568325 h 733425"/>
                  <a:gd name="connsiteX14" fmla="*/ 1130300 w 1165225"/>
                  <a:gd name="connsiteY14" fmla="*/ 552450 h 733425"/>
                  <a:gd name="connsiteX15" fmla="*/ 1165225 w 1165225"/>
                  <a:gd name="connsiteY15" fmla="*/ 523875 h 733425"/>
                  <a:gd name="connsiteX16" fmla="*/ 1111250 w 1165225"/>
                  <a:gd name="connsiteY16" fmla="*/ 428625 h 733425"/>
                  <a:gd name="connsiteX17" fmla="*/ 1079500 w 1165225"/>
                  <a:gd name="connsiteY17" fmla="*/ 425450 h 733425"/>
                  <a:gd name="connsiteX18" fmla="*/ 1079500 w 1165225"/>
                  <a:gd name="connsiteY18" fmla="*/ 371475 h 733425"/>
                  <a:gd name="connsiteX19" fmla="*/ 1079500 w 1165225"/>
                  <a:gd name="connsiteY19" fmla="*/ 371475 h 733425"/>
                  <a:gd name="connsiteX20" fmla="*/ 1127125 w 1165225"/>
                  <a:gd name="connsiteY20" fmla="*/ 301625 h 733425"/>
                  <a:gd name="connsiteX21" fmla="*/ 1133475 w 1165225"/>
                  <a:gd name="connsiteY21" fmla="*/ 244475 h 733425"/>
                  <a:gd name="connsiteX22" fmla="*/ 1108075 w 1165225"/>
                  <a:gd name="connsiteY22" fmla="*/ 146050 h 733425"/>
                  <a:gd name="connsiteX23" fmla="*/ 1076325 w 1165225"/>
                  <a:gd name="connsiteY23" fmla="*/ 123825 h 733425"/>
                  <a:gd name="connsiteX24" fmla="*/ 1079500 w 1165225"/>
                  <a:gd name="connsiteY24" fmla="*/ 57150 h 733425"/>
                  <a:gd name="connsiteX25" fmla="*/ 1022350 w 1165225"/>
                  <a:gd name="connsiteY25" fmla="*/ 15875 h 733425"/>
                  <a:gd name="connsiteX26" fmla="*/ 996950 w 1165225"/>
                  <a:gd name="connsiteY26" fmla="*/ 31750 h 733425"/>
                  <a:gd name="connsiteX27" fmla="*/ 996950 w 1165225"/>
                  <a:gd name="connsiteY27" fmla="*/ 184150 h 733425"/>
                  <a:gd name="connsiteX28" fmla="*/ 939800 w 1165225"/>
                  <a:gd name="connsiteY28" fmla="*/ 180975 h 733425"/>
                  <a:gd name="connsiteX29" fmla="*/ 920750 w 1165225"/>
                  <a:gd name="connsiteY29" fmla="*/ 107950 h 733425"/>
                  <a:gd name="connsiteX30" fmla="*/ 758825 w 1165225"/>
                  <a:gd name="connsiteY30" fmla="*/ 142875 h 733425"/>
                  <a:gd name="connsiteX31" fmla="*/ 708025 w 1165225"/>
                  <a:gd name="connsiteY31" fmla="*/ 85725 h 733425"/>
                  <a:gd name="connsiteX32" fmla="*/ 628650 w 1165225"/>
                  <a:gd name="connsiteY32" fmla="*/ 69850 h 733425"/>
                  <a:gd name="connsiteX33" fmla="*/ 587375 w 1165225"/>
                  <a:gd name="connsiteY33" fmla="*/ 31750 h 733425"/>
                  <a:gd name="connsiteX34" fmla="*/ 555625 w 1165225"/>
                  <a:gd name="connsiteY34" fmla="*/ 38100 h 733425"/>
                  <a:gd name="connsiteX35" fmla="*/ 523875 w 1165225"/>
                  <a:gd name="connsiteY35" fmla="*/ 0 h 733425"/>
                  <a:gd name="connsiteX36" fmla="*/ 457200 w 1165225"/>
                  <a:gd name="connsiteY36" fmla="*/ 76200 h 733425"/>
                  <a:gd name="connsiteX37" fmla="*/ 352425 w 1165225"/>
                  <a:gd name="connsiteY37" fmla="*/ 85725 h 733425"/>
                  <a:gd name="connsiteX38" fmla="*/ 374650 w 1165225"/>
                  <a:gd name="connsiteY38" fmla="*/ 25400 h 733425"/>
                  <a:gd name="connsiteX39" fmla="*/ 374650 w 1165225"/>
                  <a:gd name="connsiteY39" fmla="*/ 25400 h 733425"/>
                  <a:gd name="connsiteX40" fmla="*/ 323850 w 1165225"/>
                  <a:gd name="connsiteY40" fmla="*/ 66675 h 733425"/>
                  <a:gd name="connsiteX41" fmla="*/ 273050 w 1165225"/>
                  <a:gd name="connsiteY41" fmla="*/ 60325 h 733425"/>
                  <a:gd name="connsiteX42" fmla="*/ 273050 w 1165225"/>
                  <a:gd name="connsiteY42" fmla="*/ 60325 h 733425"/>
                  <a:gd name="connsiteX43" fmla="*/ 254000 w 1165225"/>
                  <a:gd name="connsiteY43" fmla="*/ 88900 h 733425"/>
                  <a:gd name="connsiteX44" fmla="*/ 180975 w 1165225"/>
                  <a:gd name="connsiteY44" fmla="*/ 66675 h 733425"/>
                  <a:gd name="connsiteX45" fmla="*/ 180975 w 1165225"/>
                  <a:gd name="connsiteY45" fmla="*/ 66675 h 733425"/>
                  <a:gd name="connsiteX46" fmla="*/ 168275 w 1165225"/>
                  <a:gd name="connsiteY46" fmla="*/ 95250 h 733425"/>
                  <a:gd name="connsiteX47" fmla="*/ 203200 w 1165225"/>
                  <a:gd name="connsiteY47" fmla="*/ 133350 h 733425"/>
                  <a:gd name="connsiteX48" fmla="*/ 152400 w 1165225"/>
                  <a:gd name="connsiteY48" fmla="*/ 171450 h 733425"/>
                  <a:gd name="connsiteX49" fmla="*/ 101600 w 1165225"/>
                  <a:gd name="connsiteY49" fmla="*/ 146050 h 733425"/>
                  <a:gd name="connsiteX50" fmla="*/ 76200 w 1165225"/>
                  <a:gd name="connsiteY50" fmla="*/ 174625 h 733425"/>
                  <a:gd name="connsiteX51" fmla="*/ 0 w 1165225"/>
                  <a:gd name="connsiteY51" fmla="*/ 155575 h 733425"/>
                  <a:gd name="connsiteX52" fmla="*/ 50800 w 1165225"/>
                  <a:gd name="connsiteY52" fmla="*/ 327025 h 733425"/>
                  <a:gd name="connsiteX53" fmla="*/ 117475 w 1165225"/>
                  <a:gd name="connsiteY53" fmla="*/ 317500 h 733425"/>
                  <a:gd name="connsiteX54" fmla="*/ 130175 w 1165225"/>
                  <a:gd name="connsiteY54" fmla="*/ 403225 h 733425"/>
                  <a:gd name="connsiteX55" fmla="*/ 177800 w 1165225"/>
                  <a:gd name="connsiteY55" fmla="*/ 469900 h 733425"/>
                  <a:gd name="connsiteX56" fmla="*/ 295275 w 1165225"/>
                  <a:gd name="connsiteY56" fmla="*/ 485775 h 733425"/>
                  <a:gd name="connsiteX57" fmla="*/ 336550 w 1165225"/>
                  <a:gd name="connsiteY57" fmla="*/ 539750 h 733425"/>
                  <a:gd name="connsiteX58" fmla="*/ 314325 w 1165225"/>
                  <a:gd name="connsiteY58" fmla="*/ 574675 h 733425"/>
                  <a:gd name="connsiteX59" fmla="*/ 371475 w 1165225"/>
                  <a:gd name="connsiteY59" fmla="*/ 625475 h 733425"/>
                  <a:gd name="connsiteX60" fmla="*/ 365125 w 1165225"/>
                  <a:gd name="connsiteY60" fmla="*/ 733425 h 733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165225" h="733425">
                    <a:moveTo>
                      <a:pt x="365125" y="733425"/>
                    </a:moveTo>
                    <a:lnTo>
                      <a:pt x="473075" y="650875"/>
                    </a:lnTo>
                    <a:lnTo>
                      <a:pt x="539750" y="565150"/>
                    </a:lnTo>
                    <a:lnTo>
                      <a:pt x="542925" y="482600"/>
                    </a:lnTo>
                    <a:lnTo>
                      <a:pt x="596900" y="492125"/>
                    </a:lnTo>
                    <a:lnTo>
                      <a:pt x="635000" y="504825"/>
                    </a:lnTo>
                    <a:lnTo>
                      <a:pt x="704850" y="479425"/>
                    </a:lnTo>
                    <a:lnTo>
                      <a:pt x="781050" y="504825"/>
                    </a:lnTo>
                    <a:lnTo>
                      <a:pt x="803275" y="555625"/>
                    </a:lnTo>
                    <a:lnTo>
                      <a:pt x="889000" y="593725"/>
                    </a:lnTo>
                    <a:lnTo>
                      <a:pt x="952500" y="561975"/>
                    </a:lnTo>
                    <a:lnTo>
                      <a:pt x="1028700" y="561975"/>
                    </a:lnTo>
                    <a:lnTo>
                      <a:pt x="1066800" y="619125"/>
                    </a:lnTo>
                    <a:lnTo>
                      <a:pt x="1092200" y="568325"/>
                    </a:lnTo>
                    <a:lnTo>
                      <a:pt x="1130300" y="552450"/>
                    </a:lnTo>
                    <a:lnTo>
                      <a:pt x="1165225" y="523875"/>
                    </a:lnTo>
                    <a:lnTo>
                      <a:pt x="1111250" y="428625"/>
                    </a:lnTo>
                    <a:lnTo>
                      <a:pt x="1079500" y="425450"/>
                    </a:lnTo>
                    <a:lnTo>
                      <a:pt x="1079500" y="371475"/>
                    </a:lnTo>
                    <a:lnTo>
                      <a:pt x="1079500" y="371475"/>
                    </a:lnTo>
                    <a:lnTo>
                      <a:pt x="1127125" y="301625"/>
                    </a:lnTo>
                    <a:lnTo>
                      <a:pt x="1133475" y="244475"/>
                    </a:lnTo>
                    <a:lnTo>
                      <a:pt x="1108075" y="146050"/>
                    </a:lnTo>
                    <a:lnTo>
                      <a:pt x="1076325" y="123825"/>
                    </a:lnTo>
                    <a:lnTo>
                      <a:pt x="1079500" y="57150"/>
                    </a:lnTo>
                    <a:lnTo>
                      <a:pt x="1022350" y="15875"/>
                    </a:lnTo>
                    <a:lnTo>
                      <a:pt x="996950" y="31750"/>
                    </a:lnTo>
                    <a:lnTo>
                      <a:pt x="996950" y="184150"/>
                    </a:lnTo>
                    <a:lnTo>
                      <a:pt x="939800" y="180975"/>
                    </a:lnTo>
                    <a:lnTo>
                      <a:pt x="920750" y="107950"/>
                    </a:lnTo>
                    <a:lnTo>
                      <a:pt x="758825" y="142875"/>
                    </a:lnTo>
                    <a:lnTo>
                      <a:pt x="708025" y="85725"/>
                    </a:lnTo>
                    <a:lnTo>
                      <a:pt x="628650" y="69850"/>
                    </a:lnTo>
                    <a:lnTo>
                      <a:pt x="587375" y="31750"/>
                    </a:lnTo>
                    <a:lnTo>
                      <a:pt x="555625" y="38100"/>
                    </a:lnTo>
                    <a:lnTo>
                      <a:pt x="523875" y="0"/>
                    </a:lnTo>
                    <a:lnTo>
                      <a:pt x="457200" y="76200"/>
                    </a:lnTo>
                    <a:lnTo>
                      <a:pt x="352425" y="85725"/>
                    </a:lnTo>
                    <a:lnTo>
                      <a:pt x="374650" y="25400"/>
                    </a:lnTo>
                    <a:lnTo>
                      <a:pt x="374650" y="25400"/>
                    </a:lnTo>
                    <a:lnTo>
                      <a:pt x="323850" y="66675"/>
                    </a:lnTo>
                    <a:lnTo>
                      <a:pt x="273050" y="60325"/>
                    </a:lnTo>
                    <a:lnTo>
                      <a:pt x="273050" y="60325"/>
                    </a:lnTo>
                    <a:lnTo>
                      <a:pt x="254000" y="88900"/>
                    </a:lnTo>
                    <a:lnTo>
                      <a:pt x="180975" y="66675"/>
                    </a:lnTo>
                    <a:lnTo>
                      <a:pt x="180975" y="66675"/>
                    </a:lnTo>
                    <a:lnTo>
                      <a:pt x="168275" y="95250"/>
                    </a:lnTo>
                    <a:lnTo>
                      <a:pt x="203200" y="133350"/>
                    </a:lnTo>
                    <a:lnTo>
                      <a:pt x="152400" y="171450"/>
                    </a:lnTo>
                    <a:lnTo>
                      <a:pt x="101600" y="146050"/>
                    </a:lnTo>
                    <a:lnTo>
                      <a:pt x="76200" y="174625"/>
                    </a:lnTo>
                    <a:lnTo>
                      <a:pt x="0" y="155575"/>
                    </a:lnTo>
                    <a:lnTo>
                      <a:pt x="50800" y="327025"/>
                    </a:lnTo>
                    <a:lnTo>
                      <a:pt x="117475" y="317500"/>
                    </a:lnTo>
                    <a:lnTo>
                      <a:pt x="130175" y="403225"/>
                    </a:lnTo>
                    <a:lnTo>
                      <a:pt x="177800" y="469900"/>
                    </a:lnTo>
                    <a:lnTo>
                      <a:pt x="295275" y="485775"/>
                    </a:lnTo>
                    <a:lnTo>
                      <a:pt x="336550" y="539750"/>
                    </a:lnTo>
                    <a:lnTo>
                      <a:pt x="314325" y="574675"/>
                    </a:lnTo>
                    <a:lnTo>
                      <a:pt x="371475" y="625475"/>
                    </a:lnTo>
                    <a:lnTo>
                      <a:pt x="365125" y="73342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Forma libre 18"/>
              <p:cNvSpPr/>
              <p:nvPr/>
            </p:nvSpPr>
            <p:spPr>
              <a:xfrm>
                <a:off x="1320390" y="6382742"/>
                <a:ext cx="211339" cy="203710"/>
              </a:xfrm>
              <a:custGeom>
                <a:avLst/>
                <a:gdLst>
                  <a:gd name="connsiteX0" fmla="*/ 1412875 w 1412875"/>
                  <a:gd name="connsiteY0" fmla="*/ 974725 h 1289050"/>
                  <a:gd name="connsiteX1" fmla="*/ 1225550 w 1412875"/>
                  <a:gd name="connsiteY1" fmla="*/ 641350 h 1289050"/>
                  <a:gd name="connsiteX2" fmla="*/ 1057275 w 1412875"/>
                  <a:gd name="connsiteY2" fmla="*/ 384175 h 1289050"/>
                  <a:gd name="connsiteX3" fmla="*/ 1003300 w 1412875"/>
                  <a:gd name="connsiteY3" fmla="*/ 403225 h 1289050"/>
                  <a:gd name="connsiteX4" fmla="*/ 1003300 w 1412875"/>
                  <a:gd name="connsiteY4" fmla="*/ 403225 h 1289050"/>
                  <a:gd name="connsiteX5" fmla="*/ 977900 w 1412875"/>
                  <a:gd name="connsiteY5" fmla="*/ 374650 h 1289050"/>
                  <a:gd name="connsiteX6" fmla="*/ 901700 w 1412875"/>
                  <a:gd name="connsiteY6" fmla="*/ 390525 h 1289050"/>
                  <a:gd name="connsiteX7" fmla="*/ 831850 w 1412875"/>
                  <a:gd name="connsiteY7" fmla="*/ 438150 h 1289050"/>
                  <a:gd name="connsiteX8" fmla="*/ 755650 w 1412875"/>
                  <a:gd name="connsiteY8" fmla="*/ 438150 h 1289050"/>
                  <a:gd name="connsiteX9" fmla="*/ 711200 w 1412875"/>
                  <a:gd name="connsiteY9" fmla="*/ 387350 h 1289050"/>
                  <a:gd name="connsiteX10" fmla="*/ 679450 w 1412875"/>
                  <a:gd name="connsiteY10" fmla="*/ 415925 h 1289050"/>
                  <a:gd name="connsiteX11" fmla="*/ 682625 w 1412875"/>
                  <a:gd name="connsiteY11" fmla="*/ 0 h 1289050"/>
                  <a:gd name="connsiteX12" fmla="*/ 650875 w 1412875"/>
                  <a:gd name="connsiteY12" fmla="*/ 98425 h 1289050"/>
                  <a:gd name="connsiteX13" fmla="*/ 542925 w 1412875"/>
                  <a:gd name="connsiteY13" fmla="*/ 187325 h 1289050"/>
                  <a:gd name="connsiteX14" fmla="*/ 457200 w 1412875"/>
                  <a:gd name="connsiteY14" fmla="*/ 276225 h 1289050"/>
                  <a:gd name="connsiteX15" fmla="*/ 457200 w 1412875"/>
                  <a:gd name="connsiteY15" fmla="*/ 333375 h 1289050"/>
                  <a:gd name="connsiteX16" fmla="*/ 400050 w 1412875"/>
                  <a:gd name="connsiteY16" fmla="*/ 406400 h 1289050"/>
                  <a:gd name="connsiteX17" fmla="*/ 111125 w 1412875"/>
                  <a:gd name="connsiteY17" fmla="*/ 425450 h 1289050"/>
                  <a:gd name="connsiteX18" fmla="*/ 85725 w 1412875"/>
                  <a:gd name="connsiteY18" fmla="*/ 542925 h 1289050"/>
                  <a:gd name="connsiteX19" fmla="*/ 0 w 1412875"/>
                  <a:gd name="connsiteY19" fmla="*/ 688975 h 1289050"/>
                  <a:gd name="connsiteX20" fmla="*/ 31750 w 1412875"/>
                  <a:gd name="connsiteY20" fmla="*/ 765175 h 1289050"/>
                  <a:gd name="connsiteX21" fmla="*/ 66675 w 1412875"/>
                  <a:gd name="connsiteY21" fmla="*/ 809625 h 1289050"/>
                  <a:gd name="connsiteX22" fmla="*/ 120650 w 1412875"/>
                  <a:gd name="connsiteY22" fmla="*/ 809625 h 1289050"/>
                  <a:gd name="connsiteX23" fmla="*/ 123825 w 1412875"/>
                  <a:gd name="connsiteY23" fmla="*/ 882650 h 1289050"/>
                  <a:gd name="connsiteX24" fmla="*/ 177800 w 1412875"/>
                  <a:gd name="connsiteY24" fmla="*/ 920750 h 1289050"/>
                  <a:gd name="connsiteX25" fmla="*/ 136525 w 1412875"/>
                  <a:gd name="connsiteY25" fmla="*/ 968375 h 1289050"/>
                  <a:gd name="connsiteX26" fmla="*/ 180975 w 1412875"/>
                  <a:gd name="connsiteY26" fmla="*/ 1047750 h 1289050"/>
                  <a:gd name="connsiteX27" fmla="*/ 260350 w 1412875"/>
                  <a:gd name="connsiteY27" fmla="*/ 1085850 h 1289050"/>
                  <a:gd name="connsiteX28" fmla="*/ 314325 w 1412875"/>
                  <a:gd name="connsiteY28" fmla="*/ 1047750 h 1289050"/>
                  <a:gd name="connsiteX29" fmla="*/ 377825 w 1412875"/>
                  <a:gd name="connsiteY29" fmla="*/ 1123950 h 1289050"/>
                  <a:gd name="connsiteX30" fmla="*/ 434975 w 1412875"/>
                  <a:gd name="connsiteY30" fmla="*/ 1155700 h 1289050"/>
                  <a:gd name="connsiteX31" fmla="*/ 482600 w 1412875"/>
                  <a:gd name="connsiteY31" fmla="*/ 1155700 h 1289050"/>
                  <a:gd name="connsiteX32" fmla="*/ 482600 w 1412875"/>
                  <a:gd name="connsiteY32" fmla="*/ 1254125 h 1289050"/>
                  <a:gd name="connsiteX33" fmla="*/ 520700 w 1412875"/>
                  <a:gd name="connsiteY33" fmla="*/ 1263650 h 1289050"/>
                  <a:gd name="connsiteX34" fmla="*/ 581025 w 1412875"/>
                  <a:gd name="connsiteY34" fmla="*/ 1187450 h 1289050"/>
                  <a:gd name="connsiteX35" fmla="*/ 638175 w 1412875"/>
                  <a:gd name="connsiteY35" fmla="*/ 1212850 h 1289050"/>
                  <a:gd name="connsiteX36" fmla="*/ 673100 w 1412875"/>
                  <a:gd name="connsiteY36" fmla="*/ 1193800 h 1289050"/>
                  <a:gd name="connsiteX37" fmla="*/ 701675 w 1412875"/>
                  <a:gd name="connsiteY37" fmla="*/ 1225550 h 1289050"/>
                  <a:gd name="connsiteX38" fmla="*/ 755650 w 1412875"/>
                  <a:gd name="connsiteY38" fmla="*/ 1231900 h 1289050"/>
                  <a:gd name="connsiteX39" fmla="*/ 755650 w 1412875"/>
                  <a:gd name="connsiteY39" fmla="*/ 1196975 h 1289050"/>
                  <a:gd name="connsiteX40" fmla="*/ 1044575 w 1412875"/>
                  <a:gd name="connsiteY40" fmla="*/ 1289050 h 1289050"/>
                  <a:gd name="connsiteX41" fmla="*/ 1327150 w 1412875"/>
                  <a:gd name="connsiteY41" fmla="*/ 1155700 h 1289050"/>
                  <a:gd name="connsiteX42" fmla="*/ 1333500 w 1412875"/>
                  <a:gd name="connsiteY42" fmla="*/ 1085850 h 1289050"/>
                  <a:gd name="connsiteX43" fmla="*/ 1384300 w 1412875"/>
                  <a:gd name="connsiteY43" fmla="*/ 1050925 h 1289050"/>
                  <a:gd name="connsiteX44" fmla="*/ 1412875 w 1412875"/>
                  <a:gd name="connsiteY44" fmla="*/ 974725 h 128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412875" h="1289050">
                    <a:moveTo>
                      <a:pt x="1412875" y="974725"/>
                    </a:moveTo>
                    <a:lnTo>
                      <a:pt x="1225550" y="641350"/>
                    </a:lnTo>
                    <a:lnTo>
                      <a:pt x="1057275" y="384175"/>
                    </a:lnTo>
                    <a:lnTo>
                      <a:pt x="1003300" y="403225"/>
                    </a:lnTo>
                    <a:lnTo>
                      <a:pt x="1003300" y="403225"/>
                    </a:lnTo>
                    <a:lnTo>
                      <a:pt x="977900" y="374650"/>
                    </a:lnTo>
                    <a:lnTo>
                      <a:pt x="901700" y="390525"/>
                    </a:lnTo>
                    <a:lnTo>
                      <a:pt x="831850" y="438150"/>
                    </a:lnTo>
                    <a:lnTo>
                      <a:pt x="755650" y="438150"/>
                    </a:lnTo>
                    <a:lnTo>
                      <a:pt x="711200" y="387350"/>
                    </a:lnTo>
                    <a:lnTo>
                      <a:pt x="679450" y="415925"/>
                    </a:lnTo>
                    <a:cubicBezTo>
                      <a:pt x="680508" y="277283"/>
                      <a:pt x="681567" y="138642"/>
                      <a:pt x="682625" y="0"/>
                    </a:cubicBezTo>
                    <a:lnTo>
                      <a:pt x="650875" y="98425"/>
                    </a:lnTo>
                    <a:lnTo>
                      <a:pt x="542925" y="187325"/>
                    </a:lnTo>
                    <a:lnTo>
                      <a:pt x="457200" y="276225"/>
                    </a:lnTo>
                    <a:lnTo>
                      <a:pt x="457200" y="333375"/>
                    </a:lnTo>
                    <a:lnTo>
                      <a:pt x="400050" y="406400"/>
                    </a:lnTo>
                    <a:lnTo>
                      <a:pt x="111125" y="425450"/>
                    </a:lnTo>
                    <a:lnTo>
                      <a:pt x="85725" y="542925"/>
                    </a:lnTo>
                    <a:lnTo>
                      <a:pt x="0" y="688975"/>
                    </a:lnTo>
                    <a:lnTo>
                      <a:pt x="31750" y="765175"/>
                    </a:lnTo>
                    <a:lnTo>
                      <a:pt x="66675" y="809625"/>
                    </a:lnTo>
                    <a:lnTo>
                      <a:pt x="120650" y="809625"/>
                    </a:lnTo>
                    <a:lnTo>
                      <a:pt x="123825" y="882650"/>
                    </a:lnTo>
                    <a:lnTo>
                      <a:pt x="177800" y="920750"/>
                    </a:lnTo>
                    <a:lnTo>
                      <a:pt x="136525" y="968375"/>
                    </a:lnTo>
                    <a:lnTo>
                      <a:pt x="180975" y="1047750"/>
                    </a:lnTo>
                    <a:lnTo>
                      <a:pt x="260350" y="1085850"/>
                    </a:lnTo>
                    <a:lnTo>
                      <a:pt x="314325" y="1047750"/>
                    </a:lnTo>
                    <a:lnTo>
                      <a:pt x="377825" y="1123950"/>
                    </a:lnTo>
                    <a:lnTo>
                      <a:pt x="434975" y="1155700"/>
                    </a:lnTo>
                    <a:lnTo>
                      <a:pt x="482600" y="1155700"/>
                    </a:lnTo>
                    <a:lnTo>
                      <a:pt x="482600" y="1254125"/>
                    </a:lnTo>
                    <a:lnTo>
                      <a:pt x="520700" y="1263650"/>
                    </a:lnTo>
                    <a:lnTo>
                      <a:pt x="581025" y="1187450"/>
                    </a:lnTo>
                    <a:lnTo>
                      <a:pt x="638175" y="1212850"/>
                    </a:lnTo>
                    <a:lnTo>
                      <a:pt x="673100" y="1193800"/>
                    </a:lnTo>
                    <a:lnTo>
                      <a:pt x="701675" y="1225550"/>
                    </a:lnTo>
                    <a:lnTo>
                      <a:pt x="755650" y="1231900"/>
                    </a:lnTo>
                    <a:lnTo>
                      <a:pt x="755650" y="1196975"/>
                    </a:lnTo>
                    <a:lnTo>
                      <a:pt x="1044575" y="1289050"/>
                    </a:lnTo>
                    <a:lnTo>
                      <a:pt x="1327150" y="1155700"/>
                    </a:lnTo>
                    <a:lnTo>
                      <a:pt x="1333500" y="1085850"/>
                    </a:lnTo>
                    <a:lnTo>
                      <a:pt x="1384300" y="1050925"/>
                    </a:lnTo>
                    <a:lnTo>
                      <a:pt x="1412875" y="97472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Forma libre 19"/>
              <p:cNvSpPr/>
              <p:nvPr/>
            </p:nvSpPr>
            <p:spPr>
              <a:xfrm>
                <a:off x="1128522" y="6508179"/>
                <a:ext cx="88335" cy="123430"/>
              </a:xfrm>
              <a:custGeom>
                <a:avLst/>
                <a:gdLst>
                  <a:gd name="connsiteX0" fmla="*/ 530225 w 590550"/>
                  <a:gd name="connsiteY0" fmla="*/ 28575 h 781050"/>
                  <a:gd name="connsiteX1" fmla="*/ 539750 w 590550"/>
                  <a:gd name="connsiteY1" fmla="*/ 76200 h 781050"/>
                  <a:gd name="connsiteX2" fmla="*/ 536575 w 590550"/>
                  <a:gd name="connsiteY2" fmla="*/ 114300 h 781050"/>
                  <a:gd name="connsiteX3" fmla="*/ 476250 w 590550"/>
                  <a:gd name="connsiteY3" fmla="*/ 107950 h 781050"/>
                  <a:gd name="connsiteX4" fmla="*/ 495300 w 590550"/>
                  <a:gd name="connsiteY4" fmla="*/ 168275 h 781050"/>
                  <a:gd name="connsiteX5" fmla="*/ 533400 w 590550"/>
                  <a:gd name="connsiteY5" fmla="*/ 168275 h 781050"/>
                  <a:gd name="connsiteX6" fmla="*/ 590550 w 590550"/>
                  <a:gd name="connsiteY6" fmla="*/ 295275 h 781050"/>
                  <a:gd name="connsiteX7" fmla="*/ 561975 w 590550"/>
                  <a:gd name="connsiteY7" fmla="*/ 333375 h 781050"/>
                  <a:gd name="connsiteX8" fmla="*/ 590550 w 590550"/>
                  <a:gd name="connsiteY8" fmla="*/ 400050 h 781050"/>
                  <a:gd name="connsiteX9" fmla="*/ 533400 w 590550"/>
                  <a:gd name="connsiteY9" fmla="*/ 377825 h 781050"/>
                  <a:gd name="connsiteX10" fmla="*/ 533400 w 590550"/>
                  <a:gd name="connsiteY10" fmla="*/ 434975 h 781050"/>
                  <a:gd name="connsiteX11" fmla="*/ 469900 w 590550"/>
                  <a:gd name="connsiteY11" fmla="*/ 454025 h 781050"/>
                  <a:gd name="connsiteX12" fmla="*/ 415925 w 590550"/>
                  <a:gd name="connsiteY12" fmla="*/ 498475 h 781050"/>
                  <a:gd name="connsiteX13" fmla="*/ 358775 w 590550"/>
                  <a:gd name="connsiteY13" fmla="*/ 501650 h 781050"/>
                  <a:gd name="connsiteX14" fmla="*/ 349250 w 590550"/>
                  <a:gd name="connsiteY14" fmla="*/ 546100 h 781050"/>
                  <a:gd name="connsiteX15" fmla="*/ 403225 w 590550"/>
                  <a:gd name="connsiteY15" fmla="*/ 587375 h 781050"/>
                  <a:gd name="connsiteX16" fmla="*/ 406400 w 590550"/>
                  <a:gd name="connsiteY16" fmla="*/ 774700 h 781050"/>
                  <a:gd name="connsiteX17" fmla="*/ 298450 w 590550"/>
                  <a:gd name="connsiteY17" fmla="*/ 781050 h 781050"/>
                  <a:gd name="connsiteX18" fmla="*/ 254000 w 590550"/>
                  <a:gd name="connsiteY18" fmla="*/ 755650 h 781050"/>
                  <a:gd name="connsiteX19" fmla="*/ 203200 w 590550"/>
                  <a:gd name="connsiteY19" fmla="*/ 755650 h 781050"/>
                  <a:gd name="connsiteX20" fmla="*/ 104775 w 590550"/>
                  <a:gd name="connsiteY20" fmla="*/ 701675 h 781050"/>
                  <a:gd name="connsiteX21" fmla="*/ 98425 w 590550"/>
                  <a:gd name="connsiteY21" fmla="*/ 628650 h 781050"/>
                  <a:gd name="connsiteX22" fmla="*/ 130175 w 590550"/>
                  <a:gd name="connsiteY22" fmla="*/ 609600 h 781050"/>
                  <a:gd name="connsiteX23" fmla="*/ 123825 w 590550"/>
                  <a:gd name="connsiteY23" fmla="*/ 577850 h 781050"/>
                  <a:gd name="connsiteX24" fmla="*/ 142875 w 590550"/>
                  <a:gd name="connsiteY24" fmla="*/ 514350 h 781050"/>
                  <a:gd name="connsiteX25" fmla="*/ 38100 w 590550"/>
                  <a:gd name="connsiteY25" fmla="*/ 530225 h 781050"/>
                  <a:gd name="connsiteX26" fmla="*/ 0 w 590550"/>
                  <a:gd name="connsiteY26" fmla="*/ 517525 h 781050"/>
                  <a:gd name="connsiteX27" fmla="*/ 63500 w 590550"/>
                  <a:gd name="connsiteY27" fmla="*/ 469900 h 781050"/>
                  <a:gd name="connsiteX28" fmla="*/ 60325 w 590550"/>
                  <a:gd name="connsiteY28" fmla="*/ 377825 h 781050"/>
                  <a:gd name="connsiteX29" fmla="*/ 123825 w 590550"/>
                  <a:gd name="connsiteY29" fmla="*/ 295275 h 781050"/>
                  <a:gd name="connsiteX30" fmla="*/ 123825 w 590550"/>
                  <a:gd name="connsiteY30" fmla="*/ 263525 h 781050"/>
                  <a:gd name="connsiteX31" fmla="*/ 238125 w 590550"/>
                  <a:gd name="connsiteY31" fmla="*/ 174625 h 781050"/>
                  <a:gd name="connsiteX32" fmla="*/ 307975 w 590550"/>
                  <a:gd name="connsiteY32" fmla="*/ 85725 h 781050"/>
                  <a:gd name="connsiteX33" fmla="*/ 307975 w 590550"/>
                  <a:gd name="connsiteY33" fmla="*/ 0 h 781050"/>
                  <a:gd name="connsiteX34" fmla="*/ 393700 w 590550"/>
                  <a:gd name="connsiteY34" fmla="*/ 31750 h 781050"/>
                  <a:gd name="connsiteX35" fmla="*/ 463550 w 590550"/>
                  <a:gd name="connsiteY35" fmla="*/ 0 h 781050"/>
                  <a:gd name="connsiteX36" fmla="*/ 530225 w 590550"/>
                  <a:gd name="connsiteY36" fmla="*/ 28575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590550" h="781050">
                    <a:moveTo>
                      <a:pt x="530225" y="28575"/>
                    </a:moveTo>
                    <a:lnTo>
                      <a:pt x="539750" y="76200"/>
                    </a:lnTo>
                    <a:lnTo>
                      <a:pt x="536575" y="114300"/>
                    </a:lnTo>
                    <a:lnTo>
                      <a:pt x="476250" y="107950"/>
                    </a:lnTo>
                    <a:lnTo>
                      <a:pt x="495300" y="168275"/>
                    </a:lnTo>
                    <a:lnTo>
                      <a:pt x="533400" y="168275"/>
                    </a:lnTo>
                    <a:lnTo>
                      <a:pt x="590550" y="295275"/>
                    </a:lnTo>
                    <a:lnTo>
                      <a:pt x="561975" y="333375"/>
                    </a:lnTo>
                    <a:lnTo>
                      <a:pt x="590550" y="400050"/>
                    </a:lnTo>
                    <a:lnTo>
                      <a:pt x="533400" y="377825"/>
                    </a:lnTo>
                    <a:lnTo>
                      <a:pt x="533400" y="434975"/>
                    </a:lnTo>
                    <a:lnTo>
                      <a:pt x="469900" y="454025"/>
                    </a:lnTo>
                    <a:lnTo>
                      <a:pt x="415925" y="498475"/>
                    </a:lnTo>
                    <a:lnTo>
                      <a:pt x="358775" y="501650"/>
                    </a:lnTo>
                    <a:lnTo>
                      <a:pt x="349250" y="546100"/>
                    </a:lnTo>
                    <a:lnTo>
                      <a:pt x="403225" y="587375"/>
                    </a:lnTo>
                    <a:cubicBezTo>
                      <a:pt x="404283" y="649817"/>
                      <a:pt x="405342" y="712258"/>
                      <a:pt x="406400" y="774700"/>
                    </a:cubicBezTo>
                    <a:lnTo>
                      <a:pt x="298450" y="781050"/>
                    </a:lnTo>
                    <a:lnTo>
                      <a:pt x="254000" y="755650"/>
                    </a:lnTo>
                    <a:lnTo>
                      <a:pt x="203200" y="755650"/>
                    </a:lnTo>
                    <a:lnTo>
                      <a:pt x="104775" y="701675"/>
                    </a:lnTo>
                    <a:lnTo>
                      <a:pt x="98425" y="628650"/>
                    </a:lnTo>
                    <a:lnTo>
                      <a:pt x="130175" y="609600"/>
                    </a:lnTo>
                    <a:lnTo>
                      <a:pt x="123825" y="577850"/>
                    </a:lnTo>
                    <a:lnTo>
                      <a:pt x="142875" y="514350"/>
                    </a:lnTo>
                    <a:lnTo>
                      <a:pt x="38100" y="530225"/>
                    </a:lnTo>
                    <a:lnTo>
                      <a:pt x="0" y="517525"/>
                    </a:lnTo>
                    <a:lnTo>
                      <a:pt x="63500" y="469900"/>
                    </a:lnTo>
                    <a:lnTo>
                      <a:pt x="60325" y="377825"/>
                    </a:lnTo>
                    <a:lnTo>
                      <a:pt x="123825" y="295275"/>
                    </a:lnTo>
                    <a:lnTo>
                      <a:pt x="123825" y="263525"/>
                    </a:lnTo>
                    <a:lnTo>
                      <a:pt x="238125" y="174625"/>
                    </a:lnTo>
                    <a:lnTo>
                      <a:pt x="307975" y="85725"/>
                    </a:lnTo>
                    <a:lnTo>
                      <a:pt x="307975" y="0"/>
                    </a:lnTo>
                    <a:lnTo>
                      <a:pt x="393700" y="31750"/>
                    </a:lnTo>
                    <a:lnTo>
                      <a:pt x="463550" y="0"/>
                    </a:lnTo>
                    <a:lnTo>
                      <a:pt x="530225" y="2857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Forma libre 20"/>
              <p:cNvSpPr/>
              <p:nvPr/>
            </p:nvSpPr>
            <p:spPr>
              <a:xfrm>
                <a:off x="1096228" y="6568389"/>
                <a:ext cx="98308" cy="142998"/>
              </a:xfrm>
              <a:custGeom>
                <a:avLst/>
                <a:gdLst>
                  <a:gd name="connsiteX0" fmla="*/ 66675 w 657225"/>
                  <a:gd name="connsiteY0" fmla="*/ 114300 h 904875"/>
                  <a:gd name="connsiteX1" fmla="*/ 92075 w 657225"/>
                  <a:gd name="connsiteY1" fmla="*/ 180975 h 904875"/>
                  <a:gd name="connsiteX2" fmla="*/ 66675 w 657225"/>
                  <a:gd name="connsiteY2" fmla="*/ 301625 h 904875"/>
                  <a:gd name="connsiteX3" fmla="*/ 34925 w 657225"/>
                  <a:gd name="connsiteY3" fmla="*/ 266700 h 904875"/>
                  <a:gd name="connsiteX4" fmla="*/ 0 w 657225"/>
                  <a:gd name="connsiteY4" fmla="*/ 330200 h 904875"/>
                  <a:gd name="connsiteX5" fmla="*/ 50800 w 657225"/>
                  <a:gd name="connsiteY5" fmla="*/ 333375 h 904875"/>
                  <a:gd name="connsiteX6" fmla="*/ 60325 w 657225"/>
                  <a:gd name="connsiteY6" fmla="*/ 415925 h 904875"/>
                  <a:gd name="connsiteX7" fmla="*/ 120650 w 657225"/>
                  <a:gd name="connsiteY7" fmla="*/ 463550 h 904875"/>
                  <a:gd name="connsiteX8" fmla="*/ 85725 w 657225"/>
                  <a:gd name="connsiteY8" fmla="*/ 485775 h 904875"/>
                  <a:gd name="connsiteX9" fmla="*/ 177800 w 657225"/>
                  <a:gd name="connsiteY9" fmla="*/ 561975 h 904875"/>
                  <a:gd name="connsiteX10" fmla="*/ 184150 w 657225"/>
                  <a:gd name="connsiteY10" fmla="*/ 609600 h 904875"/>
                  <a:gd name="connsiteX11" fmla="*/ 349250 w 657225"/>
                  <a:gd name="connsiteY11" fmla="*/ 711200 h 904875"/>
                  <a:gd name="connsiteX12" fmla="*/ 342900 w 657225"/>
                  <a:gd name="connsiteY12" fmla="*/ 742950 h 904875"/>
                  <a:gd name="connsiteX13" fmla="*/ 377825 w 657225"/>
                  <a:gd name="connsiteY13" fmla="*/ 749300 h 904875"/>
                  <a:gd name="connsiteX14" fmla="*/ 400050 w 657225"/>
                  <a:gd name="connsiteY14" fmla="*/ 800100 h 904875"/>
                  <a:gd name="connsiteX15" fmla="*/ 454025 w 657225"/>
                  <a:gd name="connsiteY15" fmla="*/ 812800 h 904875"/>
                  <a:gd name="connsiteX16" fmla="*/ 476250 w 657225"/>
                  <a:gd name="connsiteY16" fmla="*/ 885825 h 904875"/>
                  <a:gd name="connsiteX17" fmla="*/ 511175 w 657225"/>
                  <a:gd name="connsiteY17" fmla="*/ 904875 h 904875"/>
                  <a:gd name="connsiteX18" fmla="*/ 561975 w 657225"/>
                  <a:gd name="connsiteY18" fmla="*/ 800100 h 904875"/>
                  <a:gd name="connsiteX19" fmla="*/ 654050 w 657225"/>
                  <a:gd name="connsiteY19" fmla="*/ 755650 h 904875"/>
                  <a:gd name="connsiteX20" fmla="*/ 657225 w 657225"/>
                  <a:gd name="connsiteY20" fmla="*/ 695325 h 904875"/>
                  <a:gd name="connsiteX21" fmla="*/ 628650 w 657225"/>
                  <a:gd name="connsiteY21" fmla="*/ 666750 h 904875"/>
                  <a:gd name="connsiteX22" fmla="*/ 631825 w 657225"/>
                  <a:gd name="connsiteY22" fmla="*/ 628650 h 904875"/>
                  <a:gd name="connsiteX23" fmla="*/ 596900 w 657225"/>
                  <a:gd name="connsiteY23" fmla="*/ 644525 h 904875"/>
                  <a:gd name="connsiteX24" fmla="*/ 584200 w 657225"/>
                  <a:gd name="connsiteY24" fmla="*/ 606425 h 904875"/>
                  <a:gd name="connsiteX25" fmla="*/ 609600 w 657225"/>
                  <a:gd name="connsiteY25" fmla="*/ 593725 h 904875"/>
                  <a:gd name="connsiteX26" fmla="*/ 577850 w 657225"/>
                  <a:gd name="connsiteY26" fmla="*/ 565150 h 904875"/>
                  <a:gd name="connsiteX27" fmla="*/ 520700 w 657225"/>
                  <a:gd name="connsiteY27" fmla="*/ 596900 h 904875"/>
                  <a:gd name="connsiteX28" fmla="*/ 501650 w 657225"/>
                  <a:gd name="connsiteY28" fmla="*/ 558800 h 904875"/>
                  <a:gd name="connsiteX29" fmla="*/ 504825 w 657225"/>
                  <a:gd name="connsiteY29" fmla="*/ 520700 h 904875"/>
                  <a:gd name="connsiteX30" fmla="*/ 504825 w 657225"/>
                  <a:gd name="connsiteY30" fmla="*/ 520700 h 904875"/>
                  <a:gd name="connsiteX31" fmla="*/ 463550 w 657225"/>
                  <a:gd name="connsiteY31" fmla="*/ 511175 h 904875"/>
                  <a:gd name="connsiteX32" fmla="*/ 527050 w 657225"/>
                  <a:gd name="connsiteY32" fmla="*/ 463550 h 904875"/>
                  <a:gd name="connsiteX33" fmla="*/ 498475 w 657225"/>
                  <a:gd name="connsiteY33" fmla="*/ 454025 h 904875"/>
                  <a:gd name="connsiteX34" fmla="*/ 504825 w 657225"/>
                  <a:gd name="connsiteY34" fmla="*/ 409575 h 904875"/>
                  <a:gd name="connsiteX35" fmla="*/ 460375 w 657225"/>
                  <a:gd name="connsiteY35" fmla="*/ 381000 h 904875"/>
                  <a:gd name="connsiteX36" fmla="*/ 425450 w 657225"/>
                  <a:gd name="connsiteY36" fmla="*/ 396875 h 904875"/>
                  <a:gd name="connsiteX37" fmla="*/ 301625 w 657225"/>
                  <a:gd name="connsiteY37" fmla="*/ 327025 h 904875"/>
                  <a:gd name="connsiteX38" fmla="*/ 295275 w 657225"/>
                  <a:gd name="connsiteY38" fmla="*/ 244475 h 904875"/>
                  <a:gd name="connsiteX39" fmla="*/ 327025 w 657225"/>
                  <a:gd name="connsiteY39" fmla="*/ 225425 h 904875"/>
                  <a:gd name="connsiteX40" fmla="*/ 323850 w 657225"/>
                  <a:gd name="connsiteY40" fmla="*/ 193675 h 904875"/>
                  <a:gd name="connsiteX41" fmla="*/ 352425 w 657225"/>
                  <a:gd name="connsiteY41" fmla="*/ 139700 h 904875"/>
                  <a:gd name="connsiteX42" fmla="*/ 273050 w 657225"/>
                  <a:gd name="connsiteY42" fmla="*/ 171450 h 904875"/>
                  <a:gd name="connsiteX43" fmla="*/ 196850 w 657225"/>
                  <a:gd name="connsiteY43" fmla="*/ 149225 h 904875"/>
                  <a:gd name="connsiteX44" fmla="*/ 266700 w 657225"/>
                  <a:gd name="connsiteY44" fmla="*/ 82550 h 904875"/>
                  <a:gd name="connsiteX45" fmla="*/ 263525 w 657225"/>
                  <a:gd name="connsiteY45" fmla="*/ 9525 h 904875"/>
                  <a:gd name="connsiteX46" fmla="*/ 177800 w 657225"/>
                  <a:gd name="connsiteY46" fmla="*/ 0 h 904875"/>
                  <a:gd name="connsiteX47" fmla="*/ 66675 w 657225"/>
                  <a:gd name="connsiteY47" fmla="*/ 114300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57225" h="904875">
                    <a:moveTo>
                      <a:pt x="66675" y="114300"/>
                    </a:moveTo>
                    <a:lnTo>
                      <a:pt x="92075" y="180975"/>
                    </a:lnTo>
                    <a:lnTo>
                      <a:pt x="66675" y="301625"/>
                    </a:lnTo>
                    <a:lnTo>
                      <a:pt x="34925" y="266700"/>
                    </a:lnTo>
                    <a:lnTo>
                      <a:pt x="0" y="330200"/>
                    </a:lnTo>
                    <a:lnTo>
                      <a:pt x="50800" y="333375"/>
                    </a:lnTo>
                    <a:lnTo>
                      <a:pt x="60325" y="415925"/>
                    </a:lnTo>
                    <a:lnTo>
                      <a:pt x="120650" y="463550"/>
                    </a:lnTo>
                    <a:lnTo>
                      <a:pt x="85725" y="485775"/>
                    </a:lnTo>
                    <a:lnTo>
                      <a:pt x="177800" y="561975"/>
                    </a:lnTo>
                    <a:lnTo>
                      <a:pt x="184150" y="609600"/>
                    </a:lnTo>
                    <a:lnTo>
                      <a:pt x="349250" y="711200"/>
                    </a:lnTo>
                    <a:lnTo>
                      <a:pt x="342900" y="742950"/>
                    </a:lnTo>
                    <a:lnTo>
                      <a:pt x="377825" y="749300"/>
                    </a:lnTo>
                    <a:lnTo>
                      <a:pt x="400050" y="800100"/>
                    </a:lnTo>
                    <a:lnTo>
                      <a:pt x="454025" y="812800"/>
                    </a:lnTo>
                    <a:lnTo>
                      <a:pt x="476250" y="885825"/>
                    </a:lnTo>
                    <a:lnTo>
                      <a:pt x="511175" y="904875"/>
                    </a:lnTo>
                    <a:lnTo>
                      <a:pt x="561975" y="800100"/>
                    </a:lnTo>
                    <a:lnTo>
                      <a:pt x="654050" y="755650"/>
                    </a:lnTo>
                    <a:lnTo>
                      <a:pt x="657225" y="695325"/>
                    </a:lnTo>
                    <a:lnTo>
                      <a:pt x="628650" y="666750"/>
                    </a:lnTo>
                    <a:lnTo>
                      <a:pt x="631825" y="628650"/>
                    </a:lnTo>
                    <a:lnTo>
                      <a:pt x="596900" y="644525"/>
                    </a:lnTo>
                    <a:lnTo>
                      <a:pt x="584200" y="606425"/>
                    </a:lnTo>
                    <a:lnTo>
                      <a:pt x="609600" y="593725"/>
                    </a:lnTo>
                    <a:lnTo>
                      <a:pt x="577850" y="565150"/>
                    </a:lnTo>
                    <a:lnTo>
                      <a:pt x="520700" y="596900"/>
                    </a:lnTo>
                    <a:lnTo>
                      <a:pt x="501650" y="558800"/>
                    </a:lnTo>
                    <a:lnTo>
                      <a:pt x="504825" y="520700"/>
                    </a:lnTo>
                    <a:lnTo>
                      <a:pt x="504825" y="520700"/>
                    </a:lnTo>
                    <a:lnTo>
                      <a:pt x="463550" y="511175"/>
                    </a:lnTo>
                    <a:lnTo>
                      <a:pt x="527050" y="463550"/>
                    </a:lnTo>
                    <a:lnTo>
                      <a:pt x="498475" y="454025"/>
                    </a:lnTo>
                    <a:lnTo>
                      <a:pt x="504825" y="409575"/>
                    </a:lnTo>
                    <a:lnTo>
                      <a:pt x="460375" y="381000"/>
                    </a:lnTo>
                    <a:lnTo>
                      <a:pt x="425450" y="396875"/>
                    </a:lnTo>
                    <a:lnTo>
                      <a:pt x="301625" y="327025"/>
                    </a:lnTo>
                    <a:lnTo>
                      <a:pt x="295275" y="244475"/>
                    </a:lnTo>
                    <a:lnTo>
                      <a:pt x="327025" y="225425"/>
                    </a:lnTo>
                    <a:lnTo>
                      <a:pt x="323850" y="193675"/>
                    </a:lnTo>
                    <a:lnTo>
                      <a:pt x="352425" y="139700"/>
                    </a:lnTo>
                    <a:lnTo>
                      <a:pt x="273050" y="171450"/>
                    </a:lnTo>
                    <a:lnTo>
                      <a:pt x="196850" y="149225"/>
                    </a:lnTo>
                    <a:lnTo>
                      <a:pt x="266700" y="82550"/>
                    </a:lnTo>
                    <a:lnTo>
                      <a:pt x="263525" y="9525"/>
                    </a:lnTo>
                    <a:lnTo>
                      <a:pt x="177800" y="0"/>
                    </a:lnTo>
                    <a:lnTo>
                      <a:pt x="66675" y="11430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Forma libre 21"/>
              <p:cNvSpPr/>
              <p:nvPr/>
            </p:nvSpPr>
            <p:spPr>
              <a:xfrm>
                <a:off x="1168415" y="6519719"/>
                <a:ext cx="128228" cy="199696"/>
              </a:xfrm>
              <a:custGeom>
                <a:avLst/>
                <a:gdLst>
                  <a:gd name="connsiteX0" fmla="*/ 269875 w 844550"/>
                  <a:gd name="connsiteY0" fmla="*/ 0 h 1260475"/>
                  <a:gd name="connsiteX1" fmla="*/ 365125 w 844550"/>
                  <a:gd name="connsiteY1" fmla="*/ 47625 h 1260475"/>
                  <a:gd name="connsiteX2" fmla="*/ 428625 w 844550"/>
                  <a:gd name="connsiteY2" fmla="*/ 12700 h 1260475"/>
                  <a:gd name="connsiteX3" fmla="*/ 425450 w 844550"/>
                  <a:gd name="connsiteY3" fmla="*/ 50800 h 1260475"/>
                  <a:gd name="connsiteX4" fmla="*/ 476250 w 844550"/>
                  <a:gd name="connsiteY4" fmla="*/ 111125 h 1260475"/>
                  <a:gd name="connsiteX5" fmla="*/ 495300 w 844550"/>
                  <a:gd name="connsiteY5" fmla="*/ 168275 h 1260475"/>
                  <a:gd name="connsiteX6" fmla="*/ 523875 w 844550"/>
                  <a:gd name="connsiteY6" fmla="*/ 168275 h 1260475"/>
                  <a:gd name="connsiteX7" fmla="*/ 596900 w 844550"/>
                  <a:gd name="connsiteY7" fmla="*/ 269875 h 1260475"/>
                  <a:gd name="connsiteX8" fmla="*/ 596900 w 844550"/>
                  <a:gd name="connsiteY8" fmla="*/ 301625 h 1260475"/>
                  <a:gd name="connsiteX9" fmla="*/ 679450 w 844550"/>
                  <a:gd name="connsiteY9" fmla="*/ 425450 h 1260475"/>
                  <a:gd name="connsiteX10" fmla="*/ 701675 w 844550"/>
                  <a:gd name="connsiteY10" fmla="*/ 457200 h 1260475"/>
                  <a:gd name="connsiteX11" fmla="*/ 647700 w 844550"/>
                  <a:gd name="connsiteY11" fmla="*/ 463550 h 1260475"/>
                  <a:gd name="connsiteX12" fmla="*/ 606425 w 844550"/>
                  <a:gd name="connsiteY12" fmla="*/ 450850 h 1260475"/>
                  <a:gd name="connsiteX13" fmla="*/ 520700 w 844550"/>
                  <a:gd name="connsiteY13" fmla="*/ 396875 h 1260475"/>
                  <a:gd name="connsiteX14" fmla="*/ 514350 w 844550"/>
                  <a:gd name="connsiteY14" fmla="*/ 346075 h 1260475"/>
                  <a:gd name="connsiteX15" fmla="*/ 460375 w 844550"/>
                  <a:gd name="connsiteY15" fmla="*/ 400050 h 1260475"/>
                  <a:gd name="connsiteX16" fmla="*/ 460375 w 844550"/>
                  <a:gd name="connsiteY16" fmla="*/ 400050 h 1260475"/>
                  <a:gd name="connsiteX17" fmla="*/ 473075 w 844550"/>
                  <a:gd name="connsiteY17" fmla="*/ 479425 h 1260475"/>
                  <a:gd name="connsiteX18" fmla="*/ 495300 w 844550"/>
                  <a:gd name="connsiteY18" fmla="*/ 539750 h 1260475"/>
                  <a:gd name="connsiteX19" fmla="*/ 536575 w 844550"/>
                  <a:gd name="connsiteY19" fmla="*/ 568325 h 1260475"/>
                  <a:gd name="connsiteX20" fmla="*/ 492125 w 844550"/>
                  <a:gd name="connsiteY20" fmla="*/ 577850 h 1260475"/>
                  <a:gd name="connsiteX21" fmla="*/ 549275 w 844550"/>
                  <a:gd name="connsiteY21" fmla="*/ 688975 h 1260475"/>
                  <a:gd name="connsiteX22" fmla="*/ 587375 w 844550"/>
                  <a:gd name="connsiteY22" fmla="*/ 771525 h 1260475"/>
                  <a:gd name="connsiteX23" fmla="*/ 574675 w 844550"/>
                  <a:gd name="connsiteY23" fmla="*/ 835025 h 1260475"/>
                  <a:gd name="connsiteX24" fmla="*/ 587375 w 844550"/>
                  <a:gd name="connsiteY24" fmla="*/ 920750 h 1260475"/>
                  <a:gd name="connsiteX25" fmla="*/ 558800 w 844550"/>
                  <a:gd name="connsiteY25" fmla="*/ 933450 h 1260475"/>
                  <a:gd name="connsiteX26" fmla="*/ 577850 w 844550"/>
                  <a:gd name="connsiteY26" fmla="*/ 974725 h 1260475"/>
                  <a:gd name="connsiteX27" fmla="*/ 619125 w 844550"/>
                  <a:gd name="connsiteY27" fmla="*/ 987425 h 1260475"/>
                  <a:gd name="connsiteX28" fmla="*/ 641350 w 844550"/>
                  <a:gd name="connsiteY28" fmla="*/ 930275 h 1260475"/>
                  <a:gd name="connsiteX29" fmla="*/ 676275 w 844550"/>
                  <a:gd name="connsiteY29" fmla="*/ 955675 h 1260475"/>
                  <a:gd name="connsiteX30" fmla="*/ 787400 w 844550"/>
                  <a:gd name="connsiteY30" fmla="*/ 914400 h 1260475"/>
                  <a:gd name="connsiteX31" fmla="*/ 844550 w 844550"/>
                  <a:gd name="connsiteY31" fmla="*/ 946150 h 1260475"/>
                  <a:gd name="connsiteX32" fmla="*/ 787400 w 844550"/>
                  <a:gd name="connsiteY32" fmla="*/ 968375 h 1260475"/>
                  <a:gd name="connsiteX33" fmla="*/ 768350 w 844550"/>
                  <a:gd name="connsiteY33" fmla="*/ 1000125 h 1260475"/>
                  <a:gd name="connsiteX34" fmla="*/ 790575 w 844550"/>
                  <a:gd name="connsiteY34" fmla="*/ 1038225 h 1260475"/>
                  <a:gd name="connsiteX35" fmla="*/ 774700 w 844550"/>
                  <a:gd name="connsiteY35" fmla="*/ 1092200 h 1260475"/>
                  <a:gd name="connsiteX36" fmla="*/ 736600 w 844550"/>
                  <a:gd name="connsiteY36" fmla="*/ 1120775 h 1260475"/>
                  <a:gd name="connsiteX37" fmla="*/ 717550 w 844550"/>
                  <a:gd name="connsiteY37" fmla="*/ 1152525 h 1260475"/>
                  <a:gd name="connsiteX38" fmla="*/ 679450 w 844550"/>
                  <a:gd name="connsiteY38" fmla="*/ 1146175 h 1260475"/>
                  <a:gd name="connsiteX39" fmla="*/ 676275 w 844550"/>
                  <a:gd name="connsiteY39" fmla="*/ 1196975 h 1260475"/>
                  <a:gd name="connsiteX40" fmla="*/ 615950 w 844550"/>
                  <a:gd name="connsiteY40" fmla="*/ 1181100 h 1260475"/>
                  <a:gd name="connsiteX41" fmla="*/ 530225 w 844550"/>
                  <a:gd name="connsiteY41" fmla="*/ 1206500 h 1260475"/>
                  <a:gd name="connsiteX42" fmla="*/ 473075 w 844550"/>
                  <a:gd name="connsiteY42" fmla="*/ 1165225 h 1260475"/>
                  <a:gd name="connsiteX43" fmla="*/ 473075 w 844550"/>
                  <a:gd name="connsiteY43" fmla="*/ 1165225 h 1260475"/>
                  <a:gd name="connsiteX44" fmla="*/ 454025 w 844550"/>
                  <a:gd name="connsiteY44" fmla="*/ 1196975 h 1260475"/>
                  <a:gd name="connsiteX45" fmla="*/ 387350 w 844550"/>
                  <a:gd name="connsiteY45" fmla="*/ 1260475 h 1260475"/>
                  <a:gd name="connsiteX46" fmla="*/ 403225 w 844550"/>
                  <a:gd name="connsiteY46" fmla="*/ 1203325 h 1260475"/>
                  <a:gd name="connsiteX47" fmla="*/ 381000 w 844550"/>
                  <a:gd name="connsiteY47" fmla="*/ 1187450 h 1260475"/>
                  <a:gd name="connsiteX48" fmla="*/ 346075 w 844550"/>
                  <a:gd name="connsiteY48" fmla="*/ 1216025 h 1260475"/>
                  <a:gd name="connsiteX49" fmla="*/ 298450 w 844550"/>
                  <a:gd name="connsiteY49" fmla="*/ 1219200 h 1260475"/>
                  <a:gd name="connsiteX50" fmla="*/ 288925 w 844550"/>
                  <a:gd name="connsiteY50" fmla="*/ 1184275 h 1260475"/>
                  <a:gd name="connsiteX51" fmla="*/ 298450 w 844550"/>
                  <a:gd name="connsiteY51" fmla="*/ 1171575 h 1260475"/>
                  <a:gd name="connsiteX52" fmla="*/ 260350 w 844550"/>
                  <a:gd name="connsiteY52" fmla="*/ 1162050 h 1260475"/>
                  <a:gd name="connsiteX53" fmla="*/ 260350 w 844550"/>
                  <a:gd name="connsiteY53" fmla="*/ 1111250 h 1260475"/>
                  <a:gd name="connsiteX54" fmla="*/ 133350 w 844550"/>
                  <a:gd name="connsiteY54" fmla="*/ 1092200 h 1260475"/>
                  <a:gd name="connsiteX55" fmla="*/ 177800 w 844550"/>
                  <a:gd name="connsiteY55" fmla="*/ 1054100 h 1260475"/>
                  <a:gd name="connsiteX56" fmla="*/ 165100 w 844550"/>
                  <a:gd name="connsiteY56" fmla="*/ 974725 h 1260475"/>
                  <a:gd name="connsiteX57" fmla="*/ 165100 w 844550"/>
                  <a:gd name="connsiteY57" fmla="*/ 974725 h 1260475"/>
                  <a:gd name="connsiteX58" fmla="*/ 165100 w 844550"/>
                  <a:gd name="connsiteY58" fmla="*/ 974725 h 1260475"/>
                  <a:gd name="connsiteX59" fmla="*/ 142875 w 844550"/>
                  <a:gd name="connsiteY59" fmla="*/ 917575 h 1260475"/>
                  <a:gd name="connsiteX60" fmla="*/ 104775 w 844550"/>
                  <a:gd name="connsiteY60" fmla="*/ 933450 h 1260475"/>
                  <a:gd name="connsiteX61" fmla="*/ 127000 w 844550"/>
                  <a:gd name="connsiteY61" fmla="*/ 892175 h 1260475"/>
                  <a:gd name="connsiteX62" fmla="*/ 85725 w 844550"/>
                  <a:gd name="connsiteY62" fmla="*/ 850900 h 1260475"/>
                  <a:gd name="connsiteX63" fmla="*/ 25400 w 844550"/>
                  <a:gd name="connsiteY63" fmla="*/ 882650 h 1260475"/>
                  <a:gd name="connsiteX64" fmla="*/ 22225 w 844550"/>
                  <a:gd name="connsiteY64" fmla="*/ 828675 h 1260475"/>
                  <a:gd name="connsiteX65" fmla="*/ 0 w 844550"/>
                  <a:gd name="connsiteY65" fmla="*/ 822325 h 1260475"/>
                  <a:gd name="connsiteX66" fmla="*/ 47625 w 844550"/>
                  <a:gd name="connsiteY66" fmla="*/ 765175 h 1260475"/>
                  <a:gd name="connsiteX67" fmla="*/ 22225 w 844550"/>
                  <a:gd name="connsiteY67" fmla="*/ 752475 h 1260475"/>
                  <a:gd name="connsiteX68" fmla="*/ 25400 w 844550"/>
                  <a:gd name="connsiteY68" fmla="*/ 711200 h 1260475"/>
                  <a:gd name="connsiteX69" fmla="*/ 136525 w 844550"/>
                  <a:gd name="connsiteY69" fmla="*/ 711200 h 1260475"/>
                  <a:gd name="connsiteX70" fmla="*/ 139700 w 844550"/>
                  <a:gd name="connsiteY70" fmla="*/ 504825 h 1260475"/>
                  <a:gd name="connsiteX71" fmla="*/ 82550 w 844550"/>
                  <a:gd name="connsiteY71" fmla="*/ 466725 h 1260475"/>
                  <a:gd name="connsiteX72" fmla="*/ 101600 w 844550"/>
                  <a:gd name="connsiteY72" fmla="*/ 441325 h 1260475"/>
                  <a:gd name="connsiteX73" fmla="*/ 161925 w 844550"/>
                  <a:gd name="connsiteY73" fmla="*/ 434975 h 1260475"/>
                  <a:gd name="connsiteX74" fmla="*/ 206375 w 844550"/>
                  <a:gd name="connsiteY74" fmla="*/ 393700 h 1260475"/>
                  <a:gd name="connsiteX75" fmla="*/ 285750 w 844550"/>
                  <a:gd name="connsiteY75" fmla="*/ 371475 h 1260475"/>
                  <a:gd name="connsiteX76" fmla="*/ 279400 w 844550"/>
                  <a:gd name="connsiteY76" fmla="*/ 330200 h 1260475"/>
                  <a:gd name="connsiteX77" fmla="*/ 333375 w 844550"/>
                  <a:gd name="connsiteY77" fmla="*/ 349250 h 1260475"/>
                  <a:gd name="connsiteX78" fmla="*/ 304800 w 844550"/>
                  <a:gd name="connsiteY78" fmla="*/ 263525 h 1260475"/>
                  <a:gd name="connsiteX79" fmla="*/ 330200 w 844550"/>
                  <a:gd name="connsiteY79" fmla="*/ 215900 h 1260475"/>
                  <a:gd name="connsiteX80" fmla="*/ 250825 w 844550"/>
                  <a:gd name="connsiteY80" fmla="*/ 69850 h 1260475"/>
                  <a:gd name="connsiteX81" fmla="*/ 250825 w 844550"/>
                  <a:gd name="connsiteY81" fmla="*/ 69850 h 1260475"/>
                  <a:gd name="connsiteX82" fmla="*/ 212725 w 844550"/>
                  <a:gd name="connsiteY82" fmla="*/ 69850 h 1260475"/>
                  <a:gd name="connsiteX83" fmla="*/ 206375 w 844550"/>
                  <a:gd name="connsiteY83" fmla="*/ 41275 h 1260475"/>
                  <a:gd name="connsiteX84" fmla="*/ 269875 w 844550"/>
                  <a:gd name="connsiteY84" fmla="*/ 0 h 1260475"/>
                  <a:gd name="connsiteX0" fmla="*/ 279400 w 844550"/>
                  <a:gd name="connsiteY0" fmla="*/ 6350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06375 w 844550"/>
                  <a:gd name="connsiteY83" fmla="*/ 28575 h 1247775"/>
                  <a:gd name="connsiteX84" fmla="*/ 279400 w 844550"/>
                  <a:gd name="connsiteY84" fmla="*/ 6350 h 1247775"/>
                  <a:gd name="connsiteX0" fmla="*/ 279400 w 844550"/>
                  <a:gd name="connsiteY0" fmla="*/ 6350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25425 w 844550"/>
                  <a:gd name="connsiteY83" fmla="*/ 28575 h 1247775"/>
                  <a:gd name="connsiteX84" fmla="*/ 279400 w 844550"/>
                  <a:gd name="connsiteY84" fmla="*/ 6350 h 1247775"/>
                  <a:gd name="connsiteX0" fmla="*/ 298450 w 844550"/>
                  <a:gd name="connsiteY0" fmla="*/ 15875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25425 w 844550"/>
                  <a:gd name="connsiteY83" fmla="*/ 28575 h 1247775"/>
                  <a:gd name="connsiteX84" fmla="*/ 298450 w 844550"/>
                  <a:gd name="connsiteY84" fmla="*/ 15875 h 1247775"/>
                  <a:gd name="connsiteX0" fmla="*/ 298450 w 844550"/>
                  <a:gd name="connsiteY0" fmla="*/ 15875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63525 w 844550"/>
                  <a:gd name="connsiteY83" fmla="*/ 28575 h 1247775"/>
                  <a:gd name="connsiteX84" fmla="*/ 298450 w 844550"/>
                  <a:gd name="connsiteY84" fmla="*/ 15875 h 1247775"/>
                  <a:gd name="connsiteX0" fmla="*/ 298450 w 844550"/>
                  <a:gd name="connsiteY0" fmla="*/ 15875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09550 w 844550"/>
                  <a:gd name="connsiteY82" fmla="*/ 41275 h 1247775"/>
                  <a:gd name="connsiteX83" fmla="*/ 263525 w 844550"/>
                  <a:gd name="connsiteY83" fmla="*/ 28575 h 1247775"/>
                  <a:gd name="connsiteX84" fmla="*/ 298450 w 844550"/>
                  <a:gd name="connsiteY84" fmla="*/ 15875 h 1247775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50825 w 844550"/>
                  <a:gd name="connsiteY81" fmla="*/ 7302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66700 w 844550"/>
                  <a:gd name="connsiteY81" fmla="*/ 8572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82575 w 844550"/>
                  <a:gd name="connsiteY81" fmla="*/ 133350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34950 w 844550"/>
                  <a:gd name="connsiteY81" fmla="*/ 101600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6700 w 844550"/>
                  <a:gd name="connsiteY80" fmla="*/ 730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69875 w 844550"/>
                  <a:gd name="connsiteY75" fmla="*/ 371475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177800 w 844550"/>
                  <a:gd name="connsiteY74" fmla="*/ 396875 h 1263650"/>
                  <a:gd name="connsiteX75" fmla="*/ 269875 w 844550"/>
                  <a:gd name="connsiteY75" fmla="*/ 371475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52400 w 844550"/>
                  <a:gd name="connsiteY73" fmla="*/ 438150 h 1263650"/>
                  <a:gd name="connsiteX74" fmla="*/ 177800 w 844550"/>
                  <a:gd name="connsiteY74" fmla="*/ 396875 h 1263650"/>
                  <a:gd name="connsiteX75" fmla="*/ 269875 w 844550"/>
                  <a:gd name="connsiteY75" fmla="*/ 371475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88925 w 857250"/>
                  <a:gd name="connsiteY0" fmla="*/ 0 h 1263650"/>
                  <a:gd name="connsiteX1" fmla="*/ 377825 w 857250"/>
                  <a:gd name="connsiteY1" fmla="*/ 50800 h 1263650"/>
                  <a:gd name="connsiteX2" fmla="*/ 441325 w 857250"/>
                  <a:gd name="connsiteY2" fmla="*/ 15875 h 1263650"/>
                  <a:gd name="connsiteX3" fmla="*/ 438150 w 857250"/>
                  <a:gd name="connsiteY3" fmla="*/ 53975 h 1263650"/>
                  <a:gd name="connsiteX4" fmla="*/ 488950 w 857250"/>
                  <a:gd name="connsiteY4" fmla="*/ 114300 h 1263650"/>
                  <a:gd name="connsiteX5" fmla="*/ 508000 w 857250"/>
                  <a:gd name="connsiteY5" fmla="*/ 171450 h 1263650"/>
                  <a:gd name="connsiteX6" fmla="*/ 536575 w 857250"/>
                  <a:gd name="connsiteY6" fmla="*/ 171450 h 1263650"/>
                  <a:gd name="connsiteX7" fmla="*/ 609600 w 857250"/>
                  <a:gd name="connsiteY7" fmla="*/ 273050 h 1263650"/>
                  <a:gd name="connsiteX8" fmla="*/ 609600 w 857250"/>
                  <a:gd name="connsiteY8" fmla="*/ 304800 h 1263650"/>
                  <a:gd name="connsiteX9" fmla="*/ 692150 w 857250"/>
                  <a:gd name="connsiteY9" fmla="*/ 428625 h 1263650"/>
                  <a:gd name="connsiteX10" fmla="*/ 714375 w 857250"/>
                  <a:gd name="connsiteY10" fmla="*/ 460375 h 1263650"/>
                  <a:gd name="connsiteX11" fmla="*/ 660400 w 857250"/>
                  <a:gd name="connsiteY11" fmla="*/ 466725 h 1263650"/>
                  <a:gd name="connsiteX12" fmla="*/ 619125 w 857250"/>
                  <a:gd name="connsiteY12" fmla="*/ 454025 h 1263650"/>
                  <a:gd name="connsiteX13" fmla="*/ 533400 w 857250"/>
                  <a:gd name="connsiteY13" fmla="*/ 400050 h 1263650"/>
                  <a:gd name="connsiteX14" fmla="*/ 527050 w 857250"/>
                  <a:gd name="connsiteY14" fmla="*/ 349250 h 1263650"/>
                  <a:gd name="connsiteX15" fmla="*/ 473075 w 857250"/>
                  <a:gd name="connsiteY15" fmla="*/ 403225 h 1263650"/>
                  <a:gd name="connsiteX16" fmla="*/ 473075 w 857250"/>
                  <a:gd name="connsiteY16" fmla="*/ 403225 h 1263650"/>
                  <a:gd name="connsiteX17" fmla="*/ 485775 w 857250"/>
                  <a:gd name="connsiteY17" fmla="*/ 482600 h 1263650"/>
                  <a:gd name="connsiteX18" fmla="*/ 508000 w 857250"/>
                  <a:gd name="connsiteY18" fmla="*/ 542925 h 1263650"/>
                  <a:gd name="connsiteX19" fmla="*/ 549275 w 857250"/>
                  <a:gd name="connsiteY19" fmla="*/ 571500 h 1263650"/>
                  <a:gd name="connsiteX20" fmla="*/ 504825 w 857250"/>
                  <a:gd name="connsiteY20" fmla="*/ 581025 h 1263650"/>
                  <a:gd name="connsiteX21" fmla="*/ 561975 w 857250"/>
                  <a:gd name="connsiteY21" fmla="*/ 692150 h 1263650"/>
                  <a:gd name="connsiteX22" fmla="*/ 600075 w 857250"/>
                  <a:gd name="connsiteY22" fmla="*/ 774700 h 1263650"/>
                  <a:gd name="connsiteX23" fmla="*/ 587375 w 857250"/>
                  <a:gd name="connsiteY23" fmla="*/ 838200 h 1263650"/>
                  <a:gd name="connsiteX24" fmla="*/ 600075 w 857250"/>
                  <a:gd name="connsiteY24" fmla="*/ 923925 h 1263650"/>
                  <a:gd name="connsiteX25" fmla="*/ 571500 w 857250"/>
                  <a:gd name="connsiteY25" fmla="*/ 936625 h 1263650"/>
                  <a:gd name="connsiteX26" fmla="*/ 590550 w 857250"/>
                  <a:gd name="connsiteY26" fmla="*/ 977900 h 1263650"/>
                  <a:gd name="connsiteX27" fmla="*/ 631825 w 857250"/>
                  <a:gd name="connsiteY27" fmla="*/ 990600 h 1263650"/>
                  <a:gd name="connsiteX28" fmla="*/ 654050 w 857250"/>
                  <a:gd name="connsiteY28" fmla="*/ 933450 h 1263650"/>
                  <a:gd name="connsiteX29" fmla="*/ 688975 w 857250"/>
                  <a:gd name="connsiteY29" fmla="*/ 958850 h 1263650"/>
                  <a:gd name="connsiteX30" fmla="*/ 800100 w 857250"/>
                  <a:gd name="connsiteY30" fmla="*/ 917575 h 1263650"/>
                  <a:gd name="connsiteX31" fmla="*/ 857250 w 857250"/>
                  <a:gd name="connsiteY31" fmla="*/ 949325 h 1263650"/>
                  <a:gd name="connsiteX32" fmla="*/ 800100 w 857250"/>
                  <a:gd name="connsiteY32" fmla="*/ 971550 h 1263650"/>
                  <a:gd name="connsiteX33" fmla="*/ 781050 w 857250"/>
                  <a:gd name="connsiteY33" fmla="*/ 1003300 h 1263650"/>
                  <a:gd name="connsiteX34" fmla="*/ 803275 w 857250"/>
                  <a:gd name="connsiteY34" fmla="*/ 1041400 h 1263650"/>
                  <a:gd name="connsiteX35" fmla="*/ 787400 w 857250"/>
                  <a:gd name="connsiteY35" fmla="*/ 1095375 h 1263650"/>
                  <a:gd name="connsiteX36" fmla="*/ 749300 w 857250"/>
                  <a:gd name="connsiteY36" fmla="*/ 1123950 h 1263650"/>
                  <a:gd name="connsiteX37" fmla="*/ 730250 w 857250"/>
                  <a:gd name="connsiteY37" fmla="*/ 1155700 h 1263650"/>
                  <a:gd name="connsiteX38" fmla="*/ 692150 w 857250"/>
                  <a:gd name="connsiteY38" fmla="*/ 1149350 h 1263650"/>
                  <a:gd name="connsiteX39" fmla="*/ 688975 w 857250"/>
                  <a:gd name="connsiteY39" fmla="*/ 1200150 h 1263650"/>
                  <a:gd name="connsiteX40" fmla="*/ 628650 w 857250"/>
                  <a:gd name="connsiteY40" fmla="*/ 1184275 h 1263650"/>
                  <a:gd name="connsiteX41" fmla="*/ 542925 w 857250"/>
                  <a:gd name="connsiteY41" fmla="*/ 1209675 h 1263650"/>
                  <a:gd name="connsiteX42" fmla="*/ 485775 w 857250"/>
                  <a:gd name="connsiteY42" fmla="*/ 1168400 h 1263650"/>
                  <a:gd name="connsiteX43" fmla="*/ 485775 w 857250"/>
                  <a:gd name="connsiteY43" fmla="*/ 1168400 h 1263650"/>
                  <a:gd name="connsiteX44" fmla="*/ 466725 w 857250"/>
                  <a:gd name="connsiteY44" fmla="*/ 1200150 h 1263650"/>
                  <a:gd name="connsiteX45" fmla="*/ 400050 w 857250"/>
                  <a:gd name="connsiteY45" fmla="*/ 1263650 h 1263650"/>
                  <a:gd name="connsiteX46" fmla="*/ 415925 w 857250"/>
                  <a:gd name="connsiteY46" fmla="*/ 1206500 h 1263650"/>
                  <a:gd name="connsiteX47" fmla="*/ 393700 w 857250"/>
                  <a:gd name="connsiteY47" fmla="*/ 1190625 h 1263650"/>
                  <a:gd name="connsiteX48" fmla="*/ 358775 w 857250"/>
                  <a:gd name="connsiteY48" fmla="*/ 1219200 h 1263650"/>
                  <a:gd name="connsiteX49" fmla="*/ 311150 w 857250"/>
                  <a:gd name="connsiteY49" fmla="*/ 1222375 h 1263650"/>
                  <a:gd name="connsiteX50" fmla="*/ 301625 w 857250"/>
                  <a:gd name="connsiteY50" fmla="*/ 1187450 h 1263650"/>
                  <a:gd name="connsiteX51" fmla="*/ 311150 w 857250"/>
                  <a:gd name="connsiteY51" fmla="*/ 1174750 h 1263650"/>
                  <a:gd name="connsiteX52" fmla="*/ 273050 w 857250"/>
                  <a:gd name="connsiteY52" fmla="*/ 1165225 h 1263650"/>
                  <a:gd name="connsiteX53" fmla="*/ 273050 w 857250"/>
                  <a:gd name="connsiteY53" fmla="*/ 1114425 h 1263650"/>
                  <a:gd name="connsiteX54" fmla="*/ 146050 w 857250"/>
                  <a:gd name="connsiteY54" fmla="*/ 1095375 h 1263650"/>
                  <a:gd name="connsiteX55" fmla="*/ 190500 w 857250"/>
                  <a:gd name="connsiteY55" fmla="*/ 1057275 h 1263650"/>
                  <a:gd name="connsiteX56" fmla="*/ 177800 w 857250"/>
                  <a:gd name="connsiteY56" fmla="*/ 977900 h 1263650"/>
                  <a:gd name="connsiteX57" fmla="*/ 177800 w 857250"/>
                  <a:gd name="connsiteY57" fmla="*/ 977900 h 1263650"/>
                  <a:gd name="connsiteX58" fmla="*/ 177800 w 857250"/>
                  <a:gd name="connsiteY58" fmla="*/ 977900 h 1263650"/>
                  <a:gd name="connsiteX59" fmla="*/ 155575 w 857250"/>
                  <a:gd name="connsiteY59" fmla="*/ 920750 h 1263650"/>
                  <a:gd name="connsiteX60" fmla="*/ 117475 w 857250"/>
                  <a:gd name="connsiteY60" fmla="*/ 936625 h 1263650"/>
                  <a:gd name="connsiteX61" fmla="*/ 139700 w 857250"/>
                  <a:gd name="connsiteY61" fmla="*/ 895350 h 1263650"/>
                  <a:gd name="connsiteX62" fmla="*/ 98425 w 857250"/>
                  <a:gd name="connsiteY62" fmla="*/ 854075 h 1263650"/>
                  <a:gd name="connsiteX63" fmla="*/ 38100 w 857250"/>
                  <a:gd name="connsiteY63" fmla="*/ 885825 h 1263650"/>
                  <a:gd name="connsiteX64" fmla="*/ 34925 w 857250"/>
                  <a:gd name="connsiteY64" fmla="*/ 831850 h 1263650"/>
                  <a:gd name="connsiteX65" fmla="*/ 0 w 857250"/>
                  <a:gd name="connsiteY65" fmla="*/ 815975 h 1263650"/>
                  <a:gd name="connsiteX66" fmla="*/ 60325 w 857250"/>
                  <a:gd name="connsiteY66" fmla="*/ 768350 h 1263650"/>
                  <a:gd name="connsiteX67" fmla="*/ 34925 w 857250"/>
                  <a:gd name="connsiteY67" fmla="*/ 755650 h 1263650"/>
                  <a:gd name="connsiteX68" fmla="*/ 38100 w 857250"/>
                  <a:gd name="connsiteY68" fmla="*/ 714375 h 1263650"/>
                  <a:gd name="connsiteX69" fmla="*/ 149225 w 857250"/>
                  <a:gd name="connsiteY69" fmla="*/ 714375 h 1263650"/>
                  <a:gd name="connsiteX70" fmla="*/ 152400 w 857250"/>
                  <a:gd name="connsiteY70" fmla="*/ 508000 h 1263650"/>
                  <a:gd name="connsiteX71" fmla="*/ 95250 w 857250"/>
                  <a:gd name="connsiteY71" fmla="*/ 469900 h 1263650"/>
                  <a:gd name="connsiteX72" fmla="*/ 114300 w 857250"/>
                  <a:gd name="connsiteY72" fmla="*/ 444500 h 1263650"/>
                  <a:gd name="connsiteX73" fmla="*/ 165100 w 857250"/>
                  <a:gd name="connsiteY73" fmla="*/ 438150 h 1263650"/>
                  <a:gd name="connsiteX74" fmla="*/ 190500 w 857250"/>
                  <a:gd name="connsiteY74" fmla="*/ 396875 h 1263650"/>
                  <a:gd name="connsiteX75" fmla="*/ 282575 w 857250"/>
                  <a:gd name="connsiteY75" fmla="*/ 371475 h 1263650"/>
                  <a:gd name="connsiteX76" fmla="*/ 292100 w 857250"/>
                  <a:gd name="connsiteY76" fmla="*/ 333375 h 1263650"/>
                  <a:gd name="connsiteX77" fmla="*/ 346075 w 857250"/>
                  <a:gd name="connsiteY77" fmla="*/ 352425 h 1263650"/>
                  <a:gd name="connsiteX78" fmla="*/ 317500 w 857250"/>
                  <a:gd name="connsiteY78" fmla="*/ 266700 h 1263650"/>
                  <a:gd name="connsiteX79" fmla="*/ 342900 w 857250"/>
                  <a:gd name="connsiteY79" fmla="*/ 219075 h 1263650"/>
                  <a:gd name="connsiteX80" fmla="*/ 273050 w 857250"/>
                  <a:gd name="connsiteY80" fmla="*/ 85725 h 1263650"/>
                  <a:gd name="connsiteX81" fmla="*/ 241300 w 857250"/>
                  <a:gd name="connsiteY81" fmla="*/ 79375 h 1263650"/>
                  <a:gd name="connsiteX82" fmla="*/ 222250 w 857250"/>
                  <a:gd name="connsiteY82" fmla="*/ 57150 h 1263650"/>
                  <a:gd name="connsiteX83" fmla="*/ 276225 w 857250"/>
                  <a:gd name="connsiteY83" fmla="*/ 44450 h 1263650"/>
                  <a:gd name="connsiteX84" fmla="*/ 288925 w 857250"/>
                  <a:gd name="connsiteY84" fmla="*/ 0 h 126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857250" h="1263650">
                    <a:moveTo>
                      <a:pt x="288925" y="0"/>
                    </a:moveTo>
                    <a:lnTo>
                      <a:pt x="377825" y="50800"/>
                    </a:lnTo>
                    <a:lnTo>
                      <a:pt x="441325" y="15875"/>
                    </a:lnTo>
                    <a:lnTo>
                      <a:pt x="438150" y="53975"/>
                    </a:lnTo>
                    <a:lnTo>
                      <a:pt x="488950" y="114300"/>
                    </a:lnTo>
                    <a:lnTo>
                      <a:pt x="508000" y="171450"/>
                    </a:lnTo>
                    <a:lnTo>
                      <a:pt x="536575" y="171450"/>
                    </a:lnTo>
                    <a:lnTo>
                      <a:pt x="609600" y="273050"/>
                    </a:lnTo>
                    <a:lnTo>
                      <a:pt x="609600" y="304800"/>
                    </a:lnTo>
                    <a:lnTo>
                      <a:pt x="692150" y="428625"/>
                    </a:lnTo>
                    <a:lnTo>
                      <a:pt x="714375" y="460375"/>
                    </a:lnTo>
                    <a:lnTo>
                      <a:pt x="660400" y="466725"/>
                    </a:lnTo>
                    <a:lnTo>
                      <a:pt x="619125" y="454025"/>
                    </a:lnTo>
                    <a:lnTo>
                      <a:pt x="533400" y="400050"/>
                    </a:lnTo>
                    <a:lnTo>
                      <a:pt x="527050" y="349250"/>
                    </a:lnTo>
                    <a:lnTo>
                      <a:pt x="473075" y="403225"/>
                    </a:lnTo>
                    <a:lnTo>
                      <a:pt x="473075" y="403225"/>
                    </a:lnTo>
                    <a:lnTo>
                      <a:pt x="485775" y="482600"/>
                    </a:lnTo>
                    <a:lnTo>
                      <a:pt x="508000" y="542925"/>
                    </a:lnTo>
                    <a:lnTo>
                      <a:pt x="549275" y="571500"/>
                    </a:lnTo>
                    <a:lnTo>
                      <a:pt x="504825" y="581025"/>
                    </a:lnTo>
                    <a:lnTo>
                      <a:pt x="561975" y="692150"/>
                    </a:lnTo>
                    <a:lnTo>
                      <a:pt x="600075" y="774700"/>
                    </a:lnTo>
                    <a:lnTo>
                      <a:pt x="587375" y="838200"/>
                    </a:lnTo>
                    <a:lnTo>
                      <a:pt x="600075" y="923925"/>
                    </a:lnTo>
                    <a:lnTo>
                      <a:pt x="571500" y="936625"/>
                    </a:lnTo>
                    <a:lnTo>
                      <a:pt x="590550" y="977900"/>
                    </a:lnTo>
                    <a:lnTo>
                      <a:pt x="631825" y="990600"/>
                    </a:lnTo>
                    <a:lnTo>
                      <a:pt x="654050" y="933450"/>
                    </a:lnTo>
                    <a:lnTo>
                      <a:pt x="688975" y="958850"/>
                    </a:lnTo>
                    <a:lnTo>
                      <a:pt x="800100" y="917575"/>
                    </a:lnTo>
                    <a:lnTo>
                      <a:pt x="857250" y="949325"/>
                    </a:lnTo>
                    <a:lnTo>
                      <a:pt x="800100" y="971550"/>
                    </a:lnTo>
                    <a:lnTo>
                      <a:pt x="781050" y="1003300"/>
                    </a:lnTo>
                    <a:lnTo>
                      <a:pt x="803275" y="1041400"/>
                    </a:lnTo>
                    <a:lnTo>
                      <a:pt x="787400" y="1095375"/>
                    </a:lnTo>
                    <a:lnTo>
                      <a:pt x="749300" y="1123950"/>
                    </a:lnTo>
                    <a:lnTo>
                      <a:pt x="730250" y="1155700"/>
                    </a:lnTo>
                    <a:lnTo>
                      <a:pt x="692150" y="1149350"/>
                    </a:lnTo>
                    <a:lnTo>
                      <a:pt x="688975" y="1200150"/>
                    </a:lnTo>
                    <a:lnTo>
                      <a:pt x="628650" y="1184275"/>
                    </a:lnTo>
                    <a:lnTo>
                      <a:pt x="542925" y="1209675"/>
                    </a:lnTo>
                    <a:lnTo>
                      <a:pt x="485775" y="1168400"/>
                    </a:lnTo>
                    <a:lnTo>
                      <a:pt x="485775" y="1168400"/>
                    </a:lnTo>
                    <a:lnTo>
                      <a:pt x="466725" y="1200150"/>
                    </a:lnTo>
                    <a:lnTo>
                      <a:pt x="400050" y="1263650"/>
                    </a:lnTo>
                    <a:lnTo>
                      <a:pt x="415925" y="1206500"/>
                    </a:lnTo>
                    <a:lnTo>
                      <a:pt x="393700" y="1190625"/>
                    </a:lnTo>
                    <a:lnTo>
                      <a:pt x="358775" y="1219200"/>
                    </a:lnTo>
                    <a:lnTo>
                      <a:pt x="311150" y="1222375"/>
                    </a:lnTo>
                    <a:lnTo>
                      <a:pt x="301625" y="1187450"/>
                    </a:lnTo>
                    <a:lnTo>
                      <a:pt x="311150" y="1174750"/>
                    </a:lnTo>
                    <a:lnTo>
                      <a:pt x="273050" y="1165225"/>
                    </a:lnTo>
                    <a:lnTo>
                      <a:pt x="273050" y="1114425"/>
                    </a:lnTo>
                    <a:lnTo>
                      <a:pt x="146050" y="1095375"/>
                    </a:lnTo>
                    <a:lnTo>
                      <a:pt x="190500" y="1057275"/>
                    </a:lnTo>
                    <a:lnTo>
                      <a:pt x="177800" y="977900"/>
                    </a:lnTo>
                    <a:lnTo>
                      <a:pt x="177800" y="977900"/>
                    </a:lnTo>
                    <a:lnTo>
                      <a:pt x="177800" y="977900"/>
                    </a:lnTo>
                    <a:lnTo>
                      <a:pt x="155575" y="920750"/>
                    </a:lnTo>
                    <a:lnTo>
                      <a:pt x="117475" y="936625"/>
                    </a:lnTo>
                    <a:lnTo>
                      <a:pt x="139700" y="895350"/>
                    </a:lnTo>
                    <a:lnTo>
                      <a:pt x="98425" y="854075"/>
                    </a:lnTo>
                    <a:lnTo>
                      <a:pt x="38100" y="885825"/>
                    </a:lnTo>
                    <a:lnTo>
                      <a:pt x="34925" y="831850"/>
                    </a:lnTo>
                    <a:lnTo>
                      <a:pt x="0" y="815975"/>
                    </a:lnTo>
                    <a:lnTo>
                      <a:pt x="60325" y="768350"/>
                    </a:lnTo>
                    <a:lnTo>
                      <a:pt x="34925" y="755650"/>
                    </a:lnTo>
                    <a:lnTo>
                      <a:pt x="38100" y="714375"/>
                    </a:lnTo>
                    <a:lnTo>
                      <a:pt x="149225" y="714375"/>
                    </a:lnTo>
                    <a:cubicBezTo>
                      <a:pt x="150283" y="645583"/>
                      <a:pt x="151342" y="576792"/>
                      <a:pt x="152400" y="508000"/>
                    </a:cubicBezTo>
                    <a:lnTo>
                      <a:pt x="95250" y="469900"/>
                    </a:lnTo>
                    <a:lnTo>
                      <a:pt x="114300" y="444500"/>
                    </a:lnTo>
                    <a:lnTo>
                      <a:pt x="165100" y="438150"/>
                    </a:lnTo>
                    <a:lnTo>
                      <a:pt x="190500" y="396875"/>
                    </a:lnTo>
                    <a:lnTo>
                      <a:pt x="282575" y="371475"/>
                    </a:lnTo>
                    <a:lnTo>
                      <a:pt x="292100" y="333375"/>
                    </a:lnTo>
                    <a:lnTo>
                      <a:pt x="346075" y="352425"/>
                    </a:lnTo>
                    <a:lnTo>
                      <a:pt x="317500" y="266700"/>
                    </a:lnTo>
                    <a:lnTo>
                      <a:pt x="342900" y="219075"/>
                    </a:lnTo>
                    <a:cubicBezTo>
                      <a:pt x="316442" y="170392"/>
                      <a:pt x="289983" y="109008"/>
                      <a:pt x="273050" y="85725"/>
                    </a:cubicBezTo>
                    <a:cubicBezTo>
                      <a:pt x="256117" y="62442"/>
                      <a:pt x="249767" y="84138"/>
                      <a:pt x="241300" y="79375"/>
                    </a:cubicBezTo>
                    <a:cubicBezTo>
                      <a:pt x="232833" y="74612"/>
                      <a:pt x="228600" y="64558"/>
                      <a:pt x="222250" y="57150"/>
                    </a:cubicBezTo>
                    <a:lnTo>
                      <a:pt x="276225" y="44450"/>
                    </a:lnTo>
                    <a:lnTo>
                      <a:pt x="288925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Forma libre 22"/>
              <p:cNvSpPr/>
              <p:nvPr/>
            </p:nvSpPr>
            <p:spPr>
              <a:xfrm>
                <a:off x="1234904" y="6462018"/>
                <a:ext cx="198042" cy="248867"/>
              </a:xfrm>
              <a:custGeom>
                <a:avLst/>
                <a:gdLst>
                  <a:gd name="connsiteX0" fmla="*/ 644525 w 1323975"/>
                  <a:gd name="connsiteY0" fmla="*/ 41275 h 1574800"/>
                  <a:gd name="connsiteX1" fmla="*/ 590550 w 1323975"/>
                  <a:gd name="connsiteY1" fmla="*/ 34925 h 1574800"/>
                  <a:gd name="connsiteX2" fmla="*/ 498475 w 1323975"/>
                  <a:gd name="connsiteY2" fmla="*/ 79375 h 1574800"/>
                  <a:gd name="connsiteX3" fmla="*/ 441325 w 1323975"/>
                  <a:gd name="connsiteY3" fmla="*/ 50800 h 1574800"/>
                  <a:gd name="connsiteX4" fmla="*/ 387350 w 1323975"/>
                  <a:gd name="connsiteY4" fmla="*/ 57150 h 1574800"/>
                  <a:gd name="connsiteX5" fmla="*/ 342900 w 1323975"/>
                  <a:gd name="connsiteY5" fmla="*/ 0 h 1574800"/>
                  <a:gd name="connsiteX6" fmla="*/ 307975 w 1323975"/>
                  <a:gd name="connsiteY6" fmla="*/ 34925 h 1574800"/>
                  <a:gd name="connsiteX7" fmla="*/ 231775 w 1323975"/>
                  <a:gd name="connsiteY7" fmla="*/ 34925 h 1574800"/>
                  <a:gd name="connsiteX8" fmla="*/ 187325 w 1323975"/>
                  <a:gd name="connsiteY8" fmla="*/ 63500 h 1574800"/>
                  <a:gd name="connsiteX9" fmla="*/ 184150 w 1323975"/>
                  <a:gd name="connsiteY9" fmla="*/ 120650 h 1574800"/>
                  <a:gd name="connsiteX10" fmla="*/ 136525 w 1323975"/>
                  <a:gd name="connsiteY10" fmla="*/ 187325 h 1574800"/>
                  <a:gd name="connsiteX11" fmla="*/ 139700 w 1323975"/>
                  <a:gd name="connsiteY11" fmla="*/ 222250 h 1574800"/>
                  <a:gd name="connsiteX12" fmla="*/ 174625 w 1323975"/>
                  <a:gd name="connsiteY12" fmla="*/ 219075 h 1574800"/>
                  <a:gd name="connsiteX13" fmla="*/ 231775 w 1323975"/>
                  <a:gd name="connsiteY13" fmla="*/ 333375 h 1574800"/>
                  <a:gd name="connsiteX14" fmla="*/ 139700 w 1323975"/>
                  <a:gd name="connsiteY14" fmla="*/ 377825 h 1574800"/>
                  <a:gd name="connsiteX15" fmla="*/ 114300 w 1323975"/>
                  <a:gd name="connsiteY15" fmla="*/ 450850 h 1574800"/>
                  <a:gd name="connsiteX16" fmla="*/ 69850 w 1323975"/>
                  <a:gd name="connsiteY16" fmla="*/ 374650 h 1574800"/>
                  <a:gd name="connsiteX17" fmla="*/ 0 w 1323975"/>
                  <a:gd name="connsiteY17" fmla="*/ 381000 h 1574800"/>
                  <a:gd name="connsiteX18" fmla="*/ 6350 w 1323975"/>
                  <a:gd name="connsiteY18" fmla="*/ 409575 h 1574800"/>
                  <a:gd name="connsiteX19" fmla="*/ 53975 w 1323975"/>
                  <a:gd name="connsiteY19" fmla="*/ 473075 h 1574800"/>
                  <a:gd name="connsiteX20" fmla="*/ 76200 w 1323975"/>
                  <a:gd name="connsiteY20" fmla="*/ 530225 h 1574800"/>
                  <a:gd name="connsiteX21" fmla="*/ 107950 w 1323975"/>
                  <a:gd name="connsiteY21" fmla="*/ 523875 h 1574800"/>
                  <a:gd name="connsiteX22" fmla="*/ 184150 w 1323975"/>
                  <a:gd name="connsiteY22" fmla="*/ 641350 h 1574800"/>
                  <a:gd name="connsiteX23" fmla="*/ 184150 w 1323975"/>
                  <a:gd name="connsiteY23" fmla="*/ 669925 h 1574800"/>
                  <a:gd name="connsiteX24" fmla="*/ 279400 w 1323975"/>
                  <a:gd name="connsiteY24" fmla="*/ 819150 h 1574800"/>
                  <a:gd name="connsiteX25" fmla="*/ 349250 w 1323975"/>
                  <a:gd name="connsiteY25" fmla="*/ 819150 h 1574800"/>
                  <a:gd name="connsiteX26" fmla="*/ 396875 w 1323975"/>
                  <a:gd name="connsiteY26" fmla="*/ 806450 h 1574800"/>
                  <a:gd name="connsiteX27" fmla="*/ 511175 w 1323975"/>
                  <a:gd name="connsiteY27" fmla="*/ 863600 h 1574800"/>
                  <a:gd name="connsiteX28" fmla="*/ 622300 w 1323975"/>
                  <a:gd name="connsiteY28" fmla="*/ 923925 h 1574800"/>
                  <a:gd name="connsiteX29" fmla="*/ 685800 w 1323975"/>
                  <a:gd name="connsiteY29" fmla="*/ 949325 h 1574800"/>
                  <a:gd name="connsiteX30" fmla="*/ 711200 w 1323975"/>
                  <a:gd name="connsiteY30" fmla="*/ 1025525 h 1574800"/>
                  <a:gd name="connsiteX31" fmla="*/ 695325 w 1323975"/>
                  <a:gd name="connsiteY31" fmla="*/ 1101725 h 1574800"/>
                  <a:gd name="connsiteX32" fmla="*/ 619125 w 1323975"/>
                  <a:gd name="connsiteY32" fmla="*/ 1177925 h 1574800"/>
                  <a:gd name="connsiteX33" fmla="*/ 542925 w 1323975"/>
                  <a:gd name="connsiteY33" fmla="*/ 1235075 h 1574800"/>
                  <a:gd name="connsiteX34" fmla="*/ 558800 w 1323975"/>
                  <a:gd name="connsiteY34" fmla="*/ 1282700 h 1574800"/>
                  <a:gd name="connsiteX35" fmla="*/ 546100 w 1323975"/>
                  <a:gd name="connsiteY35" fmla="*/ 1314450 h 1574800"/>
                  <a:gd name="connsiteX36" fmla="*/ 581025 w 1323975"/>
                  <a:gd name="connsiteY36" fmla="*/ 1333500 h 1574800"/>
                  <a:gd name="connsiteX37" fmla="*/ 669925 w 1323975"/>
                  <a:gd name="connsiteY37" fmla="*/ 1330325 h 1574800"/>
                  <a:gd name="connsiteX38" fmla="*/ 704850 w 1323975"/>
                  <a:gd name="connsiteY38" fmla="*/ 1365250 h 1574800"/>
                  <a:gd name="connsiteX39" fmla="*/ 714375 w 1323975"/>
                  <a:gd name="connsiteY39" fmla="*/ 1270000 h 1574800"/>
                  <a:gd name="connsiteX40" fmla="*/ 714375 w 1323975"/>
                  <a:gd name="connsiteY40" fmla="*/ 1270000 h 1574800"/>
                  <a:gd name="connsiteX41" fmla="*/ 774700 w 1323975"/>
                  <a:gd name="connsiteY41" fmla="*/ 1346200 h 1574800"/>
                  <a:gd name="connsiteX42" fmla="*/ 825500 w 1323975"/>
                  <a:gd name="connsiteY42" fmla="*/ 1397000 h 1574800"/>
                  <a:gd name="connsiteX43" fmla="*/ 784225 w 1323975"/>
                  <a:gd name="connsiteY43" fmla="*/ 1431925 h 1574800"/>
                  <a:gd name="connsiteX44" fmla="*/ 850900 w 1323975"/>
                  <a:gd name="connsiteY44" fmla="*/ 1444625 h 1574800"/>
                  <a:gd name="connsiteX45" fmla="*/ 879475 w 1323975"/>
                  <a:gd name="connsiteY45" fmla="*/ 1473200 h 1574800"/>
                  <a:gd name="connsiteX46" fmla="*/ 917575 w 1323975"/>
                  <a:gd name="connsiteY46" fmla="*/ 1425575 h 1574800"/>
                  <a:gd name="connsiteX47" fmla="*/ 917575 w 1323975"/>
                  <a:gd name="connsiteY47" fmla="*/ 1425575 h 1574800"/>
                  <a:gd name="connsiteX48" fmla="*/ 971550 w 1323975"/>
                  <a:gd name="connsiteY48" fmla="*/ 1447800 h 1574800"/>
                  <a:gd name="connsiteX49" fmla="*/ 1019175 w 1323975"/>
                  <a:gd name="connsiteY49" fmla="*/ 1425575 h 1574800"/>
                  <a:gd name="connsiteX50" fmla="*/ 1047750 w 1323975"/>
                  <a:gd name="connsiteY50" fmla="*/ 1450975 h 1574800"/>
                  <a:gd name="connsiteX51" fmla="*/ 1041400 w 1323975"/>
                  <a:gd name="connsiteY51" fmla="*/ 1498600 h 1574800"/>
                  <a:gd name="connsiteX52" fmla="*/ 1019175 w 1323975"/>
                  <a:gd name="connsiteY52" fmla="*/ 1524000 h 1574800"/>
                  <a:gd name="connsiteX53" fmla="*/ 1047750 w 1323975"/>
                  <a:gd name="connsiteY53" fmla="*/ 1574800 h 1574800"/>
                  <a:gd name="connsiteX54" fmla="*/ 1079500 w 1323975"/>
                  <a:gd name="connsiteY54" fmla="*/ 1571625 h 1574800"/>
                  <a:gd name="connsiteX55" fmla="*/ 1117600 w 1323975"/>
                  <a:gd name="connsiteY55" fmla="*/ 1498600 h 1574800"/>
                  <a:gd name="connsiteX56" fmla="*/ 1104900 w 1323975"/>
                  <a:gd name="connsiteY56" fmla="*/ 1298575 h 1574800"/>
                  <a:gd name="connsiteX57" fmla="*/ 1069975 w 1323975"/>
                  <a:gd name="connsiteY57" fmla="*/ 1311275 h 1574800"/>
                  <a:gd name="connsiteX58" fmla="*/ 1054100 w 1323975"/>
                  <a:gd name="connsiteY58" fmla="*/ 1270000 h 1574800"/>
                  <a:gd name="connsiteX59" fmla="*/ 1114425 w 1323975"/>
                  <a:gd name="connsiteY59" fmla="*/ 1244600 h 1574800"/>
                  <a:gd name="connsiteX60" fmla="*/ 1108075 w 1323975"/>
                  <a:gd name="connsiteY60" fmla="*/ 1165225 h 1574800"/>
                  <a:gd name="connsiteX61" fmla="*/ 1184275 w 1323975"/>
                  <a:gd name="connsiteY61" fmla="*/ 1076325 h 1574800"/>
                  <a:gd name="connsiteX62" fmla="*/ 1146175 w 1323975"/>
                  <a:gd name="connsiteY62" fmla="*/ 1031875 h 1574800"/>
                  <a:gd name="connsiteX63" fmla="*/ 1143000 w 1323975"/>
                  <a:gd name="connsiteY63" fmla="*/ 946150 h 1574800"/>
                  <a:gd name="connsiteX64" fmla="*/ 1209675 w 1323975"/>
                  <a:gd name="connsiteY64" fmla="*/ 974725 h 1574800"/>
                  <a:gd name="connsiteX65" fmla="*/ 1206500 w 1323975"/>
                  <a:gd name="connsiteY65" fmla="*/ 917575 h 1574800"/>
                  <a:gd name="connsiteX66" fmla="*/ 1279525 w 1323975"/>
                  <a:gd name="connsiteY66" fmla="*/ 857250 h 1574800"/>
                  <a:gd name="connsiteX67" fmla="*/ 1320800 w 1323975"/>
                  <a:gd name="connsiteY67" fmla="*/ 800100 h 1574800"/>
                  <a:gd name="connsiteX68" fmla="*/ 1323975 w 1323975"/>
                  <a:gd name="connsiteY68" fmla="*/ 746125 h 1574800"/>
                  <a:gd name="connsiteX69" fmla="*/ 1260475 w 1323975"/>
                  <a:gd name="connsiteY69" fmla="*/ 733425 h 1574800"/>
                  <a:gd name="connsiteX70" fmla="*/ 1244600 w 1323975"/>
                  <a:gd name="connsiteY70" fmla="*/ 711200 h 1574800"/>
                  <a:gd name="connsiteX71" fmla="*/ 1206500 w 1323975"/>
                  <a:gd name="connsiteY71" fmla="*/ 736600 h 1574800"/>
                  <a:gd name="connsiteX72" fmla="*/ 1155700 w 1323975"/>
                  <a:gd name="connsiteY72" fmla="*/ 704850 h 1574800"/>
                  <a:gd name="connsiteX73" fmla="*/ 1092200 w 1323975"/>
                  <a:gd name="connsiteY73" fmla="*/ 784225 h 1574800"/>
                  <a:gd name="connsiteX74" fmla="*/ 1025525 w 1323975"/>
                  <a:gd name="connsiteY74" fmla="*/ 758825 h 1574800"/>
                  <a:gd name="connsiteX75" fmla="*/ 1038225 w 1323975"/>
                  <a:gd name="connsiteY75" fmla="*/ 669925 h 1574800"/>
                  <a:gd name="connsiteX76" fmla="*/ 987425 w 1323975"/>
                  <a:gd name="connsiteY76" fmla="*/ 666750 h 1574800"/>
                  <a:gd name="connsiteX77" fmla="*/ 917575 w 1323975"/>
                  <a:gd name="connsiteY77" fmla="*/ 628650 h 1574800"/>
                  <a:gd name="connsiteX78" fmla="*/ 882650 w 1323975"/>
                  <a:gd name="connsiteY78" fmla="*/ 568325 h 1574800"/>
                  <a:gd name="connsiteX79" fmla="*/ 819150 w 1323975"/>
                  <a:gd name="connsiteY79" fmla="*/ 606425 h 1574800"/>
                  <a:gd name="connsiteX80" fmla="*/ 736600 w 1323975"/>
                  <a:gd name="connsiteY80" fmla="*/ 568325 h 1574800"/>
                  <a:gd name="connsiteX81" fmla="*/ 685800 w 1323975"/>
                  <a:gd name="connsiteY81" fmla="*/ 485775 h 1574800"/>
                  <a:gd name="connsiteX82" fmla="*/ 727075 w 1323975"/>
                  <a:gd name="connsiteY82" fmla="*/ 419100 h 1574800"/>
                  <a:gd name="connsiteX83" fmla="*/ 673100 w 1323975"/>
                  <a:gd name="connsiteY83" fmla="*/ 384175 h 1574800"/>
                  <a:gd name="connsiteX84" fmla="*/ 676275 w 1323975"/>
                  <a:gd name="connsiteY84" fmla="*/ 320675 h 1574800"/>
                  <a:gd name="connsiteX85" fmla="*/ 612775 w 1323975"/>
                  <a:gd name="connsiteY85" fmla="*/ 314325 h 1574800"/>
                  <a:gd name="connsiteX86" fmla="*/ 546100 w 1323975"/>
                  <a:gd name="connsiteY86" fmla="*/ 177800 h 1574800"/>
                  <a:gd name="connsiteX87" fmla="*/ 644525 w 1323975"/>
                  <a:gd name="connsiteY87" fmla="*/ 41275 h 157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323975" h="1574800">
                    <a:moveTo>
                      <a:pt x="644525" y="41275"/>
                    </a:moveTo>
                    <a:lnTo>
                      <a:pt x="590550" y="34925"/>
                    </a:lnTo>
                    <a:lnTo>
                      <a:pt x="498475" y="79375"/>
                    </a:lnTo>
                    <a:lnTo>
                      <a:pt x="441325" y="50800"/>
                    </a:lnTo>
                    <a:lnTo>
                      <a:pt x="387350" y="57150"/>
                    </a:lnTo>
                    <a:lnTo>
                      <a:pt x="342900" y="0"/>
                    </a:lnTo>
                    <a:lnTo>
                      <a:pt x="307975" y="34925"/>
                    </a:lnTo>
                    <a:lnTo>
                      <a:pt x="231775" y="34925"/>
                    </a:lnTo>
                    <a:lnTo>
                      <a:pt x="187325" y="63500"/>
                    </a:lnTo>
                    <a:lnTo>
                      <a:pt x="184150" y="120650"/>
                    </a:lnTo>
                    <a:lnTo>
                      <a:pt x="136525" y="187325"/>
                    </a:lnTo>
                    <a:lnTo>
                      <a:pt x="139700" y="222250"/>
                    </a:lnTo>
                    <a:lnTo>
                      <a:pt x="174625" y="219075"/>
                    </a:lnTo>
                    <a:lnTo>
                      <a:pt x="231775" y="333375"/>
                    </a:lnTo>
                    <a:lnTo>
                      <a:pt x="139700" y="377825"/>
                    </a:lnTo>
                    <a:lnTo>
                      <a:pt x="114300" y="450850"/>
                    </a:lnTo>
                    <a:lnTo>
                      <a:pt x="69850" y="374650"/>
                    </a:lnTo>
                    <a:lnTo>
                      <a:pt x="0" y="381000"/>
                    </a:lnTo>
                    <a:lnTo>
                      <a:pt x="6350" y="409575"/>
                    </a:lnTo>
                    <a:lnTo>
                      <a:pt x="53975" y="473075"/>
                    </a:lnTo>
                    <a:lnTo>
                      <a:pt x="76200" y="530225"/>
                    </a:lnTo>
                    <a:lnTo>
                      <a:pt x="107950" y="523875"/>
                    </a:lnTo>
                    <a:lnTo>
                      <a:pt x="184150" y="641350"/>
                    </a:lnTo>
                    <a:lnTo>
                      <a:pt x="184150" y="669925"/>
                    </a:lnTo>
                    <a:lnTo>
                      <a:pt x="279400" y="819150"/>
                    </a:lnTo>
                    <a:lnTo>
                      <a:pt x="349250" y="819150"/>
                    </a:lnTo>
                    <a:lnTo>
                      <a:pt x="396875" y="806450"/>
                    </a:lnTo>
                    <a:lnTo>
                      <a:pt x="511175" y="863600"/>
                    </a:lnTo>
                    <a:lnTo>
                      <a:pt x="622300" y="923925"/>
                    </a:lnTo>
                    <a:lnTo>
                      <a:pt x="685800" y="949325"/>
                    </a:lnTo>
                    <a:lnTo>
                      <a:pt x="711200" y="1025525"/>
                    </a:lnTo>
                    <a:lnTo>
                      <a:pt x="695325" y="1101725"/>
                    </a:lnTo>
                    <a:lnTo>
                      <a:pt x="619125" y="1177925"/>
                    </a:lnTo>
                    <a:lnTo>
                      <a:pt x="542925" y="1235075"/>
                    </a:lnTo>
                    <a:lnTo>
                      <a:pt x="558800" y="1282700"/>
                    </a:lnTo>
                    <a:lnTo>
                      <a:pt x="546100" y="1314450"/>
                    </a:lnTo>
                    <a:lnTo>
                      <a:pt x="581025" y="1333500"/>
                    </a:lnTo>
                    <a:lnTo>
                      <a:pt x="669925" y="1330325"/>
                    </a:lnTo>
                    <a:lnTo>
                      <a:pt x="704850" y="1365250"/>
                    </a:lnTo>
                    <a:lnTo>
                      <a:pt x="714375" y="1270000"/>
                    </a:lnTo>
                    <a:lnTo>
                      <a:pt x="714375" y="1270000"/>
                    </a:lnTo>
                    <a:lnTo>
                      <a:pt x="774700" y="1346200"/>
                    </a:lnTo>
                    <a:lnTo>
                      <a:pt x="825500" y="1397000"/>
                    </a:lnTo>
                    <a:lnTo>
                      <a:pt x="784225" y="1431925"/>
                    </a:lnTo>
                    <a:lnTo>
                      <a:pt x="850900" y="1444625"/>
                    </a:lnTo>
                    <a:lnTo>
                      <a:pt x="879475" y="1473200"/>
                    </a:lnTo>
                    <a:lnTo>
                      <a:pt x="917575" y="1425575"/>
                    </a:lnTo>
                    <a:lnTo>
                      <a:pt x="917575" y="1425575"/>
                    </a:lnTo>
                    <a:lnTo>
                      <a:pt x="971550" y="1447800"/>
                    </a:lnTo>
                    <a:lnTo>
                      <a:pt x="1019175" y="1425575"/>
                    </a:lnTo>
                    <a:lnTo>
                      <a:pt x="1047750" y="1450975"/>
                    </a:lnTo>
                    <a:lnTo>
                      <a:pt x="1041400" y="1498600"/>
                    </a:lnTo>
                    <a:lnTo>
                      <a:pt x="1019175" y="1524000"/>
                    </a:lnTo>
                    <a:lnTo>
                      <a:pt x="1047750" y="1574800"/>
                    </a:lnTo>
                    <a:lnTo>
                      <a:pt x="1079500" y="1571625"/>
                    </a:lnTo>
                    <a:lnTo>
                      <a:pt x="1117600" y="1498600"/>
                    </a:lnTo>
                    <a:lnTo>
                      <a:pt x="1104900" y="1298575"/>
                    </a:lnTo>
                    <a:lnTo>
                      <a:pt x="1069975" y="1311275"/>
                    </a:lnTo>
                    <a:lnTo>
                      <a:pt x="1054100" y="1270000"/>
                    </a:lnTo>
                    <a:lnTo>
                      <a:pt x="1114425" y="1244600"/>
                    </a:lnTo>
                    <a:lnTo>
                      <a:pt x="1108075" y="1165225"/>
                    </a:lnTo>
                    <a:lnTo>
                      <a:pt x="1184275" y="1076325"/>
                    </a:lnTo>
                    <a:lnTo>
                      <a:pt x="1146175" y="1031875"/>
                    </a:lnTo>
                    <a:lnTo>
                      <a:pt x="1143000" y="946150"/>
                    </a:lnTo>
                    <a:lnTo>
                      <a:pt x="1209675" y="974725"/>
                    </a:lnTo>
                    <a:lnTo>
                      <a:pt x="1206500" y="917575"/>
                    </a:lnTo>
                    <a:lnTo>
                      <a:pt x="1279525" y="857250"/>
                    </a:lnTo>
                    <a:lnTo>
                      <a:pt x="1320800" y="800100"/>
                    </a:lnTo>
                    <a:lnTo>
                      <a:pt x="1323975" y="746125"/>
                    </a:lnTo>
                    <a:lnTo>
                      <a:pt x="1260475" y="733425"/>
                    </a:lnTo>
                    <a:lnTo>
                      <a:pt x="1244600" y="711200"/>
                    </a:lnTo>
                    <a:lnTo>
                      <a:pt x="1206500" y="736600"/>
                    </a:lnTo>
                    <a:lnTo>
                      <a:pt x="1155700" y="704850"/>
                    </a:lnTo>
                    <a:lnTo>
                      <a:pt x="1092200" y="784225"/>
                    </a:lnTo>
                    <a:lnTo>
                      <a:pt x="1025525" y="758825"/>
                    </a:lnTo>
                    <a:lnTo>
                      <a:pt x="1038225" y="669925"/>
                    </a:lnTo>
                    <a:lnTo>
                      <a:pt x="987425" y="666750"/>
                    </a:lnTo>
                    <a:lnTo>
                      <a:pt x="917575" y="628650"/>
                    </a:lnTo>
                    <a:lnTo>
                      <a:pt x="882650" y="568325"/>
                    </a:lnTo>
                    <a:lnTo>
                      <a:pt x="819150" y="606425"/>
                    </a:lnTo>
                    <a:lnTo>
                      <a:pt x="736600" y="568325"/>
                    </a:lnTo>
                    <a:lnTo>
                      <a:pt x="685800" y="485775"/>
                    </a:lnTo>
                    <a:lnTo>
                      <a:pt x="727075" y="419100"/>
                    </a:lnTo>
                    <a:lnTo>
                      <a:pt x="673100" y="384175"/>
                    </a:lnTo>
                    <a:lnTo>
                      <a:pt x="676275" y="320675"/>
                    </a:lnTo>
                    <a:lnTo>
                      <a:pt x="612775" y="314325"/>
                    </a:lnTo>
                    <a:lnTo>
                      <a:pt x="546100" y="177800"/>
                    </a:lnTo>
                    <a:lnTo>
                      <a:pt x="644525" y="4127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42" name="Forma libre 23"/>
              <p:cNvSpPr/>
              <p:nvPr/>
            </p:nvSpPr>
            <p:spPr>
              <a:xfrm>
                <a:off x="1241553" y="6577922"/>
                <a:ext cx="96884" cy="96336"/>
              </a:xfrm>
              <a:custGeom>
                <a:avLst/>
                <a:gdLst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84200 w 657225"/>
                  <a:gd name="connsiteY2" fmla="*/ 4349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7465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84200 w 657225"/>
                  <a:gd name="connsiteY2" fmla="*/ 4349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222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699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5775 w 657225"/>
                  <a:gd name="connsiteY3" fmla="*/ 504825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69900 w 657225"/>
                  <a:gd name="connsiteY3" fmla="*/ 51435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2600 w 657225"/>
                  <a:gd name="connsiteY3" fmla="*/ 51435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2600 w 657225"/>
                  <a:gd name="connsiteY3" fmla="*/ 51435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571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47700 w 647700"/>
                  <a:gd name="connsiteY0" fmla="*/ 288925 h 609600"/>
                  <a:gd name="connsiteX1" fmla="*/ 644525 w 647700"/>
                  <a:gd name="connsiteY1" fmla="*/ 355600 h 609600"/>
                  <a:gd name="connsiteX2" fmla="*/ 565150 w 647700"/>
                  <a:gd name="connsiteY2" fmla="*/ 434975 h 609600"/>
                  <a:gd name="connsiteX3" fmla="*/ 473075 w 647700"/>
                  <a:gd name="connsiteY3" fmla="*/ 514350 h 609600"/>
                  <a:gd name="connsiteX4" fmla="*/ 492125 w 647700"/>
                  <a:gd name="connsiteY4" fmla="*/ 533400 h 609600"/>
                  <a:gd name="connsiteX5" fmla="*/ 488950 w 647700"/>
                  <a:gd name="connsiteY5" fmla="*/ 561975 h 609600"/>
                  <a:gd name="connsiteX6" fmla="*/ 415925 w 647700"/>
                  <a:gd name="connsiteY6" fmla="*/ 558800 h 609600"/>
                  <a:gd name="connsiteX7" fmla="*/ 384175 w 647700"/>
                  <a:gd name="connsiteY7" fmla="*/ 549275 h 609600"/>
                  <a:gd name="connsiteX8" fmla="*/ 374650 w 647700"/>
                  <a:gd name="connsiteY8" fmla="*/ 574675 h 609600"/>
                  <a:gd name="connsiteX9" fmla="*/ 307975 w 647700"/>
                  <a:gd name="connsiteY9" fmla="*/ 536575 h 609600"/>
                  <a:gd name="connsiteX10" fmla="*/ 196850 w 647700"/>
                  <a:gd name="connsiteY10" fmla="*/ 581025 h 609600"/>
                  <a:gd name="connsiteX11" fmla="*/ 168275 w 647700"/>
                  <a:gd name="connsiteY11" fmla="*/ 546100 h 609600"/>
                  <a:gd name="connsiteX12" fmla="*/ 142875 w 647700"/>
                  <a:gd name="connsiteY12" fmla="*/ 609600 h 609600"/>
                  <a:gd name="connsiteX13" fmla="*/ 107950 w 647700"/>
                  <a:gd name="connsiteY13" fmla="*/ 590550 h 609600"/>
                  <a:gd name="connsiteX14" fmla="*/ 104775 w 647700"/>
                  <a:gd name="connsiteY14" fmla="*/ 561975 h 609600"/>
                  <a:gd name="connsiteX15" fmla="*/ 130175 w 647700"/>
                  <a:gd name="connsiteY15" fmla="*/ 542925 h 609600"/>
                  <a:gd name="connsiteX16" fmla="*/ 107950 w 647700"/>
                  <a:gd name="connsiteY16" fmla="*/ 485775 h 609600"/>
                  <a:gd name="connsiteX17" fmla="*/ 127000 w 647700"/>
                  <a:gd name="connsiteY17" fmla="*/ 393700 h 609600"/>
                  <a:gd name="connsiteX18" fmla="*/ 34925 w 647700"/>
                  <a:gd name="connsiteY18" fmla="*/ 222250 h 609600"/>
                  <a:gd name="connsiteX19" fmla="*/ 85725 w 647700"/>
                  <a:gd name="connsiteY19" fmla="*/ 203200 h 609600"/>
                  <a:gd name="connsiteX20" fmla="*/ 28575 w 647700"/>
                  <a:gd name="connsiteY20" fmla="*/ 165100 h 609600"/>
                  <a:gd name="connsiteX21" fmla="*/ 0 w 647700"/>
                  <a:gd name="connsiteY21" fmla="*/ 44450 h 609600"/>
                  <a:gd name="connsiteX22" fmla="*/ 31750 w 647700"/>
                  <a:gd name="connsiteY22" fmla="*/ 0 h 609600"/>
                  <a:gd name="connsiteX23" fmla="*/ 34925 w 647700"/>
                  <a:gd name="connsiteY23" fmla="*/ 47625 h 609600"/>
                  <a:gd name="connsiteX24" fmla="*/ 168275 w 647700"/>
                  <a:gd name="connsiteY24" fmla="*/ 117475 h 609600"/>
                  <a:gd name="connsiteX25" fmla="*/ 358775 w 647700"/>
                  <a:gd name="connsiteY25" fmla="*/ 88900 h 609600"/>
                  <a:gd name="connsiteX26" fmla="*/ 622300 w 647700"/>
                  <a:gd name="connsiteY26" fmla="*/ 215900 h 609600"/>
                  <a:gd name="connsiteX27" fmla="*/ 647700 w 647700"/>
                  <a:gd name="connsiteY27" fmla="*/ 288925 h 60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7700" h="609600">
                    <a:moveTo>
                      <a:pt x="647700" y="288925"/>
                    </a:moveTo>
                    <a:lnTo>
                      <a:pt x="644525" y="355600"/>
                    </a:lnTo>
                    <a:lnTo>
                      <a:pt x="565150" y="434975"/>
                    </a:lnTo>
                    <a:lnTo>
                      <a:pt x="473075" y="514350"/>
                    </a:lnTo>
                    <a:lnTo>
                      <a:pt x="492125" y="533400"/>
                    </a:lnTo>
                    <a:lnTo>
                      <a:pt x="488950" y="561975"/>
                    </a:lnTo>
                    <a:lnTo>
                      <a:pt x="415925" y="558800"/>
                    </a:lnTo>
                    <a:lnTo>
                      <a:pt x="384175" y="549275"/>
                    </a:lnTo>
                    <a:lnTo>
                      <a:pt x="374650" y="574675"/>
                    </a:lnTo>
                    <a:lnTo>
                      <a:pt x="307975" y="536575"/>
                    </a:lnTo>
                    <a:lnTo>
                      <a:pt x="196850" y="581025"/>
                    </a:lnTo>
                    <a:lnTo>
                      <a:pt x="168275" y="546100"/>
                    </a:lnTo>
                    <a:lnTo>
                      <a:pt x="142875" y="609600"/>
                    </a:lnTo>
                    <a:lnTo>
                      <a:pt x="107950" y="590550"/>
                    </a:lnTo>
                    <a:lnTo>
                      <a:pt x="104775" y="561975"/>
                    </a:lnTo>
                    <a:lnTo>
                      <a:pt x="130175" y="542925"/>
                    </a:lnTo>
                    <a:lnTo>
                      <a:pt x="107950" y="485775"/>
                    </a:lnTo>
                    <a:lnTo>
                      <a:pt x="127000" y="393700"/>
                    </a:lnTo>
                    <a:lnTo>
                      <a:pt x="34925" y="222250"/>
                    </a:lnTo>
                    <a:lnTo>
                      <a:pt x="85725" y="203200"/>
                    </a:lnTo>
                    <a:lnTo>
                      <a:pt x="28575" y="165100"/>
                    </a:lnTo>
                    <a:lnTo>
                      <a:pt x="0" y="44450"/>
                    </a:lnTo>
                    <a:lnTo>
                      <a:pt x="31750" y="0"/>
                    </a:lnTo>
                    <a:lnTo>
                      <a:pt x="34925" y="47625"/>
                    </a:lnTo>
                    <a:lnTo>
                      <a:pt x="168275" y="117475"/>
                    </a:lnTo>
                    <a:lnTo>
                      <a:pt x="358775" y="88900"/>
                    </a:lnTo>
                    <a:lnTo>
                      <a:pt x="622300" y="215900"/>
                    </a:lnTo>
                    <a:lnTo>
                      <a:pt x="647700" y="28892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Forma libre 24"/>
              <p:cNvSpPr/>
              <p:nvPr/>
            </p:nvSpPr>
            <p:spPr>
              <a:xfrm>
                <a:off x="1173164" y="6665226"/>
                <a:ext cx="237460" cy="155040"/>
              </a:xfrm>
              <a:custGeom>
                <a:avLst/>
                <a:gdLst>
                  <a:gd name="connsiteX0" fmla="*/ 0 w 1574800"/>
                  <a:gd name="connsiteY0" fmla="*/ 301625 h 981075"/>
                  <a:gd name="connsiteX1" fmla="*/ 88900 w 1574800"/>
                  <a:gd name="connsiteY1" fmla="*/ 346075 h 981075"/>
                  <a:gd name="connsiteX2" fmla="*/ 209550 w 1574800"/>
                  <a:gd name="connsiteY2" fmla="*/ 396875 h 981075"/>
                  <a:gd name="connsiteX3" fmla="*/ 215900 w 1574800"/>
                  <a:gd name="connsiteY3" fmla="*/ 431800 h 981075"/>
                  <a:gd name="connsiteX4" fmla="*/ 285750 w 1574800"/>
                  <a:gd name="connsiteY4" fmla="*/ 444500 h 981075"/>
                  <a:gd name="connsiteX5" fmla="*/ 377825 w 1574800"/>
                  <a:gd name="connsiteY5" fmla="*/ 498475 h 981075"/>
                  <a:gd name="connsiteX6" fmla="*/ 498475 w 1574800"/>
                  <a:gd name="connsiteY6" fmla="*/ 590550 h 981075"/>
                  <a:gd name="connsiteX7" fmla="*/ 638175 w 1574800"/>
                  <a:gd name="connsiteY7" fmla="*/ 622300 h 981075"/>
                  <a:gd name="connsiteX8" fmla="*/ 660400 w 1574800"/>
                  <a:gd name="connsiteY8" fmla="*/ 660400 h 981075"/>
                  <a:gd name="connsiteX9" fmla="*/ 711200 w 1574800"/>
                  <a:gd name="connsiteY9" fmla="*/ 660400 h 981075"/>
                  <a:gd name="connsiteX10" fmla="*/ 790575 w 1574800"/>
                  <a:gd name="connsiteY10" fmla="*/ 698500 h 981075"/>
                  <a:gd name="connsiteX11" fmla="*/ 844550 w 1574800"/>
                  <a:gd name="connsiteY11" fmla="*/ 749300 h 981075"/>
                  <a:gd name="connsiteX12" fmla="*/ 974725 w 1574800"/>
                  <a:gd name="connsiteY12" fmla="*/ 762000 h 981075"/>
                  <a:gd name="connsiteX13" fmla="*/ 1031875 w 1574800"/>
                  <a:gd name="connsiteY13" fmla="*/ 828675 h 981075"/>
                  <a:gd name="connsiteX14" fmla="*/ 1108075 w 1574800"/>
                  <a:gd name="connsiteY14" fmla="*/ 882650 h 981075"/>
                  <a:gd name="connsiteX15" fmla="*/ 1193800 w 1574800"/>
                  <a:gd name="connsiteY15" fmla="*/ 936625 h 981075"/>
                  <a:gd name="connsiteX16" fmla="*/ 1323975 w 1574800"/>
                  <a:gd name="connsiteY16" fmla="*/ 981075 h 981075"/>
                  <a:gd name="connsiteX17" fmla="*/ 1387475 w 1574800"/>
                  <a:gd name="connsiteY17" fmla="*/ 911225 h 981075"/>
                  <a:gd name="connsiteX18" fmla="*/ 1374775 w 1574800"/>
                  <a:gd name="connsiteY18" fmla="*/ 879475 h 981075"/>
                  <a:gd name="connsiteX19" fmla="*/ 1339850 w 1574800"/>
                  <a:gd name="connsiteY19" fmla="*/ 854075 h 981075"/>
                  <a:gd name="connsiteX20" fmla="*/ 1339850 w 1574800"/>
                  <a:gd name="connsiteY20" fmla="*/ 793750 h 981075"/>
                  <a:gd name="connsiteX21" fmla="*/ 1362075 w 1574800"/>
                  <a:gd name="connsiteY21" fmla="*/ 762000 h 981075"/>
                  <a:gd name="connsiteX22" fmla="*/ 1390650 w 1574800"/>
                  <a:gd name="connsiteY22" fmla="*/ 784225 h 981075"/>
                  <a:gd name="connsiteX23" fmla="*/ 1416050 w 1574800"/>
                  <a:gd name="connsiteY23" fmla="*/ 669925 h 981075"/>
                  <a:gd name="connsiteX24" fmla="*/ 1479550 w 1574800"/>
                  <a:gd name="connsiteY24" fmla="*/ 669925 h 981075"/>
                  <a:gd name="connsiteX25" fmla="*/ 1504950 w 1574800"/>
                  <a:gd name="connsiteY25" fmla="*/ 688975 h 981075"/>
                  <a:gd name="connsiteX26" fmla="*/ 1511300 w 1574800"/>
                  <a:gd name="connsiteY26" fmla="*/ 657225 h 981075"/>
                  <a:gd name="connsiteX27" fmla="*/ 1508125 w 1574800"/>
                  <a:gd name="connsiteY27" fmla="*/ 609600 h 981075"/>
                  <a:gd name="connsiteX28" fmla="*/ 1562100 w 1574800"/>
                  <a:gd name="connsiteY28" fmla="*/ 590550 h 981075"/>
                  <a:gd name="connsiteX29" fmla="*/ 1539875 w 1574800"/>
                  <a:gd name="connsiteY29" fmla="*/ 533400 h 981075"/>
                  <a:gd name="connsiteX30" fmla="*/ 1574800 w 1574800"/>
                  <a:gd name="connsiteY30" fmla="*/ 511175 h 981075"/>
                  <a:gd name="connsiteX31" fmla="*/ 1520825 w 1574800"/>
                  <a:gd name="connsiteY31" fmla="*/ 403225 h 981075"/>
                  <a:gd name="connsiteX32" fmla="*/ 1533525 w 1574800"/>
                  <a:gd name="connsiteY32" fmla="*/ 371475 h 981075"/>
                  <a:gd name="connsiteX33" fmla="*/ 1479550 w 1574800"/>
                  <a:gd name="connsiteY33" fmla="*/ 307975 h 981075"/>
                  <a:gd name="connsiteX34" fmla="*/ 1435100 w 1574800"/>
                  <a:gd name="connsiteY34" fmla="*/ 292100 h 981075"/>
                  <a:gd name="connsiteX35" fmla="*/ 1406525 w 1574800"/>
                  <a:gd name="connsiteY35" fmla="*/ 241300 h 981075"/>
                  <a:gd name="connsiteX36" fmla="*/ 1438275 w 1574800"/>
                  <a:gd name="connsiteY36" fmla="*/ 187325 h 981075"/>
                  <a:gd name="connsiteX37" fmla="*/ 1419225 w 1574800"/>
                  <a:gd name="connsiteY37" fmla="*/ 149225 h 981075"/>
                  <a:gd name="connsiteX38" fmla="*/ 1374775 w 1574800"/>
                  <a:gd name="connsiteY38" fmla="*/ 171450 h 981075"/>
                  <a:gd name="connsiteX39" fmla="*/ 1327150 w 1574800"/>
                  <a:gd name="connsiteY39" fmla="*/ 149225 h 981075"/>
                  <a:gd name="connsiteX40" fmla="*/ 1276350 w 1574800"/>
                  <a:gd name="connsiteY40" fmla="*/ 200025 h 981075"/>
                  <a:gd name="connsiteX41" fmla="*/ 1247775 w 1574800"/>
                  <a:gd name="connsiteY41" fmla="*/ 168275 h 981075"/>
                  <a:gd name="connsiteX42" fmla="*/ 1162050 w 1574800"/>
                  <a:gd name="connsiteY42" fmla="*/ 152400 h 981075"/>
                  <a:gd name="connsiteX43" fmla="*/ 1203325 w 1574800"/>
                  <a:gd name="connsiteY43" fmla="*/ 111125 h 981075"/>
                  <a:gd name="connsiteX44" fmla="*/ 1120775 w 1574800"/>
                  <a:gd name="connsiteY44" fmla="*/ 0 h 981075"/>
                  <a:gd name="connsiteX45" fmla="*/ 1114425 w 1574800"/>
                  <a:gd name="connsiteY45" fmla="*/ 95250 h 981075"/>
                  <a:gd name="connsiteX46" fmla="*/ 1057275 w 1574800"/>
                  <a:gd name="connsiteY46" fmla="*/ 60325 h 981075"/>
                  <a:gd name="connsiteX47" fmla="*/ 958850 w 1574800"/>
                  <a:gd name="connsiteY47" fmla="*/ 60325 h 981075"/>
                  <a:gd name="connsiteX48" fmla="*/ 911225 w 1574800"/>
                  <a:gd name="connsiteY48" fmla="*/ 22225 h 981075"/>
                  <a:gd name="connsiteX49" fmla="*/ 831850 w 1574800"/>
                  <a:gd name="connsiteY49" fmla="*/ 12700 h 981075"/>
                  <a:gd name="connsiteX50" fmla="*/ 812800 w 1574800"/>
                  <a:gd name="connsiteY50" fmla="*/ 47625 h 981075"/>
                  <a:gd name="connsiteX51" fmla="*/ 762000 w 1574800"/>
                  <a:gd name="connsiteY51" fmla="*/ 57150 h 981075"/>
                  <a:gd name="connsiteX52" fmla="*/ 762000 w 1574800"/>
                  <a:gd name="connsiteY52" fmla="*/ 57150 h 981075"/>
                  <a:gd name="connsiteX53" fmla="*/ 765175 w 1574800"/>
                  <a:gd name="connsiteY53" fmla="*/ 123825 h 981075"/>
                  <a:gd name="connsiteX54" fmla="*/ 758825 w 1574800"/>
                  <a:gd name="connsiteY54" fmla="*/ 177800 h 981075"/>
                  <a:gd name="connsiteX55" fmla="*/ 692150 w 1574800"/>
                  <a:gd name="connsiteY55" fmla="*/ 247650 h 981075"/>
                  <a:gd name="connsiteX56" fmla="*/ 660400 w 1574800"/>
                  <a:gd name="connsiteY56" fmla="*/ 247650 h 981075"/>
                  <a:gd name="connsiteX57" fmla="*/ 654050 w 1574800"/>
                  <a:gd name="connsiteY57" fmla="*/ 295275 h 981075"/>
                  <a:gd name="connsiteX58" fmla="*/ 581025 w 1574800"/>
                  <a:gd name="connsiteY58" fmla="*/ 279400 h 981075"/>
                  <a:gd name="connsiteX59" fmla="*/ 492125 w 1574800"/>
                  <a:gd name="connsiteY59" fmla="*/ 301625 h 981075"/>
                  <a:gd name="connsiteX60" fmla="*/ 450850 w 1574800"/>
                  <a:gd name="connsiteY60" fmla="*/ 257175 h 981075"/>
                  <a:gd name="connsiteX61" fmla="*/ 346075 w 1574800"/>
                  <a:gd name="connsiteY61" fmla="*/ 377825 h 981075"/>
                  <a:gd name="connsiteX62" fmla="*/ 349250 w 1574800"/>
                  <a:gd name="connsiteY62" fmla="*/ 288925 h 981075"/>
                  <a:gd name="connsiteX63" fmla="*/ 301625 w 1574800"/>
                  <a:gd name="connsiteY63" fmla="*/ 320675 h 981075"/>
                  <a:gd name="connsiteX64" fmla="*/ 247650 w 1574800"/>
                  <a:gd name="connsiteY64" fmla="*/ 311150 h 981075"/>
                  <a:gd name="connsiteX65" fmla="*/ 244475 w 1574800"/>
                  <a:gd name="connsiteY65" fmla="*/ 244475 h 981075"/>
                  <a:gd name="connsiteX66" fmla="*/ 203200 w 1574800"/>
                  <a:gd name="connsiteY66" fmla="*/ 247650 h 981075"/>
                  <a:gd name="connsiteX67" fmla="*/ 219075 w 1574800"/>
                  <a:gd name="connsiteY67" fmla="*/ 209550 h 981075"/>
                  <a:gd name="connsiteX68" fmla="*/ 82550 w 1574800"/>
                  <a:gd name="connsiteY68" fmla="*/ 174625 h 981075"/>
                  <a:gd name="connsiteX69" fmla="*/ 31750 w 1574800"/>
                  <a:gd name="connsiteY69" fmla="*/ 206375 h 981075"/>
                  <a:gd name="connsiteX70" fmla="*/ 0 w 1574800"/>
                  <a:gd name="connsiteY70" fmla="*/ 301625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74700 w 1587500"/>
                  <a:gd name="connsiteY52" fmla="*/ 57150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04850 w 1587500"/>
                  <a:gd name="connsiteY55" fmla="*/ 247650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58775 w 1587500"/>
                  <a:gd name="connsiteY61" fmla="*/ 37782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74700 w 1587500"/>
                  <a:gd name="connsiteY52" fmla="*/ 57150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04850 w 1587500"/>
                  <a:gd name="connsiteY55" fmla="*/ 247650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74700 w 1587500"/>
                  <a:gd name="connsiteY52" fmla="*/ 57150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17550 w 1587500"/>
                  <a:gd name="connsiteY55" fmla="*/ 225425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62000 w 1587500"/>
                  <a:gd name="connsiteY52" fmla="*/ 79375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17550 w 1587500"/>
                  <a:gd name="connsiteY55" fmla="*/ 225425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90575 w 1587500"/>
                  <a:gd name="connsiteY51" fmla="*/ 50800 h 981075"/>
                  <a:gd name="connsiteX52" fmla="*/ 762000 w 1587500"/>
                  <a:gd name="connsiteY52" fmla="*/ 79375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17550 w 1587500"/>
                  <a:gd name="connsiteY55" fmla="*/ 225425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1587500" h="981075">
                    <a:moveTo>
                      <a:pt x="0" y="298450"/>
                    </a:moveTo>
                    <a:lnTo>
                      <a:pt x="101600" y="346075"/>
                    </a:lnTo>
                    <a:lnTo>
                      <a:pt x="222250" y="396875"/>
                    </a:lnTo>
                    <a:lnTo>
                      <a:pt x="228600" y="431800"/>
                    </a:lnTo>
                    <a:lnTo>
                      <a:pt x="298450" y="444500"/>
                    </a:lnTo>
                    <a:lnTo>
                      <a:pt x="390525" y="498475"/>
                    </a:lnTo>
                    <a:lnTo>
                      <a:pt x="511175" y="590550"/>
                    </a:lnTo>
                    <a:lnTo>
                      <a:pt x="650875" y="622300"/>
                    </a:lnTo>
                    <a:lnTo>
                      <a:pt x="673100" y="660400"/>
                    </a:lnTo>
                    <a:lnTo>
                      <a:pt x="723900" y="660400"/>
                    </a:lnTo>
                    <a:lnTo>
                      <a:pt x="803275" y="698500"/>
                    </a:lnTo>
                    <a:lnTo>
                      <a:pt x="857250" y="749300"/>
                    </a:lnTo>
                    <a:lnTo>
                      <a:pt x="987425" y="762000"/>
                    </a:lnTo>
                    <a:lnTo>
                      <a:pt x="1044575" y="828675"/>
                    </a:lnTo>
                    <a:lnTo>
                      <a:pt x="1120775" y="882650"/>
                    </a:lnTo>
                    <a:lnTo>
                      <a:pt x="1206500" y="936625"/>
                    </a:lnTo>
                    <a:lnTo>
                      <a:pt x="1336675" y="981075"/>
                    </a:lnTo>
                    <a:lnTo>
                      <a:pt x="1400175" y="911225"/>
                    </a:lnTo>
                    <a:lnTo>
                      <a:pt x="1387475" y="879475"/>
                    </a:lnTo>
                    <a:lnTo>
                      <a:pt x="1352550" y="854075"/>
                    </a:lnTo>
                    <a:lnTo>
                      <a:pt x="1352550" y="793750"/>
                    </a:lnTo>
                    <a:lnTo>
                      <a:pt x="1374775" y="762000"/>
                    </a:lnTo>
                    <a:lnTo>
                      <a:pt x="1403350" y="784225"/>
                    </a:lnTo>
                    <a:lnTo>
                      <a:pt x="1428750" y="669925"/>
                    </a:lnTo>
                    <a:lnTo>
                      <a:pt x="1492250" y="669925"/>
                    </a:lnTo>
                    <a:lnTo>
                      <a:pt x="1517650" y="688975"/>
                    </a:lnTo>
                    <a:lnTo>
                      <a:pt x="1524000" y="657225"/>
                    </a:lnTo>
                    <a:lnTo>
                      <a:pt x="1520825" y="609600"/>
                    </a:lnTo>
                    <a:lnTo>
                      <a:pt x="1574800" y="590550"/>
                    </a:lnTo>
                    <a:lnTo>
                      <a:pt x="1552575" y="533400"/>
                    </a:lnTo>
                    <a:lnTo>
                      <a:pt x="1587500" y="511175"/>
                    </a:lnTo>
                    <a:lnTo>
                      <a:pt x="1533525" y="403225"/>
                    </a:lnTo>
                    <a:lnTo>
                      <a:pt x="1546225" y="371475"/>
                    </a:lnTo>
                    <a:lnTo>
                      <a:pt x="1492250" y="307975"/>
                    </a:lnTo>
                    <a:lnTo>
                      <a:pt x="1447800" y="292100"/>
                    </a:lnTo>
                    <a:lnTo>
                      <a:pt x="1419225" y="241300"/>
                    </a:lnTo>
                    <a:lnTo>
                      <a:pt x="1450975" y="187325"/>
                    </a:lnTo>
                    <a:lnTo>
                      <a:pt x="1431925" y="149225"/>
                    </a:lnTo>
                    <a:lnTo>
                      <a:pt x="1387475" y="171450"/>
                    </a:lnTo>
                    <a:lnTo>
                      <a:pt x="1339850" y="149225"/>
                    </a:lnTo>
                    <a:lnTo>
                      <a:pt x="1289050" y="200025"/>
                    </a:lnTo>
                    <a:lnTo>
                      <a:pt x="1260475" y="168275"/>
                    </a:lnTo>
                    <a:lnTo>
                      <a:pt x="1174750" y="152400"/>
                    </a:lnTo>
                    <a:lnTo>
                      <a:pt x="1216025" y="111125"/>
                    </a:lnTo>
                    <a:lnTo>
                      <a:pt x="1133475" y="0"/>
                    </a:lnTo>
                    <a:lnTo>
                      <a:pt x="1127125" y="95250"/>
                    </a:lnTo>
                    <a:lnTo>
                      <a:pt x="1069975" y="60325"/>
                    </a:lnTo>
                    <a:lnTo>
                      <a:pt x="971550" y="60325"/>
                    </a:lnTo>
                    <a:lnTo>
                      <a:pt x="923925" y="22225"/>
                    </a:lnTo>
                    <a:lnTo>
                      <a:pt x="844550" y="12700"/>
                    </a:lnTo>
                    <a:lnTo>
                      <a:pt x="825500" y="47625"/>
                    </a:lnTo>
                    <a:cubicBezTo>
                      <a:pt x="808567" y="50800"/>
                      <a:pt x="801158" y="45508"/>
                      <a:pt x="790575" y="50800"/>
                    </a:cubicBezTo>
                    <a:cubicBezTo>
                      <a:pt x="779992" y="56092"/>
                      <a:pt x="764117" y="67204"/>
                      <a:pt x="762000" y="79375"/>
                    </a:cubicBezTo>
                    <a:cubicBezTo>
                      <a:pt x="759883" y="91546"/>
                      <a:pt x="772583" y="109008"/>
                      <a:pt x="777875" y="123825"/>
                    </a:cubicBezTo>
                    <a:lnTo>
                      <a:pt x="771525" y="177800"/>
                    </a:lnTo>
                    <a:lnTo>
                      <a:pt x="717550" y="225425"/>
                    </a:lnTo>
                    <a:lnTo>
                      <a:pt x="673100" y="247650"/>
                    </a:lnTo>
                    <a:lnTo>
                      <a:pt x="666750" y="295275"/>
                    </a:lnTo>
                    <a:lnTo>
                      <a:pt x="593725" y="279400"/>
                    </a:lnTo>
                    <a:lnTo>
                      <a:pt x="504825" y="301625"/>
                    </a:lnTo>
                    <a:lnTo>
                      <a:pt x="463550" y="257175"/>
                    </a:lnTo>
                    <a:lnTo>
                      <a:pt x="368300" y="358775"/>
                    </a:lnTo>
                    <a:lnTo>
                      <a:pt x="361950" y="288925"/>
                    </a:lnTo>
                    <a:lnTo>
                      <a:pt x="314325" y="320675"/>
                    </a:lnTo>
                    <a:lnTo>
                      <a:pt x="260350" y="311150"/>
                    </a:lnTo>
                    <a:lnTo>
                      <a:pt x="257175" y="244475"/>
                    </a:lnTo>
                    <a:lnTo>
                      <a:pt x="215900" y="247650"/>
                    </a:lnTo>
                    <a:lnTo>
                      <a:pt x="231775" y="209550"/>
                    </a:lnTo>
                    <a:lnTo>
                      <a:pt x="95250" y="174625"/>
                    </a:lnTo>
                    <a:lnTo>
                      <a:pt x="44450" y="206375"/>
                    </a:lnTo>
                    <a:lnTo>
                      <a:pt x="0" y="29845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44" name="Forma libre 25"/>
              <p:cNvSpPr/>
              <p:nvPr/>
            </p:nvSpPr>
            <p:spPr>
              <a:xfrm>
                <a:off x="1374531" y="6743499"/>
                <a:ext cx="81686" cy="109381"/>
              </a:xfrm>
              <a:custGeom>
                <a:avLst/>
                <a:gdLst>
                  <a:gd name="connsiteX0" fmla="*/ 117475 w 546100"/>
                  <a:gd name="connsiteY0" fmla="*/ 692150 h 692150"/>
                  <a:gd name="connsiteX1" fmla="*/ 25400 w 546100"/>
                  <a:gd name="connsiteY1" fmla="*/ 644525 h 692150"/>
                  <a:gd name="connsiteX2" fmla="*/ 31750 w 546100"/>
                  <a:gd name="connsiteY2" fmla="*/ 581025 h 692150"/>
                  <a:gd name="connsiteX3" fmla="*/ 0 w 546100"/>
                  <a:gd name="connsiteY3" fmla="*/ 492125 h 692150"/>
                  <a:gd name="connsiteX4" fmla="*/ 66675 w 546100"/>
                  <a:gd name="connsiteY4" fmla="*/ 415925 h 692150"/>
                  <a:gd name="connsiteX5" fmla="*/ 47625 w 546100"/>
                  <a:gd name="connsiteY5" fmla="*/ 368300 h 692150"/>
                  <a:gd name="connsiteX6" fmla="*/ 19050 w 546100"/>
                  <a:gd name="connsiteY6" fmla="*/ 358775 h 692150"/>
                  <a:gd name="connsiteX7" fmla="*/ 22225 w 546100"/>
                  <a:gd name="connsiteY7" fmla="*/ 295275 h 692150"/>
                  <a:gd name="connsiteX8" fmla="*/ 22225 w 546100"/>
                  <a:gd name="connsiteY8" fmla="*/ 295275 h 692150"/>
                  <a:gd name="connsiteX9" fmla="*/ 69850 w 546100"/>
                  <a:gd name="connsiteY9" fmla="*/ 307975 h 692150"/>
                  <a:gd name="connsiteX10" fmla="*/ 88900 w 546100"/>
                  <a:gd name="connsiteY10" fmla="*/ 184150 h 692150"/>
                  <a:gd name="connsiteX11" fmla="*/ 133350 w 546100"/>
                  <a:gd name="connsiteY11" fmla="*/ 187325 h 692150"/>
                  <a:gd name="connsiteX12" fmla="*/ 184150 w 546100"/>
                  <a:gd name="connsiteY12" fmla="*/ 222250 h 692150"/>
                  <a:gd name="connsiteX13" fmla="*/ 190500 w 546100"/>
                  <a:gd name="connsiteY13" fmla="*/ 123825 h 692150"/>
                  <a:gd name="connsiteX14" fmla="*/ 254000 w 546100"/>
                  <a:gd name="connsiteY14" fmla="*/ 98425 h 692150"/>
                  <a:gd name="connsiteX15" fmla="*/ 215900 w 546100"/>
                  <a:gd name="connsiteY15" fmla="*/ 38100 h 692150"/>
                  <a:gd name="connsiteX16" fmla="*/ 295275 w 546100"/>
                  <a:gd name="connsiteY16" fmla="*/ 12700 h 692150"/>
                  <a:gd name="connsiteX17" fmla="*/ 336550 w 546100"/>
                  <a:gd name="connsiteY17" fmla="*/ 0 h 692150"/>
                  <a:gd name="connsiteX18" fmla="*/ 400050 w 546100"/>
                  <a:gd name="connsiteY18" fmla="*/ 41275 h 692150"/>
                  <a:gd name="connsiteX19" fmla="*/ 415925 w 546100"/>
                  <a:gd name="connsiteY19" fmla="*/ 95250 h 692150"/>
                  <a:gd name="connsiteX20" fmla="*/ 412750 w 546100"/>
                  <a:gd name="connsiteY20" fmla="*/ 158750 h 692150"/>
                  <a:gd name="connsiteX21" fmla="*/ 444500 w 546100"/>
                  <a:gd name="connsiteY21" fmla="*/ 193675 h 692150"/>
                  <a:gd name="connsiteX22" fmla="*/ 479425 w 546100"/>
                  <a:gd name="connsiteY22" fmla="*/ 228600 h 692150"/>
                  <a:gd name="connsiteX23" fmla="*/ 546100 w 546100"/>
                  <a:gd name="connsiteY23" fmla="*/ 263525 h 692150"/>
                  <a:gd name="connsiteX24" fmla="*/ 504825 w 546100"/>
                  <a:gd name="connsiteY24" fmla="*/ 358775 h 692150"/>
                  <a:gd name="connsiteX25" fmla="*/ 447675 w 546100"/>
                  <a:gd name="connsiteY25" fmla="*/ 365125 h 692150"/>
                  <a:gd name="connsiteX26" fmla="*/ 450850 w 546100"/>
                  <a:gd name="connsiteY26" fmla="*/ 330200 h 692150"/>
                  <a:gd name="connsiteX27" fmla="*/ 469900 w 546100"/>
                  <a:gd name="connsiteY27" fmla="*/ 304800 h 692150"/>
                  <a:gd name="connsiteX28" fmla="*/ 419100 w 546100"/>
                  <a:gd name="connsiteY28" fmla="*/ 292100 h 692150"/>
                  <a:gd name="connsiteX29" fmla="*/ 371475 w 546100"/>
                  <a:gd name="connsiteY29" fmla="*/ 320675 h 692150"/>
                  <a:gd name="connsiteX30" fmla="*/ 371475 w 546100"/>
                  <a:gd name="connsiteY30" fmla="*/ 406400 h 692150"/>
                  <a:gd name="connsiteX31" fmla="*/ 330200 w 546100"/>
                  <a:gd name="connsiteY31" fmla="*/ 457200 h 692150"/>
                  <a:gd name="connsiteX32" fmla="*/ 279400 w 546100"/>
                  <a:gd name="connsiteY32" fmla="*/ 457200 h 692150"/>
                  <a:gd name="connsiteX33" fmla="*/ 257175 w 546100"/>
                  <a:gd name="connsiteY33" fmla="*/ 536575 h 692150"/>
                  <a:gd name="connsiteX34" fmla="*/ 209550 w 546100"/>
                  <a:gd name="connsiteY34" fmla="*/ 593725 h 692150"/>
                  <a:gd name="connsiteX35" fmla="*/ 200025 w 546100"/>
                  <a:gd name="connsiteY35" fmla="*/ 631825 h 692150"/>
                  <a:gd name="connsiteX36" fmla="*/ 146050 w 546100"/>
                  <a:gd name="connsiteY36" fmla="*/ 638175 h 692150"/>
                  <a:gd name="connsiteX37" fmla="*/ 117475 w 546100"/>
                  <a:gd name="connsiteY37" fmla="*/ 692150 h 692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546100" h="692150">
                    <a:moveTo>
                      <a:pt x="117475" y="692150"/>
                    </a:moveTo>
                    <a:lnTo>
                      <a:pt x="25400" y="644525"/>
                    </a:lnTo>
                    <a:lnTo>
                      <a:pt x="31750" y="581025"/>
                    </a:lnTo>
                    <a:lnTo>
                      <a:pt x="0" y="492125"/>
                    </a:lnTo>
                    <a:lnTo>
                      <a:pt x="66675" y="415925"/>
                    </a:lnTo>
                    <a:lnTo>
                      <a:pt x="47625" y="368300"/>
                    </a:lnTo>
                    <a:lnTo>
                      <a:pt x="19050" y="358775"/>
                    </a:lnTo>
                    <a:lnTo>
                      <a:pt x="22225" y="295275"/>
                    </a:lnTo>
                    <a:lnTo>
                      <a:pt x="22225" y="295275"/>
                    </a:lnTo>
                    <a:lnTo>
                      <a:pt x="69850" y="307975"/>
                    </a:lnTo>
                    <a:lnTo>
                      <a:pt x="88900" y="184150"/>
                    </a:lnTo>
                    <a:lnTo>
                      <a:pt x="133350" y="187325"/>
                    </a:lnTo>
                    <a:lnTo>
                      <a:pt x="184150" y="222250"/>
                    </a:lnTo>
                    <a:lnTo>
                      <a:pt x="190500" y="123825"/>
                    </a:lnTo>
                    <a:lnTo>
                      <a:pt x="254000" y="98425"/>
                    </a:lnTo>
                    <a:lnTo>
                      <a:pt x="215900" y="38100"/>
                    </a:lnTo>
                    <a:lnTo>
                      <a:pt x="295275" y="12700"/>
                    </a:lnTo>
                    <a:lnTo>
                      <a:pt x="336550" y="0"/>
                    </a:lnTo>
                    <a:lnTo>
                      <a:pt x="400050" y="41275"/>
                    </a:lnTo>
                    <a:lnTo>
                      <a:pt x="415925" y="95250"/>
                    </a:lnTo>
                    <a:lnTo>
                      <a:pt x="412750" y="158750"/>
                    </a:lnTo>
                    <a:lnTo>
                      <a:pt x="444500" y="193675"/>
                    </a:lnTo>
                    <a:lnTo>
                      <a:pt x="479425" y="228600"/>
                    </a:lnTo>
                    <a:lnTo>
                      <a:pt x="546100" y="263525"/>
                    </a:lnTo>
                    <a:lnTo>
                      <a:pt x="504825" y="358775"/>
                    </a:lnTo>
                    <a:lnTo>
                      <a:pt x="447675" y="365125"/>
                    </a:lnTo>
                    <a:lnTo>
                      <a:pt x="450850" y="330200"/>
                    </a:lnTo>
                    <a:lnTo>
                      <a:pt x="469900" y="304800"/>
                    </a:lnTo>
                    <a:lnTo>
                      <a:pt x="419100" y="292100"/>
                    </a:lnTo>
                    <a:lnTo>
                      <a:pt x="371475" y="320675"/>
                    </a:lnTo>
                    <a:lnTo>
                      <a:pt x="371475" y="406400"/>
                    </a:lnTo>
                    <a:lnTo>
                      <a:pt x="330200" y="457200"/>
                    </a:lnTo>
                    <a:lnTo>
                      <a:pt x="279400" y="457200"/>
                    </a:lnTo>
                    <a:lnTo>
                      <a:pt x="257175" y="536575"/>
                    </a:lnTo>
                    <a:lnTo>
                      <a:pt x="209550" y="593725"/>
                    </a:lnTo>
                    <a:lnTo>
                      <a:pt x="200025" y="631825"/>
                    </a:lnTo>
                    <a:lnTo>
                      <a:pt x="146050" y="638175"/>
                    </a:lnTo>
                    <a:lnTo>
                      <a:pt x="117475" y="69215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Forma libre 26"/>
              <p:cNvSpPr/>
              <p:nvPr/>
            </p:nvSpPr>
            <p:spPr>
              <a:xfrm>
                <a:off x="1392103" y="6789660"/>
                <a:ext cx="92610" cy="92823"/>
              </a:xfrm>
              <a:custGeom>
                <a:avLst/>
                <a:gdLst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17525 w 619125"/>
                  <a:gd name="connsiteY35" fmla="*/ 323850 h 587375"/>
                  <a:gd name="connsiteX36" fmla="*/ 558800 w 619125"/>
                  <a:gd name="connsiteY36" fmla="*/ 333375 h 587375"/>
                  <a:gd name="connsiteX37" fmla="*/ 619125 w 619125"/>
                  <a:gd name="connsiteY37" fmla="*/ 228600 h 587375"/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17525 w 619125"/>
                  <a:gd name="connsiteY35" fmla="*/ 323850 h 587375"/>
                  <a:gd name="connsiteX36" fmla="*/ 609600 w 619125"/>
                  <a:gd name="connsiteY36" fmla="*/ 314325 h 587375"/>
                  <a:gd name="connsiteX37" fmla="*/ 619125 w 619125"/>
                  <a:gd name="connsiteY37" fmla="*/ 228600 h 587375"/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36575 w 619125"/>
                  <a:gd name="connsiteY35" fmla="*/ 333375 h 587375"/>
                  <a:gd name="connsiteX36" fmla="*/ 609600 w 619125"/>
                  <a:gd name="connsiteY36" fmla="*/ 314325 h 587375"/>
                  <a:gd name="connsiteX37" fmla="*/ 619125 w 619125"/>
                  <a:gd name="connsiteY37" fmla="*/ 228600 h 587375"/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36575 w 619125"/>
                  <a:gd name="connsiteY35" fmla="*/ 333375 h 587375"/>
                  <a:gd name="connsiteX36" fmla="*/ 619125 w 619125"/>
                  <a:gd name="connsiteY36" fmla="*/ 292100 h 587375"/>
                  <a:gd name="connsiteX37" fmla="*/ 619125 w 619125"/>
                  <a:gd name="connsiteY37" fmla="*/ 228600 h 587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19125" h="587375">
                    <a:moveTo>
                      <a:pt x="619125" y="228600"/>
                    </a:moveTo>
                    <a:lnTo>
                      <a:pt x="558800" y="190500"/>
                    </a:lnTo>
                    <a:lnTo>
                      <a:pt x="520700" y="193675"/>
                    </a:lnTo>
                    <a:lnTo>
                      <a:pt x="504825" y="171450"/>
                    </a:lnTo>
                    <a:lnTo>
                      <a:pt x="466725" y="177800"/>
                    </a:lnTo>
                    <a:lnTo>
                      <a:pt x="406400" y="130175"/>
                    </a:lnTo>
                    <a:lnTo>
                      <a:pt x="400050" y="92075"/>
                    </a:lnTo>
                    <a:lnTo>
                      <a:pt x="400050" y="92075"/>
                    </a:lnTo>
                    <a:lnTo>
                      <a:pt x="400050" y="92075"/>
                    </a:lnTo>
                    <a:lnTo>
                      <a:pt x="390525" y="66675"/>
                    </a:lnTo>
                    <a:lnTo>
                      <a:pt x="336550" y="88900"/>
                    </a:lnTo>
                    <a:lnTo>
                      <a:pt x="307975" y="44450"/>
                    </a:lnTo>
                    <a:lnTo>
                      <a:pt x="342900" y="12700"/>
                    </a:lnTo>
                    <a:lnTo>
                      <a:pt x="301625" y="0"/>
                    </a:lnTo>
                    <a:lnTo>
                      <a:pt x="250825" y="31750"/>
                    </a:lnTo>
                    <a:lnTo>
                      <a:pt x="257175" y="107950"/>
                    </a:lnTo>
                    <a:lnTo>
                      <a:pt x="212725" y="168275"/>
                    </a:lnTo>
                    <a:lnTo>
                      <a:pt x="168275" y="161925"/>
                    </a:lnTo>
                    <a:lnTo>
                      <a:pt x="146050" y="241300"/>
                    </a:lnTo>
                    <a:lnTo>
                      <a:pt x="95250" y="301625"/>
                    </a:lnTo>
                    <a:lnTo>
                      <a:pt x="85725" y="352425"/>
                    </a:lnTo>
                    <a:lnTo>
                      <a:pt x="25400" y="352425"/>
                    </a:lnTo>
                    <a:lnTo>
                      <a:pt x="0" y="400050"/>
                    </a:lnTo>
                    <a:lnTo>
                      <a:pt x="34925" y="425450"/>
                    </a:lnTo>
                    <a:lnTo>
                      <a:pt x="73025" y="425450"/>
                    </a:lnTo>
                    <a:lnTo>
                      <a:pt x="95250" y="473075"/>
                    </a:lnTo>
                    <a:lnTo>
                      <a:pt x="180975" y="536575"/>
                    </a:lnTo>
                    <a:lnTo>
                      <a:pt x="282575" y="587375"/>
                    </a:lnTo>
                    <a:lnTo>
                      <a:pt x="330200" y="571500"/>
                    </a:lnTo>
                    <a:lnTo>
                      <a:pt x="361950" y="581025"/>
                    </a:lnTo>
                    <a:lnTo>
                      <a:pt x="412750" y="558800"/>
                    </a:lnTo>
                    <a:lnTo>
                      <a:pt x="447675" y="558800"/>
                    </a:lnTo>
                    <a:lnTo>
                      <a:pt x="492125" y="498475"/>
                    </a:lnTo>
                    <a:lnTo>
                      <a:pt x="514350" y="444500"/>
                    </a:lnTo>
                    <a:lnTo>
                      <a:pt x="495300" y="346075"/>
                    </a:lnTo>
                    <a:lnTo>
                      <a:pt x="536575" y="333375"/>
                    </a:lnTo>
                    <a:lnTo>
                      <a:pt x="619125" y="292100"/>
                    </a:lnTo>
                    <a:lnTo>
                      <a:pt x="619125" y="22860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Forma libre 45"/>
              <p:cNvSpPr/>
              <p:nvPr/>
            </p:nvSpPr>
            <p:spPr>
              <a:xfrm>
                <a:off x="1393263" y="6566883"/>
                <a:ext cx="128492" cy="251878"/>
              </a:xfrm>
              <a:custGeom>
                <a:avLst/>
                <a:gdLst>
                  <a:gd name="connsiteX0" fmla="*/ 831850 w 854075"/>
                  <a:gd name="connsiteY0" fmla="*/ 0 h 1593850"/>
                  <a:gd name="connsiteX1" fmla="*/ 546100 w 854075"/>
                  <a:gd name="connsiteY1" fmla="*/ 133350 h 1593850"/>
                  <a:gd name="connsiteX2" fmla="*/ 269875 w 854075"/>
                  <a:gd name="connsiteY2" fmla="*/ 41275 h 1593850"/>
                  <a:gd name="connsiteX3" fmla="*/ 273050 w 854075"/>
                  <a:gd name="connsiteY3" fmla="*/ 130175 h 1593850"/>
                  <a:gd name="connsiteX4" fmla="*/ 222250 w 854075"/>
                  <a:gd name="connsiteY4" fmla="*/ 203200 h 1593850"/>
                  <a:gd name="connsiteX5" fmla="*/ 155575 w 854075"/>
                  <a:gd name="connsiteY5" fmla="*/ 260350 h 1593850"/>
                  <a:gd name="connsiteX6" fmla="*/ 155575 w 854075"/>
                  <a:gd name="connsiteY6" fmla="*/ 333375 h 1593850"/>
                  <a:gd name="connsiteX7" fmla="*/ 85725 w 854075"/>
                  <a:gd name="connsiteY7" fmla="*/ 292100 h 1593850"/>
                  <a:gd name="connsiteX8" fmla="*/ 92075 w 854075"/>
                  <a:gd name="connsiteY8" fmla="*/ 365125 h 1593850"/>
                  <a:gd name="connsiteX9" fmla="*/ 146050 w 854075"/>
                  <a:gd name="connsiteY9" fmla="*/ 415925 h 1593850"/>
                  <a:gd name="connsiteX10" fmla="*/ 63500 w 854075"/>
                  <a:gd name="connsiteY10" fmla="*/ 504825 h 1593850"/>
                  <a:gd name="connsiteX11" fmla="*/ 66675 w 854075"/>
                  <a:gd name="connsiteY11" fmla="*/ 577850 h 1593850"/>
                  <a:gd name="connsiteX12" fmla="*/ 0 w 854075"/>
                  <a:gd name="connsiteY12" fmla="*/ 615950 h 1593850"/>
                  <a:gd name="connsiteX13" fmla="*/ 0 w 854075"/>
                  <a:gd name="connsiteY13" fmla="*/ 615950 h 1593850"/>
                  <a:gd name="connsiteX14" fmla="*/ 57150 w 854075"/>
                  <a:gd name="connsiteY14" fmla="*/ 635000 h 1593850"/>
                  <a:gd name="connsiteX15" fmla="*/ 66675 w 854075"/>
                  <a:gd name="connsiteY15" fmla="*/ 850900 h 1593850"/>
                  <a:gd name="connsiteX16" fmla="*/ 22225 w 854075"/>
                  <a:gd name="connsiteY16" fmla="*/ 927100 h 1593850"/>
                  <a:gd name="connsiteX17" fmla="*/ 79375 w 854075"/>
                  <a:gd name="connsiteY17" fmla="*/ 981075 h 1593850"/>
                  <a:gd name="connsiteX18" fmla="*/ 69850 w 854075"/>
                  <a:gd name="connsiteY18" fmla="*/ 1022350 h 1593850"/>
                  <a:gd name="connsiteX19" fmla="*/ 117475 w 854075"/>
                  <a:gd name="connsiteY19" fmla="*/ 1130300 h 1593850"/>
                  <a:gd name="connsiteX20" fmla="*/ 209550 w 854075"/>
                  <a:gd name="connsiteY20" fmla="*/ 1104900 h 1593850"/>
                  <a:gd name="connsiteX21" fmla="*/ 282575 w 854075"/>
                  <a:gd name="connsiteY21" fmla="*/ 1149350 h 1593850"/>
                  <a:gd name="connsiteX22" fmla="*/ 298450 w 854075"/>
                  <a:gd name="connsiteY22" fmla="*/ 1206500 h 1593850"/>
                  <a:gd name="connsiteX23" fmla="*/ 298450 w 854075"/>
                  <a:gd name="connsiteY23" fmla="*/ 1270000 h 1593850"/>
                  <a:gd name="connsiteX24" fmla="*/ 358775 w 854075"/>
                  <a:gd name="connsiteY24" fmla="*/ 1333500 h 1593850"/>
                  <a:gd name="connsiteX25" fmla="*/ 428625 w 854075"/>
                  <a:gd name="connsiteY25" fmla="*/ 1371600 h 1593850"/>
                  <a:gd name="connsiteX26" fmla="*/ 390525 w 854075"/>
                  <a:gd name="connsiteY26" fmla="*/ 1470025 h 1593850"/>
                  <a:gd name="connsiteX27" fmla="*/ 409575 w 854075"/>
                  <a:gd name="connsiteY27" fmla="*/ 1539875 h 1593850"/>
                  <a:gd name="connsiteX28" fmla="*/ 466725 w 854075"/>
                  <a:gd name="connsiteY28" fmla="*/ 1574800 h 1593850"/>
                  <a:gd name="connsiteX29" fmla="*/ 495300 w 854075"/>
                  <a:gd name="connsiteY29" fmla="*/ 1565275 h 1593850"/>
                  <a:gd name="connsiteX30" fmla="*/ 520700 w 854075"/>
                  <a:gd name="connsiteY30" fmla="*/ 1593850 h 1593850"/>
                  <a:gd name="connsiteX31" fmla="*/ 561975 w 854075"/>
                  <a:gd name="connsiteY31" fmla="*/ 1587500 h 1593850"/>
                  <a:gd name="connsiteX32" fmla="*/ 635000 w 854075"/>
                  <a:gd name="connsiteY32" fmla="*/ 1524000 h 1593850"/>
                  <a:gd name="connsiteX33" fmla="*/ 733425 w 854075"/>
                  <a:gd name="connsiteY33" fmla="*/ 1400175 h 1593850"/>
                  <a:gd name="connsiteX34" fmla="*/ 774700 w 854075"/>
                  <a:gd name="connsiteY34" fmla="*/ 1377950 h 1593850"/>
                  <a:gd name="connsiteX35" fmla="*/ 762000 w 854075"/>
                  <a:gd name="connsiteY35" fmla="*/ 1304925 h 1593850"/>
                  <a:gd name="connsiteX36" fmla="*/ 774700 w 854075"/>
                  <a:gd name="connsiteY36" fmla="*/ 1235075 h 1593850"/>
                  <a:gd name="connsiteX37" fmla="*/ 812800 w 854075"/>
                  <a:gd name="connsiteY37" fmla="*/ 1206500 h 1593850"/>
                  <a:gd name="connsiteX38" fmla="*/ 768350 w 854075"/>
                  <a:gd name="connsiteY38" fmla="*/ 1203325 h 1593850"/>
                  <a:gd name="connsiteX39" fmla="*/ 669925 w 854075"/>
                  <a:gd name="connsiteY39" fmla="*/ 952500 h 1593850"/>
                  <a:gd name="connsiteX40" fmla="*/ 714375 w 854075"/>
                  <a:gd name="connsiteY40" fmla="*/ 869950 h 1593850"/>
                  <a:gd name="connsiteX41" fmla="*/ 752475 w 854075"/>
                  <a:gd name="connsiteY41" fmla="*/ 841375 h 1593850"/>
                  <a:gd name="connsiteX42" fmla="*/ 676275 w 854075"/>
                  <a:gd name="connsiteY42" fmla="*/ 768350 h 1593850"/>
                  <a:gd name="connsiteX43" fmla="*/ 657225 w 854075"/>
                  <a:gd name="connsiteY43" fmla="*/ 708025 h 1593850"/>
                  <a:gd name="connsiteX44" fmla="*/ 657225 w 854075"/>
                  <a:gd name="connsiteY44" fmla="*/ 663575 h 1593850"/>
                  <a:gd name="connsiteX45" fmla="*/ 711200 w 854075"/>
                  <a:gd name="connsiteY45" fmla="*/ 647700 h 1593850"/>
                  <a:gd name="connsiteX46" fmla="*/ 704850 w 854075"/>
                  <a:gd name="connsiteY46" fmla="*/ 587375 h 1593850"/>
                  <a:gd name="connsiteX47" fmla="*/ 736600 w 854075"/>
                  <a:gd name="connsiteY47" fmla="*/ 587375 h 1593850"/>
                  <a:gd name="connsiteX48" fmla="*/ 790575 w 854075"/>
                  <a:gd name="connsiteY48" fmla="*/ 504825 h 1593850"/>
                  <a:gd name="connsiteX49" fmla="*/ 790575 w 854075"/>
                  <a:gd name="connsiteY49" fmla="*/ 457200 h 1593850"/>
                  <a:gd name="connsiteX50" fmla="*/ 854075 w 854075"/>
                  <a:gd name="connsiteY50" fmla="*/ 454025 h 1593850"/>
                  <a:gd name="connsiteX51" fmla="*/ 819150 w 854075"/>
                  <a:gd name="connsiteY51" fmla="*/ 365125 h 1593850"/>
                  <a:gd name="connsiteX52" fmla="*/ 819150 w 854075"/>
                  <a:gd name="connsiteY52" fmla="*/ 365125 h 1593850"/>
                  <a:gd name="connsiteX53" fmla="*/ 800100 w 854075"/>
                  <a:gd name="connsiteY53" fmla="*/ 295275 h 1593850"/>
                  <a:gd name="connsiteX54" fmla="*/ 746125 w 854075"/>
                  <a:gd name="connsiteY54" fmla="*/ 247650 h 1593850"/>
                  <a:gd name="connsiteX55" fmla="*/ 806450 w 854075"/>
                  <a:gd name="connsiteY55" fmla="*/ 234950 h 1593850"/>
                  <a:gd name="connsiteX56" fmla="*/ 831850 w 854075"/>
                  <a:gd name="connsiteY56" fmla="*/ 130175 h 1593850"/>
                  <a:gd name="connsiteX57" fmla="*/ 835025 w 854075"/>
                  <a:gd name="connsiteY57" fmla="*/ 69850 h 1593850"/>
                  <a:gd name="connsiteX58" fmla="*/ 831850 w 854075"/>
                  <a:gd name="connsiteY58" fmla="*/ 0 h 1593850"/>
                  <a:gd name="connsiteX0" fmla="*/ 831850 w 854075"/>
                  <a:gd name="connsiteY0" fmla="*/ 0 h 1593850"/>
                  <a:gd name="connsiteX1" fmla="*/ 546100 w 854075"/>
                  <a:gd name="connsiteY1" fmla="*/ 133350 h 1593850"/>
                  <a:gd name="connsiteX2" fmla="*/ 269875 w 854075"/>
                  <a:gd name="connsiteY2" fmla="*/ 41275 h 1593850"/>
                  <a:gd name="connsiteX3" fmla="*/ 273050 w 854075"/>
                  <a:gd name="connsiteY3" fmla="*/ 130175 h 1593850"/>
                  <a:gd name="connsiteX4" fmla="*/ 222250 w 854075"/>
                  <a:gd name="connsiteY4" fmla="*/ 203200 h 1593850"/>
                  <a:gd name="connsiteX5" fmla="*/ 155575 w 854075"/>
                  <a:gd name="connsiteY5" fmla="*/ 260350 h 1593850"/>
                  <a:gd name="connsiteX6" fmla="*/ 155575 w 854075"/>
                  <a:gd name="connsiteY6" fmla="*/ 333375 h 1593850"/>
                  <a:gd name="connsiteX7" fmla="*/ 85725 w 854075"/>
                  <a:gd name="connsiteY7" fmla="*/ 292100 h 1593850"/>
                  <a:gd name="connsiteX8" fmla="*/ 92075 w 854075"/>
                  <a:gd name="connsiteY8" fmla="*/ 365125 h 1593850"/>
                  <a:gd name="connsiteX9" fmla="*/ 133350 w 854075"/>
                  <a:gd name="connsiteY9" fmla="*/ 415925 h 1593850"/>
                  <a:gd name="connsiteX10" fmla="*/ 63500 w 854075"/>
                  <a:gd name="connsiteY10" fmla="*/ 504825 h 1593850"/>
                  <a:gd name="connsiteX11" fmla="*/ 66675 w 854075"/>
                  <a:gd name="connsiteY11" fmla="*/ 577850 h 1593850"/>
                  <a:gd name="connsiteX12" fmla="*/ 0 w 854075"/>
                  <a:gd name="connsiteY12" fmla="*/ 615950 h 1593850"/>
                  <a:gd name="connsiteX13" fmla="*/ 0 w 854075"/>
                  <a:gd name="connsiteY13" fmla="*/ 615950 h 1593850"/>
                  <a:gd name="connsiteX14" fmla="*/ 57150 w 854075"/>
                  <a:gd name="connsiteY14" fmla="*/ 635000 h 1593850"/>
                  <a:gd name="connsiteX15" fmla="*/ 66675 w 854075"/>
                  <a:gd name="connsiteY15" fmla="*/ 850900 h 1593850"/>
                  <a:gd name="connsiteX16" fmla="*/ 22225 w 854075"/>
                  <a:gd name="connsiteY16" fmla="*/ 927100 h 1593850"/>
                  <a:gd name="connsiteX17" fmla="*/ 79375 w 854075"/>
                  <a:gd name="connsiteY17" fmla="*/ 981075 h 1593850"/>
                  <a:gd name="connsiteX18" fmla="*/ 69850 w 854075"/>
                  <a:gd name="connsiteY18" fmla="*/ 1022350 h 1593850"/>
                  <a:gd name="connsiteX19" fmla="*/ 117475 w 854075"/>
                  <a:gd name="connsiteY19" fmla="*/ 1130300 h 1593850"/>
                  <a:gd name="connsiteX20" fmla="*/ 209550 w 854075"/>
                  <a:gd name="connsiteY20" fmla="*/ 1104900 h 1593850"/>
                  <a:gd name="connsiteX21" fmla="*/ 282575 w 854075"/>
                  <a:gd name="connsiteY21" fmla="*/ 1149350 h 1593850"/>
                  <a:gd name="connsiteX22" fmla="*/ 298450 w 854075"/>
                  <a:gd name="connsiteY22" fmla="*/ 1206500 h 1593850"/>
                  <a:gd name="connsiteX23" fmla="*/ 298450 w 854075"/>
                  <a:gd name="connsiteY23" fmla="*/ 1270000 h 1593850"/>
                  <a:gd name="connsiteX24" fmla="*/ 358775 w 854075"/>
                  <a:gd name="connsiteY24" fmla="*/ 1333500 h 1593850"/>
                  <a:gd name="connsiteX25" fmla="*/ 428625 w 854075"/>
                  <a:gd name="connsiteY25" fmla="*/ 1371600 h 1593850"/>
                  <a:gd name="connsiteX26" fmla="*/ 390525 w 854075"/>
                  <a:gd name="connsiteY26" fmla="*/ 1470025 h 1593850"/>
                  <a:gd name="connsiteX27" fmla="*/ 409575 w 854075"/>
                  <a:gd name="connsiteY27" fmla="*/ 1539875 h 1593850"/>
                  <a:gd name="connsiteX28" fmla="*/ 466725 w 854075"/>
                  <a:gd name="connsiteY28" fmla="*/ 1574800 h 1593850"/>
                  <a:gd name="connsiteX29" fmla="*/ 495300 w 854075"/>
                  <a:gd name="connsiteY29" fmla="*/ 1565275 h 1593850"/>
                  <a:gd name="connsiteX30" fmla="*/ 520700 w 854075"/>
                  <a:gd name="connsiteY30" fmla="*/ 1593850 h 1593850"/>
                  <a:gd name="connsiteX31" fmla="*/ 561975 w 854075"/>
                  <a:gd name="connsiteY31" fmla="*/ 1587500 h 1593850"/>
                  <a:gd name="connsiteX32" fmla="*/ 635000 w 854075"/>
                  <a:gd name="connsiteY32" fmla="*/ 1524000 h 1593850"/>
                  <a:gd name="connsiteX33" fmla="*/ 733425 w 854075"/>
                  <a:gd name="connsiteY33" fmla="*/ 1400175 h 1593850"/>
                  <a:gd name="connsiteX34" fmla="*/ 774700 w 854075"/>
                  <a:gd name="connsiteY34" fmla="*/ 1377950 h 1593850"/>
                  <a:gd name="connsiteX35" fmla="*/ 762000 w 854075"/>
                  <a:gd name="connsiteY35" fmla="*/ 1304925 h 1593850"/>
                  <a:gd name="connsiteX36" fmla="*/ 774700 w 854075"/>
                  <a:gd name="connsiteY36" fmla="*/ 1235075 h 1593850"/>
                  <a:gd name="connsiteX37" fmla="*/ 812800 w 854075"/>
                  <a:gd name="connsiteY37" fmla="*/ 1206500 h 1593850"/>
                  <a:gd name="connsiteX38" fmla="*/ 768350 w 854075"/>
                  <a:gd name="connsiteY38" fmla="*/ 1203325 h 1593850"/>
                  <a:gd name="connsiteX39" fmla="*/ 669925 w 854075"/>
                  <a:gd name="connsiteY39" fmla="*/ 952500 h 1593850"/>
                  <a:gd name="connsiteX40" fmla="*/ 714375 w 854075"/>
                  <a:gd name="connsiteY40" fmla="*/ 869950 h 1593850"/>
                  <a:gd name="connsiteX41" fmla="*/ 752475 w 854075"/>
                  <a:gd name="connsiteY41" fmla="*/ 841375 h 1593850"/>
                  <a:gd name="connsiteX42" fmla="*/ 676275 w 854075"/>
                  <a:gd name="connsiteY42" fmla="*/ 768350 h 1593850"/>
                  <a:gd name="connsiteX43" fmla="*/ 657225 w 854075"/>
                  <a:gd name="connsiteY43" fmla="*/ 708025 h 1593850"/>
                  <a:gd name="connsiteX44" fmla="*/ 657225 w 854075"/>
                  <a:gd name="connsiteY44" fmla="*/ 663575 h 1593850"/>
                  <a:gd name="connsiteX45" fmla="*/ 711200 w 854075"/>
                  <a:gd name="connsiteY45" fmla="*/ 647700 h 1593850"/>
                  <a:gd name="connsiteX46" fmla="*/ 704850 w 854075"/>
                  <a:gd name="connsiteY46" fmla="*/ 587375 h 1593850"/>
                  <a:gd name="connsiteX47" fmla="*/ 736600 w 854075"/>
                  <a:gd name="connsiteY47" fmla="*/ 587375 h 1593850"/>
                  <a:gd name="connsiteX48" fmla="*/ 790575 w 854075"/>
                  <a:gd name="connsiteY48" fmla="*/ 504825 h 1593850"/>
                  <a:gd name="connsiteX49" fmla="*/ 790575 w 854075"/>
                  <a:gd name="connsiteY49" fmla="*/ 457200 h 1593850"/>
                  <a:gd name="connsiteX50" fmla="*/ 854075 w 854075"/>
                  <a:gd name="connsiteY50" fmla="*/ 454025 h 1593850"/>
                  <a:gd name="connsiteX51" fmla="*/ 819150 w 854075"/>
                  <a:gd name="connsiteY51" fmla="*/ 365125 h 1593850"/>
                  <a:gd name="connsiteX52" fmla="*/ 819150 w 854075"/>
                  <a:gd name="connsiteY52" fmla="*/ 365125 h 1593850"/>
                  <a:gd name="connsiteX53" fmla="*/ 800100 w 854075"/>
                  <a:gd name="connsiteY53" fmla="*/ 295275 h 1593850"/>
                  <a:gd name="connsiteX54" fmla="*/ 746125 w 854075"/>
                  <a:gd name="connsiteY54" fmla="*/ 247650 h 1593850"/>
                  <a:gd name="connsiteX55" fmla="*/ 806450 w 854075"/>
                  <a:gd name="connsiteY55" fmla="*/ 234950 h 1593850"/>
                  <a:gd name="connsiteX56" fmla="*/ 831850 w 854075"/>
                  <a:gd name="connsiteY56" fmla="*/ 130175 h 1593850"/>
                  <a:gd name="connsiteX57" fmla="*/ 835025 w 854075"/>
                  <a:gd name="connsiteY57" fmla="*/ 69850 h 1593850"/>
                  <a:gd name="connsiteX58" fmla="*/ 831850 w 854075"/>
                  <a:gd name="connsiteY58" fmla="*/ 0 h 1593850"/>
                  <a:gd name="connsiteX0" fmla="*/ 836789 w 859014"/>
                  <a:gd name="connsiteY0" fmla="*/ 0 h 1593850"/>
                  <a:gd name="connsiteX1" fmla="*/ 551039 w 859014"/>
                  <a:gd name="connsiteY1" fmla="*/ 133350 h 1593850"/>
                  <a:gd name="connsiteX2" fmla="*/ 274814 w 859014"/>
                  <a:gd name="connsiteY2" fmla="*/ 41275 h 1593850"/>
                  <a:gd name="connsiteX3" fmla="*/ 277989 w 859014"/>
                  <a:gd name="connsiteY3" fmla="*/ 130175 h 1593850"/>
                  <a:gd name="connsiteX4" fmla="*/ 227189 w 859014"/>
                  <a:gd name="connsiteY4" fmla="*/ 203200 h 1593850"/>
                  <a:gd name="connsiteX5" fmla="*/ 160514 w 859014"/>
                  <a:gd name="connsiteY5" fmla="*/ 260350 h 1593850"/>
                  <a:gd name="connsiteX6" fmla="*/ 160514 w 859014"/>
                  <a:gd name="connsiteY6" fmla="*/ 333375 h 1593850"/>
                  <a:gd name="connsiteX7" fmla="*/ 90664 w 859014"/>
                  <a:gd name="connsiteY7" fmla="*/ 292100 h 1593850"/>
                  <a:gd name="connsiteX8" fmla="*/ 97014 w 859014"/>
                  <a:gd name="connsiteY8" fmla="*/ 365125 h 1593850"/>
                  <a:gd name="connsiteX9" fmla="*/ 138289 w 859014"/>
                  <a:gd name="connsiteY9" fmla="*/ 415925 h 1593850"/>
                  <a:gd name="connsiteX10" fmla="*/ 68439 w 859014"/>
                  <a:gd name="connsiteY10" fmla="*/ 504825 h 1593850"/>
                  <a:gd name="connsiteX11" fmla="*/ 71614 w 859014"/>
                  <a:gd name="connsiteY11" fmla="*/ 577850 h 1593850"/>
                  <a:gd name="connsiteX12" fmla="*/ 4939 w 859014"/>
                  <a:gd name="connsiteY12" fmla="*/ 615950 h 1593850"/>
                  <a:gd name="connsiteX13" fmla="*/ 4939 w 859014"/>
                  <a:gd name="connsiteY13" fmla="*/ 625475 h 1593850"/>
                  <a:gd name="connsiteX14" fmla="*/ 62089 w 859014"/>
                  <a:gd name="connsiteY14" fmla="*/ 635000 h 1593850"/>
                  <a:gd name="connsiteX15" fmla="*/ 71614 w 859014"/>
                  <a:gd name="connsiteY15" fmla="*/ 850900 h 1593850"/>
                  <a:gd name="connsiteX16" fmla="*/ 27164 w 859014"/>
                  <a:gd name="connsiteY16" fmla="*/ 927100 h 1593850"/>
                  <a:gd name="connsiteX17" fmla="*/ 84314 w 859014"/>
                  <a:gd name="connsiteY17" fmla="*/ 981075 h 1593850"/>
                  <a:gd name="connsiteX18" fmla="*/ 74789 w 859014"/>
                  <a:gd name="connsiteY18" fmla="*/ 1022350 h 1593850"/>
                  <a:gd name="connsiteX19" fmla="*/ 122414 w 859014"/>
                  <a:gd name="connsiteY19" fmla="*/ 1130300 h 1593850"/>
                  <a:gd name="connsiteX20" fmla="*/ 214489 w 859014"/>
                  <a:gd name="connsiteY20" fmla="*/ 1104900 h 1593850"/>
                  <a:gd name="connsiteX21" fmla="*/ 287514 w 859014"/>
                  <a:gd name="connsiteY21" fmla="*/ 1149350 h 1593850"/>
                  <a:gd name="connsiteX22" fmla="*/ 303389 w 859014"/>
                  <a:gd name="connsiteY22" fmla="*/ 1206500 h 1593850"/>
                  <a:gd name="connsiteX23" fmla="*/ 303389 w 859014"/>
                  <a:gd name="connsiteY23" fmla="*/ 1270000 h 1593850"/>
                  <a:gd name="connsiteX24" fmla="*/ 363714 w 859014"/>
                  <a:gd name="connsiteY24" fmla="*/ 1333500 h 1593850"/>
                  <a:gd name="connsiteX25" fmla="*/ 433564 w 859014"/>
                  <a:gd name="connsiteY25" fmla="*/ 1371600 h 1593850"/>
                  <a:gd name="connsiteX26" fmla="*/ 395464 w 859014"/>
                  <a:gd name="connsiteY26" fmla="*/ 1470025 h 1593850"/>
                  <a:gd name="connsiteX27" fmla="*/ 414514 w 859014"/>
                  <a:gd name="connsiteY27" fmla="*/ 1539875 h 1593850"/>
                  <a:gd name="connsiteX28" fmla="*/ 471664 w 859014"/>
                  <a:gd name="connsiteY28" fmla="*/ 1574800 h 1593850"/>
                  <a:gd name="connsiteX29" fmla="*/ 500239 w 859014"/>
                  <a:gd name="connsiteY29" fmla="*/ 1565275 h 1593850"/>
                  <a:gd name="connsiteX30" fmla="*/ 525639 w 859014"/>
                  <a:gd name="connsiteY30" fmla="*/ 1593850 h 1593850"/>
                  <a:gd name="connsiteX31" fmla="*/ 566914 w 859014"/>
                  <a:gd name="connsiteY31" fmla="*/ 1587500 h 1593850"/>
                  <a:gd name="connsiteX32" fmla="*/ 639939 w 859014"/>
                  <a:gd name="connsiteY32" fmla="*/ 1524000 h 1593850"/>
                  <a:gd name="connsiteX33" fmla="*/ 738364 w 859014"/>
                  <a:gd name="connsiteY33" fmla="*/ 1400175 h 1593850"/>
                  <a:gd name="connsiteX34" fmla="*/ 779639 w 859014"/>
                  <a:gd name="connsiteY34" fmla="*/ 1377950 h 1593850"/>
                  <a:gd name="connsiteX35" fmla="*/ 766939 w 859014"/>
                  <a:gd name="connsiteY35" fmla="*/ 1304925 h 1593850"/>
                  <a:gd name="connsiteX36" fmla="*/ 779639 w 859014"/>
                  <a:gd name="connsiteY36" fmla="*/ 1235075 h 1593850"/>
                  <a:gd name="connsiteX37" fmla="*/ 817739 w 859014"/>
                  <a:gd name="connsiteY37" fmla="*/ 1206500 h 1593850"/>
                  <a:gd name="connsiteX38" fmla="*/ 773289 w 859014"/>
                  <a:gd name="connsiteY38" fmla="*/ 1203325 h 1593850"/>
                  <a:gd name="connsiteX39" fmla="*/ 674864 w 859014"/>
                  <a:gd name="connsiteY39" fmla="*/ 952500 h 1593850"/>
                  <a:gd name="connsiteX40" fmla="*/ 719314 w 859014"/>
                  <a:gd name="connsiteY40" fmla="*/ 869950 h 1593850"/>
                  <a:gd name="connsiteX41" fmla="*/ 757414 w 859014"/>
                  <a:gd name="connsiteY41" fmla="*/ 841375 h 1593850"/>
                  <a:gd name="connsiteX42" fmla="*/ 681214 w 859014"/>
                  <a:gd name="connsiteY42" fmla="*/ 768350 h 1593850"/>
                  <a:gd name="connsiteX43" fmla="*/ 662164 w 859014"/>
                  <a:gd name="connsiteY43" fmla="*/ 708025 h 1593850"/>
                  <a:gd name="connsiteX44" fmla="*/ 662164 w 859014"/>
                  <a:gd name="connsiteY44" fmla="*/ 663575 h 1593850"/>
                  <a:gd name="connsiteX45" fmla="*/ 716139 w 859014"/>
                  <a:gd name="connsiteY45" fmla="*/ 647700 h 1593850"/>
                  <a:gd name="connsiteX46" fmla="*/ 709789 w 859014"/>
                  <a:gd name="connsiteY46" fmla="*/ 587375 h 1593850"/>
                  <a:gd name="connsiteX47" fmla="*/ 741539 w 859014"/>
                  <a:gd name="connsiteY47" fmla="*/ 587375 h 1593850"/>
                  <a:gd name="connsiteX48" fmla="*/ 795514 w 859014"/>
                  <a:gd name="connsiteY48" fmla="*/ 504825 h 1593850"/>
                  <a:gd name="connsiteX49" fmla="*/ 795514 w 859014"/>
                  <a:gd name="connsiteY49" fmla="*/ 457200 h 1593850"/>
                  <a:gd name="connsiteX50" fmla="*/ 859014 w 859014"/>
                  <a:gd name="connsiteY50" fmla="*/ 454025 h 1593850"/>
                  <a:gd name="connsiteX51" fmla="*/ 824089 w 859014"/>
                  <a:gd name="connsiteY51" fmla="*/ 365125 h 1593850"/>
                  <a:gd name="connsiteX52" fmla="*/ 824089 w 859014"/>
                  <a:gd name="connsiteY52" fmla="*/ 365125 h 1593850"/>
                  <a:gd name="connsiteX53" fmla="*/ 805039 w 859014"/>
                  <a:gd name="connsiteY53" fmla="*/ 295275 h 1593850"/>
                  <a:gd name="connsiteX54" fmla="*/ 751064 w 859014"/>
                  <a:gd name="connsiteY54" fmla="*/ 247650 h 1593850"/>
                  <a:gd name="connsiteX55" fmla="*/ 811389 w 859014"/>
                  <a:gd name="connsiteY55" fmla="*/ 234950 h 1593850"/>
                  <a:gd name="connsiteX56" fmla="*/ 836789 w 859014"/>
                  <a:gd name="connsiteY56" fmla="*/ 130175 h 1593850"/>
                  <a:gd name="connsiteX57" fmla="*/ 839964 w 859014"/>
                  <a:gd name="connsiteY57" fmla="*/ 69850 h 1593850"/>
                  <a:gd name="connsiteX58" fmla="*/ 836789 w 859014"/>
                  <a:gd name="connsiteY58" fmla="*/ 0 h 159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859014" h="1593850">
                    <a:moveTo>
                      <a:pt x="836789" y="0"/>
                    </a:moveTo>
                    <a:lnTo>
                      <a:pt x="551039" y="133350"/>
                    </a:lnTo>
                    <a:lnTo>
                      <a:pt x="274814" y="41275"/>
                    </a:lnTo>
                    <a:lnTo>
                      <a:pt x="277989" y="130175"/>
                    </a:lnTo>
                    <a:lnTo>
                      <a:pt x="227189" y="203200"/>
                    </a:lnTo>
                    <a:lnTo>
                      <a:pt x="160514" y="260350"/>
                    </a:lnTo>
                    <a:lnTo>
                      <a:pt x="160514" y="333375"/>
                    </a:lnTo>
                    <a:lnTo>
                      <a:pt x="90664" y="292100"/>
                    </a:lnTo>
                    <a:lnTo>
                      <a:pt x="97014" y="365125"/>
                    </a:lnTo>
                    <a:lnTo>
                      <a:pt x="138289" y="415925"/>
                    </a:lnTo>
                    <a:lnTo>
                      <a:pt x="68439" y="504825"/>
                    </a:lnTo>
                    <a:lnTo>
                      <a:pt x="71614" y="577850"/>
                    </a:lnTo>
                    <a:cubicBezTo>
                      <a:pt x="49389" y="590550"/>
                      <a:pt x="16052" y="608013"/>
                      <a:pt x="4939" y="615950"/>
                    </a:cubicBezTo>
                    <a:cubicBezTo>
                      <a:pt x="-6174" y="623888"/>
                      <a:pt x="4939" y="622300"/>
                      <a:pt x="4939" y="625475"/>
                    </a:cubicBezTo>
                    <a:lnTo>
                      <a:pt x="62089" y="635000"/>
                    </a:lnTo>
                    <a:lnTo>
                      <a:pt x="71614" y="850900"/>
                    </a:lnTo>
                    <a:lnTo>
                      <a:pt x="27164" y="927100"/>
                    </a:lnTo>
                    <a:lnTo>
                      <a:pt x="84314" y="981075"/>
                    </a:lnTo>
                    <a:lnTo>
                      <a:pt x="74789" y="1022350"/>
                    </a:lnTo>
                    <a:lnTo>
                      <a:pt x="122414" y="1130300"/>
                    </a:lnTo>
                    <a:lnTo>
                      <a:pt x="214489" y="1104900"/>
                    </a:lnTo>
                    <a:lnTo>
                      <a:pt x="287514" y="1149350"/>
                    </a:lnTo>
                    <a:lnTo>
                      <a:pt x="303389" y="1206500"/>
                    </a:lnTo>
                    <a:lnTo>
                      <a:pt x="303389" y="1270000"/>
                    </a:lnTo>
                    <a:lnTo>
                      <a:pt x="363714" y="1333500"/>
                    </a:lnTo>
                    <a:lnTo>
                      <a:pt x="433564" y="1371600"/>
                    </a:lnTo>
                    <a:lnTo>
                      <a:pt x="395464" y="1470025"/>
                    </a:lnTo>
                    <a:lnTo>
                      <a:pt x="414514" y="1539875"/>
                    </a:lnTo>
                    <a:lnTo>
                      <a:pt x="471664" y="1574800"/>
                    </a:lnTo>
                    <a:lnTo>
                      <a:pt x="500239" y="1565275"/>
                    </a:lnTo>
                    <a:lnTo>
                      <a:pt x="525639" y="1593850"/>
                    </a:lnTo>
                    <a:lnTo>
                      <a:pt x="566914" y="1587500"/>
                    </a:lnTo>
                    <a:lnTo>
                      <a:pt x="639939" y="1524000"/>
                    </a:lnTo>
                    <a:lnTo>
                      <a:pt x="738364" y="1400175"/>
                    </a:lnTo>
                    <a:lnTo>
                      <a:pt x="779639" y="1377950"/>
                    </a:lnTo>
                    <a:lnTo>
                      <a:pt x="766939" y="1304925"/>
                    </a:lnTo>
                    <a:lnTo>
                      <a:pt x="779639" y="1235075"/>
                    </a:lnTo>
                    <a:lnTo>
                      <a:pt x="817739" y="1206500"/>
                    </a:lnTo>
                    <a:lnTo>
                      <a:pt x="773289" y="1203325"/>
                    </a:lnTo>
                    <a:lnTo>
                      <a:pt x="674864" y="952500"/>
                    </a:lnTo>
                    <a:lnTo>
                      <a:pt x="719314" y="869950"/>
                    </a:lnTo>
                    <a:lnTo>
                      <a:pt x="757414" y="841375"/>
                    </a:lnTo>
                    <a:lnTo>
                      <a:pt x="681214" y="768350"/>
                    </a:lnTo>
                    <a:lnTo>
                      <a:pt x="662164" y="708025"/>
                    </a:lnTo>
                    <a:lnTo>
                      <a:pt x="662164" y="663575"/>
                    </a:lnTo>
                    <a:lnTo>
                      <a:pt x="716139" y="647700"/>
                    </a:lnTo>
                    <a:lnTo>
                      <a:pt x="709789" y="587375"/>
                    </a:lnTo>
                    <a:lnTo>
                      <a:pt x="741539" y="587375"/>
                    </a:lnTo>
                    <a:lnTo>
                      <a:pt x="795514" y="504825"/>
                    </a:lnTo>
                    <a:lnTo>
                      <a:pt x="795514" y="457200"/>
                    </a:lnTo>
                    <a:lnTo>
                      <a:pt x="859014" y="454025"/>
                    </a:lnTo>
                    <a:lnTo>
                      <a:pt x="824089" y="365125"/>
                    </a:lnTo>
                    <a:lnTo>
                      <a:pt x="824089" y="365125"/>
                    </a:lnTo>
                    <a:lnTo>
                      <a:pt x="805039" y="295275"/>
                    </a:lnTo>
                    <a:lnTo>
                      <a:pt x="751064" y="247650"/>
                    </a:lnTo>
                    <a:lnTo>
                      <a:pt x="811389" y="234950"/>
                    </a:lnTo>
                    <a:lnTo>
                      <a:pt x="836789" y="130175"/>
                    </a:lnTo>
                    <a:lnTo>
                      <a:pt x="839964" y="69850"/>
                    </a:lnTo>
                    <a:lnTo>
                      <a:pt x="836789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3" name="Forma libre 22"/>
            <p:cNvSpPr/>
            <p:nvPr/>
          </p:nvSpPr>
          <p:spPr>
            <a:xfrm>
              <a:off x="755508" y="3131963"/>
              <a:ext cx="682741" cy="666158"/>
            </a:xfrm>
            <a:custGeom>
              <a:avLst/>
              <a:gdLst>
                <a:gd name="connsiteX0" fmla="*/ 606449 w 881135"/>
                <a:gd name="connsiteY0" fmla="*/ 1127318 h 1127318"/>
                <a:gd name="connsiteX1" fmla="*/ 520833 w 881135"/>
                <a:gd name="connsiteY1" fmla="*/ 1020294 h 1127318"/>
                <a:gd name="connsiteX2" fmla="*/ 510131 w 881135"/>
                <a:gd name="connsiteY2" fmla="*/ 945378 h 1127318"/>
                <a:gd name="connsiteX3" fmla="*/ 460188 w 881135"/>
                <a:gd name="connsiteY3" fmla="*/ 902568 h 1127318"/>
                <a:gd name="connsiteX4" fmla="*/ 445918 w 881135"/>
                <a:gd name="connsiteY4" fmla="*/ 849056 h 1127318"/>
                <a:gd name="connsiteX5" fmla="*/ 410245 w 881135"/>
                <a:gd name="connsiteY5" fmla="*/ 820516 h 1127318"/>
                <a:gd name="connsiteX6" fmla="*/ 413812 w 881135"/>
                <a:gd name="connsiteY6" fmla="*/ 759870 h 1127318"/>
                <a:gd name="connsiteX7" fmla="*/ 321061 w 881135"/>
                <a:gd name="connsiteY7" fmla="*/ 706358 h 1127318"/>
                <a:gd name="connsiteX8" fmla="*/ 331763 w 881135"/>
                <a:gd name="connsiteY8" fmla="*/ 670683 h 1127318"/>
                <a:gd name="connsiteX9" fmla="*/ 249714 w 881135"/>
                <a:gd name="connsiteY9" fmla="*/ 659981 h 1127318"/>
                <a:gd name="connsiteX10" fmla="*/ 274686 w 881135"/>
                <a:gd name="connsiteY10" fmla="*/ 617171 h 1127318"/>
                <a:gd name="connsiteX11" fmla="*/ 260416 w 881135"/>
                <a:gd name="connsiteY11" fmla="*/ 542254 h 1127318"/>
                <a:gd name="connsiteX12" fmla="*/ 203339 w 881135"/>
                <a:gd name="connsiteY12" fmla="*/ 438798 h 1127318"/>
                <a:gd name="connsiteX13" fmla="*/ 85616 w 881135"/>
                <a:gd name="connsiteY13" fmla="*/ 371016 h 1127318"/>
                <a:gd name="connsiteX14" fmla="*/ 85616 w 881135"/>
                <a:gd name="connsiteY14" fmla="*/ 331774 h 1127318"/>
                <a:gd name="connsiteX15" fmla="*/ 85616 w 881135"/>
                <a:gd name="connsiteY15" fmla="*/ 331774 h 1127318"/>
                <a:gd name="connsiteX16" fmla="*/ 103453 w 881135"/>
                <a:gd name="connsiteY16" fmla="*/ 306802 h 1127318"/>
                <a:gd name="connsiteX17" fmla="*/ 0 w 881135"/>
                <a:gd name="connsiteY17" fmla="*/ 107024 h 1127318"/>
                <a:gd name="connsiteX18" fmla="*/ 60645 w 881135"/>
                <a:gd name="connsiteY18" fmla="*/ 46377 h 1127318"/>
                <a:gd name="connsiteX19" fmla="*/ 67780 w 881135"/>
                <a:gd name="connsiteY19" fmla="*/ 89187 h 1127318"/>
                <a:gd name="connsiteX20" fmla="*/ 103453 w 881135"/>
                <a:gd name="connsiteY20" fmla="*/ 121294 h 1127318"/>
                <a:gd name="connsiteX21" fmla="*/ 107020 w 881135"/>
                <a:gd name="connsiteY21" fmla="*/ 185508 h 1127318"/>
                <a:gd name="connsiteX22" fmla="*/ 189069 w 881135"/>
                <a:gd name="connsiteY22" fmla="*/ 160536 h 1127318"/>
                <a:gd name="connsiteX23" fmla="*/ 260416 w 881135"/>
                <a:gd name="connsiteY23" fmla="*/ 85619 h 1127318"/>
                <a:gd name="connsiteX24" fmla="*/ 303225 w 881135"/>
                <a:gd name="connsiteY24" fmla="*/ 10703 h 1127318"/>
                <a:gd name="connsiteX25" fmla="*/ 363869 w 881135"/>
                <a:gd name="connsiteY25" fmla="*/ 0 h 1127318"/>
                <a:gd name="connsiteX26" fmla="*/ 435216 w 881135"/>
                <a:gd name="connsiteY26" fmla="*/ 57080 h 1127318"/>
                <a:gd name="connsiteX27" fmla="*/ 467322 w 881135"/>
                <a:gd name="connsiteY27" fmla="*/ 185508 h 1127318"/>
                <a:gd name="connsiteX28" fmla="*/ 513698 w 881135"/>
                <a:gd name="connsiteY28" fmla="*/ 288965 h 1127318"/>
                <a:gd name="connsiteX29" fmla="*/ 513698 w 881135"/>
                <a:gd name="connsiteY29" fmla="*/ 335342 h 1127318"/>
                <a:gd name="connsiteX30" fmla="*/ 574343 w 881135"/>
                <a:gd name="connsiteY30" fmla="*/ 478040 h 1127318"/>
                <a:gd name="connsiteX31" fmla="*/ 631420 w 881135"/>
                <a:gd name="connsiteY31" fmla="*/ 481608 h 1127318"/>
                <a:gd name="connsiteX32" fmla="*/ 638555 w 881135"/>
                <a:gd name="connsiteY32" fmla="*/ 545822 h 1127318"/>
                <a:gd name="connsiteX33" fmla="*/ 692065 w 881135"/>
                <a:gd name="connsiteY33" fmla="*/ 631441 h 1127318"/>
                <a:gd name="connsiteX34" fmla="*/ 809788 w 881135"/>
                <a:gd name="connsiteY34" fmla="*/ 642143 h 1127318"/>
                <a:gd name="connsiteX35" fmla="*/ 849028 w 881135"/>
                <a:gd name="connsiteY35" fmla="*/ 695655 h 1127318"/>
                <a:gd name="connsiteX36" fmla="*/ 820490 w 881135"/>
                <a:gd name="connsiteY36" fmla="*/ 720628 h 1127318"/>
                <a:gd name="connsiteX37" fmla="*/ 881135 w 881135"/>
                <a:gd name="connsiteY37" fmla="*/ 781274 h 1127318"/>
                <a:gd name="connsiteX38" fmla="*/ 877567 w 881135"/>
                <a:gd name="connsiteY38" fmla="*/ 874028 h 1127318"/>
                <a:gd name="connsiteX39" fmla="*/ 881135 w 881135"/>
                <a:gd name="connsiteY39" fmla="*/ 941810 h 1127318"/>
                <a:gd name="connsiteX40" fmla="*/ 820490 w 881135"/>
                <a:gd name="connsiteY40" fmla="*/ 1023862 h 1127318"/>
                <a:gd name="connsiteX41" fmla="*/ 720604 w 881135"/>
                <a:gd name="connsiteY41" fmla="*/ 1009592 h 1127318"/>
                <a:gd name="connsiteX42" fmla="*/ 656392 w 881135"/>
                <a:gd name="connsiteY42" fmla="*/ 1077374 h 1127318"/>
                <a:gd name="connsiteX43" fmla="*/ 606449 w 881135"/>
                <a:gd name="connsiteY43" fmla="*/ 1127318 h 112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81135" h="1127318">
                  <a:moveTo>
                    <a:pt x="606449" y="1127318"/>
                  </a:moveTo>
                  <a:lnTo>
                    <a:pt x="520833" y="1020294"/>
                  </a:lnTo>
                  <a:lnTo>
                    <a:pt x="510131" y="945378"/>
                  </a:lnTo>
                  <a:lnTo>
                    <a:pt x="460188" y="902568"/>
                  </a:lnTo>
                  <a:lnTo>
                    <a:pt x="445918" y="849056"/>
                  </a:lnTo>
                  <a:lnTo>
                    <a:pt x="410245" y="820516"/>
                  </a:lnTo>
                  <a:lnTo>
                    <a:pt x="413812" y="759870"/>
                  </a:lnTo>
                  <a:lnTo>
                    <a:pt x="321061" y="706358"/>
                  </a:lnTo>
                  <a:lnTo>
                    <a:pt x="331763" y="670683"/>
                  </a:lnTo>
                  <a:lnTo>
                    <a:pt x="249714" y="659981"/>
                  </a:lnTo>
                  <a:lnTo>
                    <a:pt x="274686" y="617171"/>
                  </a:lnTo>
                  <a:lnTo>
                    <a:pt x="260416" y="542254"/>
                  </a:lnTo>
                  <a:lnTo>
                    <a:pt x="203339" y="438798"/>
                  </a:lnTo>
                  <a:lnTo>
                    <a:pt x="85616" y="371016"/>
                  </a:lnTo>
                  <a:lnTo>
                    <a:pt x="85616" y="331774"/>
                  </a:lnTo>
                  <a:lnTo>
                    <a:pt x="85616" y="331774"/>
                  </a:lnTo>
                  <a:lnTo>
                    <a:pt x="103453" y="306802"/>
                  </a:lnTo>
                  <a:lnTo>
                    <a:pt x="0" y="107024"/>
                  </a:lnTo>
                  <a:lnTo>
                    <a:pt x="60645" y="46377"/>
                  </a:lnTo>
                  <a:lnTo>
                    <a:pt x="67780" y="89187"/>
                  </a:lnTo>
                  <a:lnTo>
                    <a:pt x="103453" y="121294"/>
                  </a:lnTo>
                  <a:lnTo>
                    <a:pt x="107020" y="185508"/>
                  </a:lnTo>
                  <a:lnTo>
                    <a:pt x="189069" y="160536"/>
                  </a:lnTo>
                  <a:lnTo>
                    <a:pt x="260416" y="85619"/>
                  </a:lnTo>
                  <a:lnTo>
                    <a:pt x="303225" y="10703"/>
                  </a:lnTo>
                  <a:lnTo>
                    <a:pt x="363869" y="0"/>
                  </a:lnTo>
                  <a:lnTo>
                    <a:pt x="435216" y="57080"/>
                  </a:lnTo>
                  <a:lnTo>
                    <a:pt x="467322" y="185508"/>
                  </a:lnTo>
                  <a:lnTo>
                    <a:pt x="513698" y="288965"/>
                  </a:lnTo>
                  <a:lnTo>
                    <a:pt x="513698" y="335342"/>
                  </a:lnTo>
                  <a:lnTo>
                    <a:pt x="574343" y="478040"/>
                  </a:lnTo>
                  <a:lnTo>
                    <a:pt x="631420" y="481608"/>
                  </a:lnTo>
                  <a:lnTo>
                    <a:pt x="638555" y="545822"/>
                  </a:lnTo>
                  <a:lnTo>
                    <a:pt x="692065" y="631441"/>
                  </a:lnTo>
                  <a:lnTo>
                    <a:pt x="809788" y="642143"/>
                  </a:lnTo>
                  <a:lnTo>
                    <a:pt x="849028" y="695655"/>
                  </a:lnTo>
                  <a:lnTo>
                    <a:pt x="820490" y="720628"/>
                  </a:lnTo>
                  <a:lnTo>
                    <a:pt x="881135" y="781274"/>
                  </a:lnTo>
                  <a:lnTo>
                    <a:pt x="877567" y="874028"/>
                  </a:lnTo>
                  <a:lnTo>
                    <a:pt x="881135" y="941810"/>
                  </a:lnTo>
                  <a:lnTo>
                    <a:pt x="820490" y="1023862"/>
                  </a:lnTo>
                  <a:lnTo>
                    <a:pt x="720604" y="1009592"/>
                  </a:lnTo>
                  <a:lnTo>
                    <a:pt x="656392" y="1077374"/>
                  </a:lnTo>
                  <a:lnTo>
                    <a:pt x="606449" y="1127318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0087C8"/>
                </a:solidFill>
              </a:endParaRPr>
            </a:p>
          </p:txBody>
        </p:sp>
      </p:grpSp>
      <p:sp>
        <p:nvSpPr>
          <p:cNvPr id="49" name="CuadroTexto 48"/>
          <p:cNvSpPr txBox="1"/>
          <p:nvPr/>
        </p:nvSpPr>
        <p:spPr bwMode="gray">
          <a:xfrm>
            <a:off x="6130835" y="2673389"/>
            <a:ext cx="125269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 smtClean="0">
                <a:solidFill>
                  <a:schemeClr val="accent1"/>
                </a:solidFill>
                <a:latin typeface="Corbel" panose="020B0503020204020204" pitchFamily="34" charset="0"/>
                <a:cs typeface="Arial" pitchFamily="34" charset="0"/>
              </a:rPr>
              <a:t>Zona geográfica</a:t>
            </a:r>
            <a:endParaRPr lang="es-PE" sz="1600" b="1" dirty="0">
              <a:solidFill>
                <a:schemeClr val="accent1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cxnSp>
        <p:nvCxnSpPr>
          <p:cNvPr id="50" name="Conector recto 49"/>
          <p:cNvCxnSpPr/>
          <p:nvPr/>
        </p:nvCxnSpPr>
        <p:spPr>
          <a:xfrm>
            <a:off x="594703" y="2294631"/>
            <a:ext cx="6884268" cy="2296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Elipse 50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ángulo 51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sp>
        <p:nvSpPr>
          <p:cNvPr id="53" name="Elipse 52"/>
          <p:cNvSpPr/>
          <p:nvPr/>
        </p:nvSpPr>
        <p:spPr bwMode="gray">
          <a:xfrm>
            <a:off x="759699" y="1996836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Elipse 53"/>
          <p:cNvSpPr/>
          <p:nvPr/>
        </p:nvSpPr>
        <p:spPr bwMode="gray">
          <a:xfrm>
            <a:off x="593447" y="2657975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Elipse 54"/>
          <p:cNvSpPr/>
          <p:nvPr/>
        </p:nvSpPr>
        <p:spPr bwMode="gray">
          <a:xfrm>
            <a:off x="722391" y="3009835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Elipse 55"/>
          <p:cNvSpPr/>
          <p:nvPr/>
        </p:nvSpPr>
        <p:spPr bwMode="gray">
          <a:xfrm>
            <a:off x="592272" y="3337183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Elipse 56"/>
          <p:cNvSpPr/>
          <p:nvPr/>
        </p:nvSpPr>
        <p:spPr bwMode="gray">
          <a:xfrm>
            <a:off x="709511" y="4335743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Elipse 57"/>
          <p:cNvSpPr/>
          <p:nvPr/>
        </p:nvSpPr>
        <p:spPr bwMode="gray">
          <a:xfrm>
            <a:off x="857363" y="4667917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platzhalter 2"/>
          <p:cNvSpPr txBox="1">
            <a:spLocks/>
          </p:cNvSpPr>
          <p:nvPr/>
        </p:nvSpPr>
        <p:spPr bwMode="gray">
          <a:xfrm>
            <a:off x="8729746" y="3897773"/>
            <a:ext cx="3099487" cy="1757390"/>
          </a:xfrm>
          <a:prstGeom prst="rect">
            <a:avLst/>
          </a:prstGeo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9994" marR="0" indent="-2399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719982" indent="-239994" algn="l" defTabSz="121917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914400"/>
            <a:r>
              <a:rPr lang="es-PE" sz="2400" b="1" dirty="0">
                <a:solidFill>
                  <a:schemeClr val="tx2"/>
                </a:solidFill>
                <a:latin typeface="Corbel" panose="020B0503020204020204" pitchFamily="34" charset="0"/>
              </a:rPr>
              <a:t>Principalmente en…</a:t>
            </a:r>
          </a:p>
          <a:p>
            <a:pPr indent="-285750" defTabSz="914400">
              <a:buFont typeface="Arial" panose="020B0604020202020204" pitchFamily="34" charset="0"/>
              <a:buChar char="•"/>
            </a:pPr>
            <a:r>
              <a:rPr lang="es-PE" sz="2400" b="1" dirty="0">
                <a:solidFill>
                  <a:schemeClr val="tx2"/>
                </a:solidFill>
                <a:latin typeface="Corbel" panose="020B0503020204020204" pitchFamily="34" charset="0"/>
              </a:rPr>
              <a:t>Interior del país</a:t>
            </a:r>
          </a:p>
          <a:p>
            <a:pPr indent="-285750" defTabSz="914400">
              <a:buFont typeface="Arial" panose="020B0604020202020204" pitchFamily="34" charset="0"/>
              <a:buChar char="•"/>
            </a:pPr>
            <a:r>
              <a:rPr lang="es-PE" sz="2400" b="1" dirty="0">
                <a:solidFill>
                  <a:schemeClr val="tx2"/>
                </a:solidFill>
                <a:latin typeface="Corbel" panose="020B0503020204020204" pitchFamily="34" charset="0"/>
              </a:rPr>
              <a:t>NSE D/E</a:t>
            </a:r>
          </a:p>
          <a:p>
            <a:pPr indent="-285750" defTabSz="914400">
              <a:buFont typeface="Arial" panose="020B0604020202020204" pitchFamily="34" charset="0"/>
              <a:buChar char="•"/>
            </a:pPr>
            <a:r>
              <a:rPr lang="es-PE" sz="2400" b="1" dirty="0">
                <a:solidFill>
                  <a:schemeClr val="tx2"/>
                </a:solidFill>
                <a:latin typeface="Corbel" panose="020B0503020204020204" pitchFamily="34" charset="0"/>
              </a:rPr>
              <a:t>Hombres</a:t>
            </a:r>
            <a:endParaRPr lang="en-US" sz="2400" b="1" dirty="0">
              <a:solidFill>
                <a:schemeClr val="tx2"/>
              </a:solidFill>
              <a:latin typeface="Corbel" panose="020B0503020204020204" pitchFamily="34" charset="0"/>
            </a:endParaRPr>
          </a:p>
        </p:txBody>
      </p:sp>
      <p:sp>
        <p:nvSpPr>
          <p:cNvPr id="59" name="Rechteckige Legende 581"/>
          <p:cNvSpPr/>
          <p:nvPr>
            <p:custDataLst>
              <p:tags r:id="rId4"/>
            </p:custDataLst>
          </p:nvPr>
        </p:nvSpPr>
        <p:spPr bwMode="gray">
          <a:xfrm flipH="1">
            <a:off x="8203775" y="2056583"/>
            <a:ext cx="576000" cy="576000"/>
          </a:xfrm>
          <a:prstGeom prst="wedgeRectCallout">
            <a:avLst>
              <a:gd name="adj1" fmla="val -72152"/>
              <a:gd name="adj2" fmla="val 21829"/>
            </a:avLst>
          </a:prstGeom>
          <a:solidFill>
            <a:srgbClr val="FFFFFF"/>
          </a:solidFill>
          <a:ln w="9525">
            <a:solidFill>
              <a:schemeClr val="tx2"/>
            </a:solidFill>
            <a:round/>
            <a:headEnd/>
            <a:tailEnd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r>
              <a:rPr lang="en-US" sz="3600" b="1" dirty="0" smtClean="0">
                <a:solidFill>
                  <a:schemeClr val="tx2"/>
                </a:solidFill>
              </a:rPr>
              <a:t>!</a:t>
            </a:r>
          </a:p>
        </p:txBody>
      </p:sp>
      <p:sp>
        <p:nvSpPr>
          <p:cNvPr id="61" name="Rectángulo 60"/>
          <p:cNvSpPr/>
          <p:nvPr/>
        </p:nvSpPr>
        <p:spPr>
          <a:xfrm>
            <a:off x="8927184" y="1634881"/>
            <a:ext cx="291261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2400" b="1" dirty="0" smtClean="0">
                <a:solidFill>
                  <a:schemeClr val="tx2"/>
                </a:solidFill>
                <a:latin typeface="Corbel" panose="020B0503020204020204" pitchFamily="34" charset="0"/>
                <a:cs typeface="Arial" pitchFamily="34" charset="0"/>
              </a:rPr>
              <a:t>Un 13% reconoció participar en al menos una coima el 2019 vs un 16% el 2017. </a:t>
            </a:r>
            <a:endParaRPr lang="en-US" sz="2400" b="1" dirty="0">
              <a:solidFill>
                <a:schemeClr val="tx2"/>
              </a:solidFill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1429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ítulo 10">
            <a:extLst>
              <a:ext uri="{FF2B5EF4-FFF2-40B4-BE49-F238E27FC236}">
                <a16:creationId xmlns:a16="http://schemas.microsoft.com/office/drawing/2014/main" xmlns="" id="{E6EBAABC-2A21-440C-83CD-06681188AA36}"/>
              </a:ext>
            </a:extLst>
          </p:cNvPr>
          <p:cNvSpPr txBox="1">
            <a:spLocks/>
          </p:cNvSpPr>
          <p:nvPr/>
        </p:nvSpPr>
        <p:spPr>
          <a:xfrm>
            <a:off x="475502" y="195294"/>
            <a:ext cx="8830423" cy="122422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sz="2800" b="1" dirty="0">
                <a:solidFill>
                  <a:srgbClr val="000000"/>
                </a:solidFill>
                <a:latin typeface="Corbel" panose="020B0503020204020204" pitchFamily="34" charset="0"/>
              </a:rPr>
              <a:t>Victimización por corrupción según autoridad </a:t>
            </a:r>
            <a:r>
              <a:rPr lang="es-419" sz="2800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que pidió</a:t>
            </a:r>
            <a:endParaRPr lang="es-419" sz="2800" b="1" dirty="0">
              <a:solidFill>
                <a:srgbClr val="000000"/>
              </a:solidFill>
              <a:latin typeface="Corbel" panose="020B0503020204020204" pitchFamily="34" charset="0"/>
            </a:endParaRPr>
          </a:p>
          <a:p>
            <a:pPr lvl="0" defTabSz="914400">
              <a:spcBef>
                <a:spcPts val="0"/>
              </a:spcBef>
              <a:defRPr/>
            </a:pPr>
            <a:r>
              <a:rPr lang="es-419" dirty="0">
                <a:solidFill>
                  <a:srgbClr val="000000"/>
                </a:solidFill>
                <a:latin typeface="Corbel" panose="020B0503020204020204" pitchFamily="34" charset="0"/>
              </a:rPr>
              <a:t>Al igual que en 2017, pagos de coimas a la policía es la conducta más común entre los encuestados, pero se reduce de 16% a 8% en 2019.</a:t>
            </a:r>
            <a:endParaRPr lang="es-PE" dirty="0">
              <a:solidFill>
                <a:srgbClr val="000000"/>
              </a:solidFill>
              <a:latin typeface="Corbel" panose="020B050302020402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01F4FDD6-B16C-42DF-BD20-9F85AEC73F12}"/>
              </a:ext>
            </a:extLst>
          </p:cNvPr>
          <p:cNvSpPr/>
          <p:nvPr/>
        </p:nvSpPr>
        <p:spPr>
          <a:xfrm>
            <a:off x="475502" y="1667448"/>
            <a:ext cx="949145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En los últimos 12 meses, ¿usted ha tenido que dar alguna coima, un regalo o realizar un pago indebido para realizar cualquier trámite o gestión en relación a…? </a:t>
            </a:r>
            <a:r>
              <a:rPr lang="es-419" sz="1600" dirty="0">
                <a:latin typeface="Corbel" panose="020B0503020204020204" pitchFamily="34" charset="0"/>
              </a:rPr>
              <a:t>– </a:t>
            </a:r>
            <a:r>
              <a:rPr lang="es-419" sz="1600" b="1" dirty="0">
                <a:latin typeface="Corbel" panose="020B0503020204020204" pitchFamily="34" charset="0"/>
              </a:rPr>
              <a:t>CON TARJETA</a:t>
            </a:r>
            <a:endParaRPr lang="es-ES" sz="1600" b="1" dirty="0">
              <a:latin typeface="Corbel" panose="020B0503020204020204" pitchFamily="34" charset="0"/>
            </a:endParaRP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xmlns="" id="{9EC53CF9-1897-4D41-9CEB-24A28976DC73}"/>
              </a:ext>
            </a:extLst>
          </p:cNvPr>
          <p:cNvGrpSpPr/>
          <p:nvPr/>
        </p:nvGrpSpPr>
        <p:grpSpPr>
          <a:xfrm>
            <a:off x="656125" y="3042497"/>
            <a:ext cx="1891615" cy="2768393"/>
            <a:chOff x="656125" y="2524022"/>
            <a:chExt cx="1891615" cy="2768393"/>
          </a:xfrm>
        </p:grpSpPr>
        <p:sp>
          <p:nvSpPr>
            <p:cNvPr id="28" name="Freeform 26"/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1225541" y="2524022"/>
              <a:ext cx="752785" cy="965591"/>
            </a:xfrm>
            <a:custGeom>
              <a:avLst/>
              <a:gdLst>
                <a:gd name="T0" fmla="*/ 1322 w 1680"/>
                <a:gd name="T1" fmla="*/ 548 h 2155"/>
                <a:gd name="T2" fmla="*/ 349 w 1680"/>
                <a:gd name="T3" fmla="*/ 547 h 2155"/>
                <a:gd name="T4" fmla="*/ 408 w 1680"/>
                <a:gd name="T5" fmla="*/ 602 h 2155"/>
                <a:gd name="T6" fmla="*/ 1263 w 1680"/>
                <a:gd name="T7" fmla="*/ 601 h 2155"/>
                <a:gd name="T8" fmla="*/ 1116 w 1680"/>
                <a:gd name="T9" fmla="*/ 1762 h 2155"/>
                <a:gd name="T10" fmla="*/ 1217 w 1680"/>
                <a:gd name="T11" fmla="*/ 2038 h 2155"/>
                <a:gd name="T12" fmla="*/ 1254 w 1680"/>
                <a:gd name="T13" fmla="*/ 2038 h 2155"/>
                <a:gd name="T14" fmla="*/ 1355 w 1680"/>
                <a:gd name="T15" fmla="*/ 1762 h 2155"/>
                <a:gd name="T16" fmla="*/ 756 w 1680"/>
                <a:gd name="T17" fmla="*/ 182 h 2155"/>
                <a:gd name="T18" fmla="*/ 817 w 1680"/>
                <a:gd name="T19" fmla="*/ 348 h 2155"/>
                <a:gd name="T20" fmla="*/ 854 w 1680"/>
                <a:gd name="T21" fmla="*/ 348 h 2155"/>
                <a:gd name="T22" fmla="*/ 916 w 1680"/>
                <a:gd name="T23" fmla="*/ 182 h 2155"/>
                <a:gd name="T24" fmla="*/ 876 w 1680"/>
                <a:gd name="T25" fmla="*/ 2075 h 2155"/>
                <a:gd name="T26" fmla="*/ 989 w 1680"/>
                <a:gd name="T27" fmla="*/ 1716 h 2155"/>
                <a:gd name="T28" fmla="*/ 1109 w 1680"/>
                <a:gd name="T29" fmla="*/ 1489 h 2155"/>
                <a:gd name="T30" fmla="*/ 936 w 1680"/>
                <a:gd name="T31" fmla="*/ 1524 h 2155"/>
                <a:gd name="T32" fmla="*/ 682 w 1680"/>
                <a:gd name="T33" fmla="*/ 1597 h 2155"/>
                <a:gd name="T34" fmla="*/ 494 w 1680"/>
                <a:gd name="T35" fmla="*/ 1532 h 2155"/>
                <a:gd name="T36" fmla="*/ 796 w 1680"/>
                <a:gd name="T37" fmla="*/ 1580 h 2155"/>
                <a:gd name="T38" fmla="*/ 876 w 1680"/>
                <a:gd name="T39" fmla="*/ 2075 h 2155"/>
                <a:gd name="T40" fmla="*/ 236 w 1680"/>
                <a:gd name="T41" fmla="*/ 491 h 2155"/>
                <a:gd name="T42" fmla="*/ 334 w 1680"/>
                <a:gd name="T43" fmla="*/ 345 h 2155"/>
                <a:gd name="T44" fmla="*/ 808 w 1680"/>
                <a:gd name="T45" fmla="*/ 31 h 2155"/>
                <a:gd name="T46" fmla="*/ 866 w 1680"/>
                <a:gd name="T47" fmla="*/ 31 h 2155"/>
                <a:gd name="T48" fmla="*/ 1423 w 1680"/>
                <a:gd name="T49" fmla="*/ 460 h 2155"/>
                <a:gd name="T50" fmla="*/ 1436 w 1680"/>
                <a:gd name="T51" fmla="*/ 491 h 2155"/>
                <a:gd name="T52" fmla="*/ 1346 w 1680"/>
                <a:gd name="T53" fmla="*/ 640 h 2155"/>
                <a:gd name="T54" fmla="*/ 1262 w 1680"/>
                <a:gd name="T55" fmla="*/ 731 h 2155"/>
                <a:gd name="T56" fmla="*/ 1002 w 1680"/>
                <a:gd name="T57" fmla="*/ 724 h 2155"/>
                <a:gd name="T58" fmla="*/ 669 w 1680"/>
                <a:gd name="T59" fmla="*/ 724 h 2155"/>
                <a:gd name="T60" fmla="*/ 412 w 1680"/>
                <a:gd name="T61" fmla="*/ 731 h 2155"/>
                <a:gd name="T62" fmla="*/ 265 w 1680"/>
                <a:gd name="T63" fmla="*/ 567 h 2155"/>
                <a:gd name="T64" fmla="*/ 1324 w 1680"/>
                <a:gd name="T65" fmla="*/ 803 h 2155"/>
                <a:gd name="T66" fmla="*/ 1238 w 1680"/>
                <a:gd name="T67" fmla="*/ 1043 h 2155"/>
                <a:gd name="T68" fmla="*/ 1164 w 1680"/>
                <a:gd name="T69" fmla="*/ 1431 h 2155"/>
                <a:gd name="T70" fmla="*/ 1547 w 1680"/>
                <a:gd name="T71" fmla="*/ 1597 h 2155"/>
                <a:gd name="T72" fmla="*/ 1504 w 1680"/>
                <a:gd name="T73" fmla="*/ 2064 h 2155"/>
                <a:gd name="T74" fmla="*/ 840 w 1680"/>
                <a:gd name="T75" fmla="*/ 2155 h 2155"/>
                <a:gd name="T76" fmla="*/ 175 w 1680"/>
                <a:gd name="T77" fmla="*/ 2064 h 2155"/>
                <a:gd name="T78" fmla="*/ 132 w 1680"/>
                <a:gd name="T79" fmla="*/ 1597 h 2155"/>
                <a:gd name="T80" fmla="*/ 514 w 1680"/>
                <a:gd name="T81" fmla="*/ 1431 h 2155"/>
                <a:gd name="T82" fmla="*/ 438 w 1680"/>
                <a:gd name="T83" fmla="*/ 1029 h 2155"/>
                <a:gd name="T84" fmla="*/ 352 w 1680"/>
                <a:gd name="T85" fmla="*/ 789 h 2155"/>
                <a:gd name="T86" fmla="*/ 491 w 1680"/>
                <a:gd name="T87" fmla="*/ 826 h 2155"/>
                <a:gd name="T88" fmla="*/ 836 w 1680"/>
                <a:gd name="T89" fmla="*/ 783 h 2155"/>
                <a:gd name="T90" fmla="*/ 1180 w 1680"/>
                <a:gd name="T91" fmla="*/ 826 h 2155"/>
                <a:gd name="T92" fmla="*/ 1328 w 1680"/>
                <a:gd name="T93" fmla="*/ 784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80" h="2155">
                  <a:moveTo>
                    <a:pt x="1271" y="608"/>
                  </a:moveTo>
                  <a:cubicBezTo>
                    <a:pt x="1282" y="586"/>
                    <a:pt x="1306" y="568"/>
                    <a:pt x="1322" y="548"/>
                  </a:cubicBezTo>
                  <a:cubicBezTo>
                    <a:pt x="1217" y="425"/>
                    <a:pt x="989" y="391"/>
                    <a:pt x="836" y="391"/>
                  </a:cubicBezTo>
                  <a:cubicBezTo>
                    <a:pt x="680" y="391"/>
                    <a:pt x="459" y="424"/>
                    <a:pt x="349" y="547"/>
                  </a:cubicBezTo>
                  <a:cubicBezTo>
                    <a:pt x="366" y="568"/>
                    <a:pt x="388" y="585"/>
                    <a:pt x="400" y="608"/>
                  </a:cubicBezTo>
                  <a:cubicBezTo>
                    <a:pt x="403" y="606"/>
                    <a:pt x="406" y="604"/>
                    <a:pt x="408" y="602"/>
                  </a:cubicBezTo>
                  <a:cubicBezTo>
                    <a:pt x="511" y="495"/>
                    <a:pt x="695" y="471"/>
                    <a:pt x="836" y="471"/>
                  </a:cubicBezTo>
                  <a:cubicBezTo>
                    <a:pt x="976" y="471"/>
                    <a:pt x="1160" y="495"/>
                    <a:pt x="1263" y="601"/>
                  </a:cubicBezTo>
                  <a:cubicBezTo>
                    <a:pt x="1266" y="604"/>
                    <a:pt x="1268" y="606"/>
                    <a:pt x="1271" y="608"/>
                  </a:cubicBezTo>
                  <a:close/>
                  <a:moveTo>
                    <a:pt x="1116" y="1762"/>
                  </a:moveTo>
                  <a:cubicBezTo>
                    <a:pt x="1116" y="1874"/>
                    <a:pt x="1116" y="1874"/>
                    <a:pt x="1116" y="1874"/>
                  </a:cubicBezTo>
                  <a:cubicBezTo>
                    <a:pt x="1116" y="1945"/>
                    <a:pt x="1154" y="2005"/>
                    <a:pt x="1217" y="2038"/>
                  </a:cubicBezTo>
                  <a:cubicBezTo>
                    <a:pt x="1235" y="2047"/>
                    <a:pt x="1235" y="2047"/>
                    <a:pt x="1235" y="2047"/>
                  </a:cubicBezTo>
                  <a:cubicBezTo>
                    <a:pt x="1254" y="2038"/>
                    <a:pt x="1254" y="2038"/>
                    <a:pt x="1254" y="2038"/>
                  </a:cubicBezTo>
                  <a:cubicBezTo>
                    <a:pt x="1317" y="2005"/>
                    <a:pt x="1355" y="1945"/>
                    <a:pt x="1355" y="1874"/>
                  </a:cubicBezTo>
                  <a:cubicBezTo>
                    <a:pt x="1355" y="1762"/>
                    <a:pt x="1355" y="1762"/>
                    <a:pt x="1355" y="1762"/>
                  </a:cubicBezTo>
                  <a:cubicBezTo>
                    <a:pt x="1275" y="1762"/>
                    <a:pt x="1195" y="1762"/>
                    <a:pt x="1116" y="1762"/>
                  </a:cubicBezTo>
                  <a:close/>
                  <a:moveTo>
                    <a:pt x="756" y="182"/>
                  </a:moveTo>
                  <a:cubicBezTo>
                    <a:pt x="756" y="248"/>
                    <a:pt x="756" y="248"/>
                    <a:pt x="756" y="248"/>
                  </a:cubicBezTo>
                  <a:cubicBezTo>
                    <a:pt x="756" y="291"/>
                    <a:pt x="779" y="328"/>
                    <a:pt x="817" y="348"/>
                  </a:cubicBezTo>
                  <a:cubicBezTo>
                    <a:pt x="836" y="357"/>
                    <a:pt x="836" y="357"/>
                    <a:pt x="836" y="357"/>
                  </a:cubicBezTo>
                  <a:cubicBezTo>
                    <a:pt x="854" y="348"/>
                    <a:pt x="854" y="348"/>
                    <a:pt x="854" y="348"/>
                  </a:cubicBezTo>
                  <a:cubicBezTo>
                    <a:pt x="892" y="328"/>
                    <a:pt x="916" y="291"/>
                    <a:pt x="916" y="248"/>
                  </a:cubicBezTo>
                  <a:cubicBezTo>
                    <a:pt x="916" y="182"/>
                    <a:pt x="916" y="182"/>
                    <a:pt x="916" y="182"/>
                  </a:cubicBezTo>
                  <a:cubicBezTo>
                    <a:pt x="862" y="182"/>
                    <a:pt x="809" y="182"/>
                    <a:pt x="756" y="182"/>
                  </a:cubicBezTo>
                  <a:close/>
                  <a:moveTo>
                    <a:pt x="876" y="2075"/>
                  </a:moveTo>
                  <a:cubicBezTo>
                    <a:pt x="876" y="1575"/>
                    <a:pt x="876" y="1575"/>
                    <a:pt x="876" y="1575"/>
                  </a:cubicBezTo>
                  <a:cubicBezTo>
                    <a:pt x="989" y="1716"/>
                    <a:pt x="989" y="1716"/>
                    <a:pt x="989" y="1716"/>
                  </a:cubicBezTo>
                  <a:cubicBezTo>
                    <a:pt x="1181" y="1530"/>
                    <a:pt x="1181" y="1530"/>
                    <a:pt x="1181" y="1530"/>
                  </a:cubicBezTo>
                  <a:cubicBezTo>
                    <a:pt x="1159" y="1521"/>
                    <a:pt x="1128" y="1505"/>
                    <a:pt x="1109" y="1489"/>
                  </a:cubicBezTo>
                  <a:cubicBezTo>
                    <a:pt x="996" y="1598"/>
                    <a:pt x="996" y="1598"/>
                    <a:pt x="996" y="1598"/>
                  </a:cubicBezTo>
                  <a:cubicBezTo>
                    <a:pt x="936" y="1524"/>
                    <a:pt x="936" y="1524"/>
                    <a:pt x="936" y="1524"/>
                  </a:cubicBezTo>
                  <a:cubicBezTo>
                    <a:pt x="872" y="1538"/>
                    <a:pt x="803" y="1538"/>
                    <a:pt x="739" y="1523"/>
                  </a:cubicBezTo>
                  <a:cubicBezTo>
                    <a:pt x="682" y="1597"/>
                    <a:pt x="682" y="1597"/>
                    <a:pt x="682" y="1597"/>
                  </a:cubicBezTo>
                  <a:cubicBezTo>
                    <a:pt x="568" y="1491"/>
                    <a:pt x="568" y="1491"/>
                    <a:pt x="568" y="1491"/>
                  </a:cubicBezTo>
                  <a:cubicBezTo>
                    <a:pt x="548" y="1507"/>
                    <a:pt x="517" y="1522"/>
                    <a:pt x="494" y="1532"/>
                  </a:cubicBezTo>
                  <a:cubicBezTo>
                    <a:pt x="692" y="1716"/>
                    <a:pt x="692" y="1716"/>
                    <a:pt x="692" y="1716"/>
                  </a:cubicBezTo>
                  <a:cubicBezTo>
                    <a:pt x="796" y="1580"/>
                    <a:pt x="796" y="1580"/>
                    <a:pt x="796" y="1580"/>
                  </a:cubicBezTo>
                  <a:cubicBezTo>
                    <a:pt x="796" y="2075"/>
                    <a:pt x="796" y="2075"/>
                    <a:pt x="796" y="2075"/>
                  </a:cubicBezTo>
                  <a:cubicBezTo>
                    <a:pt x="822" y="2075"/>
                    <a:pt x="849" y="2075"/>
                    <a:pt x="876" y="2075"/>
                  </a:cubicBezTo>
                  <a:close/>
                  <a:moveTo>
                    <a:pt x="265" y="567"/>
                  </a:moveTo>
                  <a:cubicBezTo>
                    <a:pt x="248" y="542"/>
                    <a:pt x="236" y="515"/>
                    <a:pt x="236" y="491"/>
                  </a:cubicBezTo>
                  <a:cubicBezTo>
                    <a:pt x="236" y="474"/>
                    <a:pt x="236" y="474"/>
                    <a:pt x="236" y="474"/>
                  </a:cubicBezTo>
                  <a:cubicBezTo>
                    <a:pt x="277" y="434"/>
                    <a:pt x="308" y="397"/>
                    <a:pt x="334" y="345"/>
                  </a:cubicBezTo>
                  <a:cubicBezTo>
                    <a:pt x="365" y="283"/>
                    <a:pt x="373" y="233"/>
                    <a:pt x="382" y="167"/>
                  </a:cubicBezTo>
                  <a:cubicBezTo>
                    <a:pt x="549" y="187"/>
                    <a:pt x="688" y="158"/>
                    <a:pt x="808" y="31"/>
                  </a:cubicBezTo>
                  <a:cubicBezTo>
                    <a:pt x="836" y="0"/>
                    <a:pt x="836" y="0"/>
                    <a:pt x="836" y="0"/>
                  </a:cubicBezTo>
                  <a:cubicBezTo>
                    <a:pt x="866" y="31"/>
                    <a:pt x="866" y="31"/>
                    <a:pt x="866" y="31"/>
                  </a:cubicBezTo>
                  <a:cubicBezTo>
                    <a:pt x="985" y="158"/>
                    <a:pt x="1125" y="187"/>
                    <a:pt x="1291" y="167"/>
                  </a:cubicBezTo>
                  <a:cubicBezTo>
                    <a:pt x="1307" y="287"/>
                    <a:pt x="1335" y="374"/>
                    <a:pt x="1423" y="460"/>
                  </a:cubicBezTo>
                  <a:cubicBezTo>
                    <a:pt x="1435" y="472"/>
                    <a:pt x="1435" y="472"/>
                    <a:pt x="1435" y="472"/>
                  </a:cubicBezTo>
                  <a:cubicBezTo>
                    <a:pt x="1436" y="491"/>
                    <a:pt x="1436" y="491"/>
                    <a:pt x="1436" y="491"/>
                  </a:cubicBezTo>
                  <a:cubicBezTo>
                    <a:pt x="1436" y="519"/>
                    <a:pt x="1422" y="548"/>
                    <a:pt x="1401" y="577"/>
                  </a:cubicBezTo>
                  <a:cubicBezTo>
                    <a:pt x="1386" y="598"/>
                    <a:pt x="1366" y="619"/>
                    <a:pt x="1346" y="640"/>
                  </a:cubicBezTo>
                  <a:cubicBezTo>
                    <a:pt x="1346" y="641"/>
                    <a:pt x="1343" y="643"/>
                    <a:pt x="1342" y="644"/>
                  </a:cubicBezTo>
                  <a:cubicBezTo>
                    <a:pt x="1317" y="692"/>
                    <a:pt x="1289" y="718"/>
                    <a:pt x="1262" y="731"/>
                  </a:cubicBezTo>
                  <a:cubicBezTo>
                    <a:pt x="1231" y="746"/>
                    <a:pt x="1205" y="746"/>
                    <a:pt x="1180" y="746"/>
                  </a:cubicBezTo>
                  <a:cubicBezTo>
                    <a:pt x="1119" y="746"/>
                    <a:pt x="1061" y="735"/>
                    <a:pt x="1002" y="724"/>
                  </a:cubicBezTo>
                  <a:cubicBezTo>
                    <a:pt x="948" y="714"/>
                    <a:pt x="892" y="703"/>
                    <a:pt x="836" y="703"/>
                  </a:cubicBezTo>
                  <a:cubicBezTo>
                    <a:pt x="779" y="703"/>
                    <a:pt x="724" y="714"/>
                    <a:pt x="669" y="724"/>
                  </a:cubicBezTo>
                  <a:cubicBezTo>
                    <a:pt x="610" y="735"/>
                    <a:pt x="552" y="746"/>
                    <a:pt x="491" y="746"/>
                  </a:cubicBezTo>
                  <a:cubicBezTo>
                    <a:pt x="469" y="746"/>
                    <a:pt x="443" y="746"/>
                    <a:pt x="412" y="731"/>
                  </a:cubicBezTo>
                  <a:cubicBezTo>
                    <a:pt x="374" y="713"/>
                    <a:pt x="349" y="681"/>
                    <a:pt x="329" y="644"/>
                  </a:cubicBezTo>
                  <a:cubicBezTo>
                    <a:pt x="312" y="627"/>
                    <a:pt x="285" y="597"/>
                    <a:pt x="265" y="567"/>
                  </a:cubicBezTo>
                  <a:close/>
                  <a:moveTo>
                    <a:pt x="1328" y="784"/>
                  </a:moveTo>
                  <a:cubicBezTo>
                    <a:pt x="1327" y="791"/>
                    <a:pt x="1326" y="797"/>
                    <a:pt x="1324" y="803"/>
                  </a:cubicBezTo>
                  <a:cubicBezTo>
                    <a:pt x="1344" y="887"/>
                    <a:pt x="1316" y="982"/>
                    <a:pt x="1242" y="1029"/>
                  </a:cubicBezTo>
                  <a:cubicBezTo>
                    <a:pt x="1240" y="1035"/>
                    <a:pt x="1239" y="1039"/>
                    <a:pt x="1238" y="1043"/>
                  </a:cubicBezTo>
                  <a:cubicBezTo>
                    <a:pt x="1219" y="1116"/>
                    <a:pt x="1199" y="1193"/>
                    <a:pt x="1147" y="1253"/>
                  </a:cubicBezTo>
                  <a:cubicBezTo>
                    <a:pt x="1146" y="1300"/>
                    <a:pt x="1126" y="1407"/>
                    <a:pt x="1164" y="1431"/>
                  </a:cubicBezTo>
                  <a:cubicBezTo>
                    <a:pt x="1195" y="1447"/>
                    <a:pt x="1216" y="1457"/>
                    <a:pt x="1249" y="1471"/>
                  </a:cubicBezTo>
                  <a:cubicBezTo>
                    <a:pt x="1333" y="1499"/>
                    <a:pt x="1487" y="1539"/>
                    <a:pt x="1547" y="1597"/>
                  </a:cubicBezTo>
                  <a:cubicBezTo>
                    <a:pt x="1634" y="1682"/>
                    <a:pt x="1680" y="1813"/>
                    <a:pt x="1680" y="1931"/>
                  </a:cubicBezTo>
                  <a:cubicBezTo>
                    <a:pt x="1680" y="1989"/>
                    <a:pt x="1608" y="2032"/>
                    <a:pt x="1504" y="2064"/>
                  </a:cubicBezTo>
                  <a:cubicBezTo>
                    <a:pt x="1476" y="2075"/>
                    <a:pt x="1444" y="2085"/>
                    <a:pt x="1411" y="2094"/>
                  </a:cubicBezTo>
                  <a:cubicBezTo>
                    <a:pt x="1233" y="2141"/>
                    <a:pt x="985" y="2155"/>
                    <a:pt x="840" y="2155"/>
                  </a:cubicBezTo>
                  <a:cubicBezTo>
                    <a:pt x="694" y="2155"/>
                    <a:pt x="446" y="2141"/>
                    <a:pt x="268" y="2094"/>
                  </a:cubicBezTo>
                  <a:cubicBezTo>
                    <a:pt x="235" y="2085"/>
                    <a:pt x="204" y="2075"/>
                    <a:pt x="175" y="2064"/>
                  </a:cubicBezTo>
                  <a:cubicBezTo>
                    <a:pt x="72" y="2032"/>
                    <a:pt x="0" y="1989"/>
                    <a:pt x="0" y="1931"/>
                  </a:cubicBezTo>
                  <a:cubicBezTo>
                    <a:pt x="0" y="1813"/>
                    <a:pt x="45" y="1682"/>
                    <a:pt x="132" y="1597"/>
                  </a:cubicBezTo>
                  <a:cubicBezTo>
                    <a:pt x="183" y="1547"/>
                    <a:pt x="322" y="1503"/>
                    <a:pt x="395" y="1481"/>
                  </a:cubicBezTo>
                  <a:cubicBezTo>
                    <a:pt x="444" y="1467"/>
                    <a:pt x="470" y="1457"/>
                    <a:pt x="514" y="1431"/>
                  </a:cubicBezTo>
                  <a:cubicBezTo>
                    <a:pt x="553" y="1409"/>
                    <a:pt x="535" y="1301"/>
                    <a:pt x="533" y="1253"/>
                  </a:cubicBezTo>
                  <a:cubicBezTo>
                    <a:pt x="478" y="1191"/>
                    <a:pt x="458" y="1108"/>
                    <a:pt x="438" y="1029"/>
                  </a:cubicBezTo>
                  <a:cubicBezTo>
                    <a:pt x="364" y="983"/>
                    <a:pt x="336" y="886"/>
                    <a:pt x="355" y="803"/>
                  </a:cubicBezTo>
                  <a:cubicBezTo>
                    <a:pt x="354" y="799"/>
                    <a:pt x="353" y="794"/>
                    <a:pt x="352" y="789"/>
                  </a:cubicBezTo>
                  <a:cubicBezTo>
                    <a:pt x="360" y="795"/>
                    <a:pt x="368" y="799"/>
                    <a:pt x="378" y="804"/>
                  </a:cubicBezTo>
                  <a:cubicBezTo>
                    <a:pt x="416" y="822"/>
                    <a:pt x="450" y="826"/>
                    <a:pt x="491" y="826"/>
                  </a:cubicBezTo>
                  <a:cubicBezTo>
                    <a:pt x="557" y="826"/>
                    <a:pt x="620" y="815"/>
                    <a:pt x="684" y="803"/>
                  </a:cubicBezTo>
                  <a:cubicBezTo>
                    <a:pt x="734" y="793"/>
                    <a:pt x="785" y="783"/>
                    <a:pt x="836" y="783"/>
                  </a:cubicBezTo>
                  <a:cubicBezTo>
                    <a:pt x="886" y="783"/>
                    <a:pt x="938" y="793"/>
                    <a:pt x="988" y="803"/>
                  </a:cubicBezTo>
                  <a:cubicBezTo>
                    <a:pt x="1052" y="815"/>
                    <a:pt x="1114" y="826"/>
                    <a:pt x="1180" y="826"/>
                  </a:cubicBezTo>
                  <a:cubicBezTo>
                    <a:pt x="1223" y="826"/>
                    <a:pt x="1258" y="823"/>
                    <a:pt x="1297" y="803"/>
                  </a:cubicBezTo>
                  <a:cubicBezTo>
                    <a:pt x="1308" y="798"/>
                    <a:pt x="1318" y="791"/>
                    <a:pt x="1328" y="78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CuadroTexto 39"/>
            <p:cNvSpPr txBox="1"/>
            <p:nvPr/>
          </p:nvSpPr>
          <p:spPr bwMode="gray">
            <a:xfrm>
              <a:off x="656125" y="5046194"/>
              <a:ext cx="1891615" cy="246221"/>
            </a:xfrm>
            <a:prstGeom prst="rect">
              <a:avLst/>
            </a:prstGeom>
            <a:noFill/>
            <a:ln>
              <a:solidFill>
                <a:srgbClr val="DC291E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es-PE" sz="1600" b="1" dirty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16% </a:t>
              </a:r>
              <a:r>
                <a:rPr lang="es-PE" sz="1600" b="1" dirty="0" smtClean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en </a:t>
              </a:r>
              <a:r>
                <a:rPr lang="es-PE" sz="1600" b="1" dirty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2017</a:t>
              </a:r>
              <a:endParaRPr lang="en-US" sz="1600" b="1" dirty="0" err="1">
                <a:solidFill>
                  <a:srgbClr val="DC291E"/>
                </a:solidFill>
                <a:latin typeface="Corbel" panose="020B0503020204020204" pitchFamily="34" charset="0"/>
                <a:cs typeface="Arial" pitchFamily="34" charset="0"/>
              </a:endParaRPr>
            </a:p>
          </p:txBody>
        </p:sp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xmlns="" id="{804DF643-B1FF-434A-9681-E127D152E9DB}"/>
                </a:ext>
              </a:extLst>
            </p:cNvPr>
            <p:cNvSpPr/>
            <p:nvPr/>
          </p:nvSpPr>
          <p:spPr bwMode="gray">
            <a:xfrm>
              <a:off x="993153" y="3905834"/>
              <a:ext cx="1222146" cy="628459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" name="Imagen 1">
              <a:extLst>
                <a:ext uri="{FF2B5EF4-FFF2-40B4-BE49-F238E27FC236}">
                  <a16:creationId xmlns:a16="http://schemas.microsoft.com/office/drawing/2014/main" xmlns="" id="{07223039-F0E6-4272-8E08-6355731B3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49494" y="4594117"/>
              <a:ext cx="904875" cy="342900"/>
            </a:xfrm>
            <a:prstGeom prst="rect">
              <a:avLst/>
            </a:prstGeom>
          </p:spPr>
        </p:pic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xmlns="" id="{25AC495E-C404-4718-B920-CD2F8192601C}"/>
                </a:ext>
              </a:extLst>
            </p:cNvPr>
            <p:cNvSpPr txBox="1"/>
            <p:nvPr/>
          </p:nvSpPr>
          <p:spPr bwMode="gray">
            <a:xfrm>
              <a:off x="1453653" y="3574613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8%</a:t>
              </a:r>
            </a:p>
          </p:txBody>
        </p:sp>
      </p:grpSp>
      <p:grpSp>
        <p:nvGrpSpPr>
          <p:cNvPr id="9" name="Grupo 8">
            <a:extLst>
              <a:ext uri="{FF2B5EF4-FFF2-40B4-BE49-F238E27FC236}">
                <a16:creationId xmlns:a16="http://schemas.microsoft.com/office/drawing/2014/main" xmlns="" id="{51ECF604-5318-489B-9AF1-1306EB43751C}"/>
              </a:ext>
            </a:extLst>
          </p:cNvPr>
          <p:cNvGrpSpPr/>
          <p:nvPr/>
        </p:nvGrpSpPr>
        <p:grpSpPr>
          <a:xfrm>
            <a:off x="2954687" y="3026005"/>
            <a:ext cx="1891615" cy="2784884"/>
            <a:chOff x="2954687" y="2507530"/>
            <a:chExt cx="1891615" cy="2784884"/>
          </a:xfrm>
        </p:grpSpPr>
        <p:sp>
          <p:nvSpPr>
            <p:cNvPr id="29" name="Freeform 62"/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3272321" y="2507530"/>
              <a:ext cx="1025315" cy="974863"/>
            </a:xfrm>
            <a:custGeom>
              <a:avLst/>
              <a:gdLst>
                <a:gd name="T0" fmla="*/ 94 w 2108"/>
                <a:gd name="T1" fmla="*/ 1684 h 2004"/>
                <a:gd name="T2" fmla="*/ 2014 w 2108"/>
                <a:gd name="T3" fmla="*/ 1764 h 2004"/>
                <a:gd name="T4" fmla="*/ 2094 w 2108"/>
                <a:gd name="T5" fmla="*/ 2004 h 2004"/>
                <a:gd name="T6" fmla="*/ 14 w 2108"/>
                <a:gd name="T7" fmla="*/ 1764 h 2004"/>
                <a:gd name="T8" fmla="*/ 1054 w 2108"/>
                <a:gd name="T9" fmla="*/ 0 h 2004"/>
                <a:gd name="T10" fmla="*/ 2038 w 2108"/>
                <a:gd name="T11" fmla="*/ 604 h 2004"/>
                <a:gd name="T12" fmla="*/ 1934 w 2108"/>
                <a:gd name="T13" fmla="*/ 724 h 2004"/>
                <a:gd name="T14" fmla="*/ 174 w 2108"/>
                <a:gd name="T15" fmla="*/ 604 h 2004"/>
                <a:gd name="T16" fmla="*/ 0 w 2108"/>
                <a:gd name="T17" fmla="*/ 464 h 2004"/>
                <a:gd name="T18" fmla="*/ 1054 w 2108"/>
                <a:gd name="T19" fmla="*/ 267 h 2004"/>
                <a:gd name="T20" fmla="*/ 560 w 2108"/>
                <a:gd name="T21" fmla="*/ 484 h 2004"/>
                <a:gd name="T22" fmla="*/ 1054 w 2108"/>
                <a:gd name="T23" fmla="*/ 180 h 2004"/>
                <a:gd name="T24" fmla="*/ 334 w 2108"/>
                <a:gd name="T25" fmla="*/ 564 h 2004"/>
                <a:gd name="T26" fmla="*/ 1774 w 2108"/>
                <a:gd name="T27" fmla="*/ 496 h 2004"/>
                <a:gd name="T28" fmla="*/ 1854 w 2108"/>
                <a:gd name="T29" fmla="*/ 804 h 2004"/>
                <a:gd name="T30" fmla="*/ 1814 w 2108"/>
                <a:gd name="T31" fmla="*/ 1604 h 2004"/>
                <a:gd name="T32" fmla="*/ 1419 w 2108"/>
                <a:gd name="T33" fmla="*/ 1318 h 2004"/>
                <a:gd name="T34" fmla="*/ 1374 w 2108"/>
                <a:gd name="T35" fmla="*/ 804 h 2004"/>
                <a:gd name="T36" fmla="*/ 734 w 2108"/>
                <a:gd name="T37" fmla="*/ 804 h 2004"/>
                <a:gd name="T38" fmla="*/ 694 w 2108"/>
                <a:gd name="T39" fmla="*/ 1604 h 2004"/>
                <a:gd name="T40" fmla="*/ 299 w 2108"/>
                <a:gd name="T41" fmla="*/ 1318 h 2004"/>
                <a:gd name="T42" fmla="*/ 254 w 2108"/>
                <a:gd name="T43" fmla="*/ 804 h 2004"/>
                <a:gd name="T44" fmla="*/ 900 w 2108"/>
                <a:gd name="T45" fmla="*/ 1106 h 2004"/>
                <a:gd name="T46" fmla="*/ 974 w 2108"/>
                <a:gd name="T47" fmla="*/ 1284 h 2004"/>
                <a:gd name="T48" fmla="*/ 1208 w 2108"/>
                <a:gd name="T49" fmla="*/ 1302 h 2004"/>
                <a:gd name="T50" fmla="*/ 1134 w 2108"/>
                <a:gd name="T51" fmla="*/ 1124 h 2004"/>
                <a:gd name="T52" fmla="*/ 900 w 2108"/>
                <a:gd name="T53" fmla="*/ 1106 h 2004"/>
                <a:gd name="T54" fmla="*/ 1294 w 2108"/>
                <a:gd name="T55" fmla="*/ 1444 h 2004"/>
                <a:gd name="T56" fmla="*/ 974 w 2108"/>
                <a:gd name="T57" fmla="*/ 1604 h 2004"/>
                <a:gd name="T58" fmla="*/ 814 w 2108"/>
                <a:gd name="T59" fmla="*/ 1429 h 2004"/>
                <a:gd name="T60" fmla="*/ 894 w 2108"/>
                <a:gd name="T61" fmla="*/ 1444 h 2004"/>
                <a:gd name="T62" fmla="*/ 1134 w 2108"/>
                <a:gd name="T63" fmla="*/ 1524 h 2004"/>
                <a:gd name="T64" fmla="*/ 1134 w 2108"/>
                <a:gd name="T65" fmla="*/ 1364 h 2004"/>
                <a:gd name="T66" fmla="*/ 790 w 2108"/>
                <a:gd name="T67" fmla="*/ 1180 h 2004"/>
                <a:gd name="T68" fmla="*/ 814 w 2108"/>
                <a:gd name="T69" fmla="*/ 964 h 2004"/>
                <a:gd name="T70" fmla="*/ 1134 w 2108"/>
                <a:gd name="T71" fmla="*/ 804 h 2004"/>
                <a:gd name="T72" fmla="*/ 1294 w 2108"/>
                <a:gd name="T73" fmla="*/ 979 h 2004"/>
                <a:gd name="T74" fmla="*/ 1214 w 2108"/>
                <a:gd name="T75" fmla="*/ 964 h 2004"/>
                <a:gd name="T76" fmla="*/ 974 w 2108"/>
                <a:gd name="T77" fmla="*/ 884 h 2004"/>
                <a:gd name="T78" fmla="*/ 917 w 2108"/>
                <a:gd name="T79" fmla="*/ 1021 h 2004"/>
                <a:gd name="T80" fmla="*/ 1134 w 2108"/>
                <a:gd name="T81" fmla="*/ 1044 h 2004"/>
                <a:gd name="T82" fmla="*/ 1267 w 2108"/>
                <a:gd name="T83" fmla="*/ 1355 h 2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08" h="2004">
                  <a:moveTo>
                    <a:pt x="94" y="1764"/>
                  </a:moveTo>
                  <a:cubicBezTo>
                    <a:pt x="94" y="1684"/>
                    <a:pt x="94" y="1684"/>
                    <a:pt x="94" y="1684"/>
                  </a:cubicBezTo>
                  <a:cubicBezTo>
                    <a:pt x="2014" y="1684"/>
                    <a:pt x="2014" y="1684"/>
                    <a:pt x="2014" y="1684"/>
                  </a:cubicBezTo>
                  <a:cubicBezTo>
                    <a:pt x="2014" y="1764"/>
                    <a:pt x="2014" y="1764"/>
                    <a:pt x="2014" y="1764"/>
                  </a:cubicBezTo>
                  <a:cubicBezTo>
                    <a:pt x="2094" y="1764"/>
                    <a:pt x="2094" y="1764"/>
                    <a:pt x="2094" y="1764"/>
                  </a:cubicBezTo>
                  <a:cubicBezTo>
                    <a:pt x="2094" y="1844"/>
                    <a:pt x="2094" y="1924"/>
                    <a:pt x="2094" y="2004"/>
                  </a:cubicBezTo>
                  <a:cubicBezTo>
                    <a:pt x="14" y="2004"/>
                    <a:pt x="14" y="2004"/>
                    <a:pt x="14" y="2004"/>
                  </a:cubicBezTo>
                  <a:cubicBezTo>
                    <a:pt x="14" y="1764"/>
                    <a:pt x="14" y="1764"/>
                    <a:pt x="14" y="1764"/>
                  </a:cubicBezTo>
                  <a:lnTo>
                    <a:pt x="94" y="1764"/>
                  </a:lnTo>
                  <a:close/>
                  <a:moveTo>
                    <a:pt x="1054" y="0"/>
                  </a:moveTo>
                  <a:cubicBezTo>
                    <a:pt x="2108" y="464"/>
                    <a:pt x="2108" y="464"/>
                    <a:pt x="2108" y="464"/>
                  </a:cubicBezTo>
                  <a:cubicBezTo>
                    <a:pt x="2085" y="511"/>
                    <a:pt x="2062" y="558"/>
                    <a:pt x="2038" y="604"/>
                  </a:cubicBezTo>
                  <a:cubicBezTo>
                    <a:pt x="1934" y="604"/>
                    <a:pt x="1934" y="604"/>
                    <a:pt x="1934" y="604"/>
                  </a:cubicBezTo>
                  <a:cubicBezTo>
                    <a:pt x="1934" y="724"/>
                    <a:pt x="1934" y="724"/>
                    <a:pt x="193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604"/>
                    <a:pt x="174" y="604"/>
                    <a:pt x="174" y="604"/>
                  </a:cubicBezTo>
                  <a:cubicBezTo>
                    <a:pt x="70" y="604"/>
                    <a:pt x="70" y="604"/>
                    <a:pt x="70" y="604"/>
                  </a:cubicBezTo>
                  <a:cubicBezTo>
                    <a:pt x="0" y="464"/>
                    <a:pt x="0" y="464"/>
                    <a:pt x="0" y="464"/>
                  </a:cubicBezTo>
                  <a:lnTo>
                    <a:pt x="1054" y="0"/>
                  </a:lnTo>
                  <a:close/>
                  <a:moveTo>
                    <a:pt x="1054" y="267"/>
                  </a:moveTo>
                  <a:cubicBezTo>
                    <a:pt x="1548" y="484"/>
                    <a:pt x="1548" y="484"/>
                    <a:pt x="1548" y="484"/>
                  </a:cubicBezTo>
                  <a:cubicBezTo>
                    <a:pt x="560" y="484"/>
                    <a:pt x="560" y="484"/>
                    <a:pt x="560" y="484"/>
                  </a:cubicBezTo>
                  <a:lnTo>
                    <a:pt x="1054" y="267"/>
                  </a:lnTo>
                  <a:close/>
                  <a:moveTo>
                    <a:pt x="1054" y="180"/>
                  </a:moveTo>
                  <a:cubicBezTo>
                    <a:pt x="334" y="496"/>
                    <a:pt x="334" y="496"/>
                    <a:pt x="334" y="496"/>
                  </a:cubicBezTo>
                  <a:cubicBezTo>
                    <a:pt x="334" y="519"/>
                    <a:pt x="334" y="541"/>
                    <a:pt x="334" y="564"/>
                  </a:cubicBezTo>
                  <a:cubicBezTo>
                    <a:pt x="1774" y="564"/>
                    <a:pt x="1774" y="564"/>
                    <a:pt x="1774" y="564"/>
                  </a:cubicBezTo>
                  <a:cubicBezTo>
                    <a:pt x="1774" y="541"/>
                    <a:pt x="1774" y="519"/>
                    <a:pt x="1774" y="496"/>
                  </a:cubicBezTo>
                  <a:lnTo>
                    <a:pt x="1054" y="180"/>
                  </a:lnTo>
                  <a:close/>
                  <a:moveTo>
                    <a:pt x="1854" y="804"/>
                  </a:moveTo>
                  <a:cubicBezTo>
                    <a:pt x="1854" y="832"/>
                    <a:pt x="1854" y="900"/>
                    <a:pt x="1779" y="919"/>
                  </a:cubicBezTo>
                  <a:cubicBezTo>
                    <a:pt x="1808" y="1147"/>
                    <a:pt x="1813" y="1395"/>
                    <a:pt x="1814" y="1604"/>
                  </a:cubicBezTo>
                  <a:cubicBezTo>
                    <a:pt x="1414" y="1604"/>
                    <a:pt x="1414" y="1604"/>
                    <a:pt x="1414" y="1604"/>
                  </a:cubicBezTo>
                  <a:cubicBezTo>
                    <a:pt x="1414" y="1516"/>
                    <a:pt x="1416" y="1419"/>
                    <a:pt x="1419" y="1318"/>
                  </a:cubicBezTo>
                  <a:cubicBezTo>
                    <a:pt x="1424" y="1185"/>
                    <a:pt x="1432" y="1048"/>
                    <a:pt x="1449" y="918"/>
                  </a:cubicBezTo>
                  <a:cubicBezTo>
                    <a:pt x="1394" y="902"/>
                    <a:pt x="1374" y="858"/>
                    <a:pt x="1374" y="804"/>
                  </a:cubicBezTo>
                  <a:lnTo>
                    <a:pt x="1854" y="804"/>
                  </a:lnTo>
                  <a:close/>
                  <a:moveTo>
                    <a:pt x="734" y="804"/>
                  </a:moveTo>
                  <a:cubicBezTo>
                    <a:pt x="734" y="832"/>
                    <a:pt x="734" y="900"/>
                    <a:pt x="659" y="919"/>
                  </a:cubicBezTo>
                  <a:cubicBezTo>
                    <a:pt x="688" y="1147"/>
                    <a:pt x="693" y="1395"/>
                    <a:pt x="694" y="1604"/>
                  </a:cubicBezTo>
                  <a:cubicBezTo>
                    <a:pt x="294" y="1604"/>
                    <a:pt x="294" y="1604"/>
                    <a:pt x="294" y="1604"/>
                  </a:cubicBezTo>
                  <a:cubicBezTo>
                    <a:pt x="294" y="1516"/>
                    <a:pt x="296" y="1419"/>
                    <a:pt x="299" y="1318"/>
                  </a:cubicBezTo>
                  <a:cubicBezTo>
                    <a:pt x="304" y="1185"/>
                    <a:pt x="312" y="1048"/>
                    <a:pt x="329" y="918"/>
                  </a:cubicBezTo>
                  <a:cubicBezTo>
                    <a:pt x="274" y="902"/>
                    <a:pt x="254" y="858"/>
                    <a:pt x="254" y="804"/>
                  </a:cubicBezTo>
                  <a:lnTo>
                    <a:pt x="734" y="804"/>
                  </a:lnTo>
                  <a:close/>
                  <a:moveTo>
                    <a:pt x="900" y="1106"/>
                  </a:moveTo>
                  <a:cubicBezTo>
                    <a:pt x="881" y="1126"/>
                    <a:pt x="870" y="1152"/>
                    <a:pt x="870" y="1180"/>
                  </a:cubicBezTo>
                  <a:cubicBezTo>
                    <a:pt x="870" y="1237"/>
                    <a:pt x="916" y="1284"/>
                    <a:pt x="974" y="1284"/>
                  </a:cubicBezTo>
                  <a:cubicBezTo>
                    <a:pt x="1134" y="1284"/>
                    <a:pt x="1134" y="1284"/>
                    <a:pt x="1134" y="1284"/>
                  </a:cubicBezTo>
                  <a:cubicBezTo>
                    <a:pt x="1160" y="1284"/>
                    <a:pt x="1186" y="1290"/>
                    <a:pt x="1208" y="1302"/>
                  </a:cubicBezTo>
                  <a:cubicBezTo>
                    <a:pt x="1227" y="1282"/>
                    <a:pt x="1238" y="1256"/>
                    <a:pt x="1238" y="1228"/>
                  </a:cubicBezTo>
                  <a:cubicBezTo>
                    <a:pt x="1238" y="1171"/>
                    <a:pt x="1192" y="1124"/>
                    <a:pt x="1134" y="1124"/>
                  </a:cubicBezTo>
                  <a:cubicBezTo>
                    <a:pt x="974" y="1124"/>
                    <a:pt x="974" y="1124"/>
                    <a:pt x="974" y="1124"/>
                  </a:cubicBezTo>
                  <a:cubicBezTo>
                    <a:pt x="948" y="1124"/>
                    <a:pt x="922" y="1118"/>
                    <a:pt x="900" y="1106"/>
                  </a:cubicBezTo>
                  <a:close/>
                  <a:moveTo>
                    <a:pt x="1267" y="1355"/>
                  </a:moveTo>
                  <a:cubicBezTo>
                    <a:pt x="1284" y="1380"/>
                    <a:pt x="1294" y="1411"/>
                    <a:pt x="1294" y="1444"/>
                  </a:cubicBezTo>
                  <a:cubicBezTo>
                    <a:pt x="1294" y="1532"/>
                    <a:pt x="1222" y="1604"/>
                    <a:pt x="1134" y="1604"/>
                  </a:cubicBezTo>
                  <a:cubicBezTo>
                    <a:pt x="974" y="1604"/>
                    <a:pt x="974" y="1604"/>
                    <a:pt x="974" y="1604"/>
                  </a:cubicBezTo>
                  <a:cubicBezTo>
                    <a:pt x="886" y="1604"/>
                    <a:pt x="814" y="1532"/>
                    <a:pt x="814" y="1444"/>
                  </a:cubicBezTo>
                  <a:cubicBezTo>
                    <a:pt x="814" y="1429"/>
                    <a:pt x="814" y="1429"/>
                    <a:pt x="814" y="1429"/>
                  </a:cubicBezTo>
                  <a:cubicBezTo>
                    <a:pt x="894" y="1429"/>
                    <a:pt x="894" y="1429"/>
                    <a:pt x="894" y="1429"/>
                  </a:cubicBezTo>
                  <a:cubicBezTo>
                    <a:pt x="894" y="1444"/>
                    <a:pt x="894" y="1444"/>
                    <a:pt x="894" y="1444"/>
                  </a:cubicBezTo>
                  <a:cubicBezTo>
                    <a:pt x="894" y="1488"/>
                    <a:pt x="930" y="1524"/>
                    <a:pt x="974" y="1524"/>
                  </a:cubicBezTo>
                  <a:cubicBezTo>
                    <a:pt x="1134" y="1524"/>
                    <a:pt x="1134" y="1524"/>
                    <a:pt x="1134" y="1524"/>
                  </a:cubicBezTo>
                  <a:cubicBezTo>
                    <a:pt x="1178" y="1524"/>
                    <a:pt x="1214" y="1488"/>
                    <a:pt x="1214" y="1444"/>
                  </a:cubicBezTo>
                  <a:cubicBezTo>
                    <a:pt x="1214" y="1399"/>
                    <a:pt x="1178" y="1364"/>
                    <a:pt x="1134" y="1364"/>
                  </a:cubicBezTo>
                  <a:cubicBezTo>
                    <a:pt x="974" y="1364"/>
                    <a:pt x="974" y="1364"/>
                    <a:pt x="974" y="1364"/>
                  </a:cubicBezTo>
                  <a:cubicBezTo>
                    <a:pt x="873" y="1364"/>
                    <a:pt x="790" y="1280"/>
                    <a:pt x="790" y="1180"/>
                  </a:cubicBezTo>
                  <a:cubicBezTo>
                    <a:pt x="790" y="1132"/>
                    <a:pt x="808" y="1087"/>
                    <a:pt x="841" y="1053"/>
                  </a:cubicBezTo>
                  <a:cubicBezTo>
                    <a:pt x="824" y="1028"/>
                    <a:pt x="814" y="997"/>
                    <a:pt x="814" y="964"/>
                  </a:cubicBezTo>
                  <a:cubicBezTo>
                    <a:pt x="814" y="876"/>
                    <a:pt x="886" y="804"/>
                    <a:pt x="974" y="804"/>
                  </a:cubicBezTo>
                  <a:cubicBezTo>
                    <a:pt x="1134" y="804"/>
                    <a:pt x="1134" y="804"/>
                    <a:pt x="1134" y="804"/>
                  </a:cubicBezTo>
                  <a:cubicBezTo>
                    <a:pt x="1222" y="804"/>
                    <a:pt x="1294" y="876"/>
                    <a:pt x="1294" y="964"/>
                  </a:cubicBezTo>
                  <a:cubicBezTo>
                    <a:pt x="1294" y="979"/>
                    <a:pt x="1294" y="979"/>
                    <a:pt x="1294" y="979"/>
                  </a:cubicBezTo>
                  <a:cubicBezTo>
                    <a:pt x="1214" y="979"/>
                    <a:pt x="1214" y="979"/>
                    <a:pt x="1214" y="979"/>
                  </a:cubicBezTo>
                  <a:cubicBezTo>
                    <a:pt x="1214" y="964"/>
                    <a:pt x="1214" y="964"/>
                    <a:pt x="1214" y="964"/>
                  </a:cubicBezTo>
                  <a:cubicBezTo>
                    <a:pt x="1214" y="920"/>
                    <a:pt x="1178" y="884"/>
                    <a:pt x="1134" y="884"/>
                  </a:cubicBezTo>
                  <a:cubicBezTo>
                    <a:pt x="974" y="884"/>
                    <a:pt x="974" y="884"/>
                    <a:pt x="974" y="884"/>
                  </a:cubicBezTo>
                  <a:cubicBezTo>
                    <a:pt x="930" y="884"/>
                    <a:pt x="894" y="920"/>
                    <a:pt x="894" y="964"/>
                  </a:cubicBezTo>
                  <a:cubicBezTo>
                    <a:pt x="894" y="986"/>
                    <a:pt x="903" y="1006"/>
                    <a:pt x="917" y="1021"/>
                  </a:cubicBezTo>
                  <a:cubicBezTo>
                    <a:pt x="932" y="1035"/>
                    <a:pt x="952" y="1044"/>
                    <a:pt x="974" y="1044"/>
                  </a:cubicBezTo>
                  <a:cubicBezTo>
                    <a:pt x="1134" y="1044"/>
                    <a:pt x="1134" y="1044"/>
                    <a:pt x="1134" y="1044"/>
                  </a:cubicBezTo>
                  <a:cubicBezTo>
                    <a:pt x="1235" y="1044"/>
                    <a:pt x="1318" y="1128"/>
                    <a:pt x="1318" y="1228"/>
                  </a:cubicBezTo>
                  <a:cubicBezTo>
                    <a:pt x="1318" y="1276"/>
                    <a:pt x="1300" y="1321"/>
                    <a:pt x="1267" y="135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CuadroTexto 40"/>
            <p:cNvSpPr txBox="1"/>
            <p:nvPr/>
          </p:nvSpPr>
          <p:spPr bwMode="gray">
            <a:xfrm>
              <a:off x="2954687" y="5046193"/>
              <a:ext cx="1891615" cy="246221"/>
            </a:xfrm>
            <a:prstGeom prst="rect">
              <a:avLst/>
            </a:prstGeom>
            <a:noFill/>
            <a:ln>
              <a:solidFill>
                <a:srgbClr val="DC291E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es-PE" sz="1600" b="1" dirty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6% </a:t>
              </a:r>
              <a:r>
                <a:rPr lang="es-PE" sz="1600" b="1" dirty="0" smtClean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2017</a:t>
              </a:r>
              <a:endParaRPr lang="en-US" sz="1600" b="1" dirty="0" err="1">
                <a:solidFill>
                  <a:srgbClr val="DC291E"/>
                </a:solidFill>
                <a:latin typeface="Corbel" panose="020B0503020204020204" pitchFamily="34" charset="0"/>
                <a:cs typeface="Arial" pitchFamily="34" charset="0"/>
              </a:endParaRPr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xmlns="" id="{8D63A3B0-488A-48CA-A81E-2F93E2249563}"/>
                </a:ext>
              </a:extLst>
            </p:cNvPr>
            <p:cNvSpPr/>
            <p:nvPr/>
          </p:nvSpPr>
          <p:spPr bwMode="gray">
            <a:xfrm>
              <a:off x="3157924" y="4120369"/>
              <a:ext cx="1222146" cy="413924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/>
            </a:p>
          </p:txBody>
        </p:sp>
        <p:pic>
          <p:nvPicPr>
            <p:cNvPr id="3" name="Imagen 2">
              <a:extLst>
                <a:ext uri="{FF2B5EF4-FFF2-40B4-BE49-F238E27FC236}">
                  <a16:creationId xmlns:a16="http://schemas.microsoft.com/office/drawing/2014/main" xmlns="" id="{E5D148FB-D28D-41FA-BF87-F8E21C92AD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187972" y="4626351"/>
              <a:ext cx="1162050" cy="266700"/>
            </a:xfrm>
            <a:prstGeom prst="rect">
              <a:avLst/>
            </a:prstGeom>
          </p:spPr>
        </p:pic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xmlns="" id="{23DC7A9E-2474-49CF-A5B6-E6E1BF301EE1}"/>
                </a:ext>
              </a:extLst>
            </p:cNvPr>
            <p:cNvSpPr txBox="1"/>
            <p:nvPr/>
          </p:nvSpPr>
          <p:spPr bwMode="gray">
            <a:xfrm>
              <a:off x="3636700" y="3574451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5%</a:t>
              </a:r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xmlns="" id="{7D687162-7F37-47E0-A0CC-8A275E73C77A}"/>
              </a:ext>
            </a:extLst>
          </p:cNvPr>
          <p:cNvGrpSpPr/>
          <p:nvPr/>
        </p:nvGrpSpPr>
        <p:grpSpPr>
          <a:xfrm>
            <a:off x="5101615" y="3030562"/>
            <a:ext cx="1750213" cy="2780327"/>
            <a:chOff x="5101615" y="2512087"/>
            <a:chExt cx="1750213" cy="2780327"/>
          </a:xfrm>
        </p:grpSpPr>
        <p:sp>
          <p:nvSpPr>
            <p:cNvPr id="31" name="Freeform 42"/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5435589" y="2512087"/>
              <a:ext cx="1082263" cy="970306"/>
            </a:xfrm>
            <a:custGeom>
              <a:avLst/>
              <a:gdLst>
                <a:gd name="T0" fmla="*/ 0 w 5481"/>
                <a:gd name="T1" fmla="*/ 4725 h 4914"/>
                <a:gd name="T2" fmla="*/ 284 w 5481"/>
                <a:gd name="T3" fmla="*/ 4725 h 4914"/>
                <a:gd name="T4" fmla="*/ 284 w 5481"/>
                <a:gd name="T5" fmla="*/ 1134 h 4914"/>
                <a:gd name="T6" fmla="*/ 1040 w 5481"/>
                <a:gd name="T7" fmla="*/ 1134 h 4914"/>
                <a:gd name="T8" fmla="*/ 1040 w 5481"/>
                <a:gd name="T9" fmla="*/ 4725 h 4914"/>
                <a:gd name="T10" fmla="*/ 1229 w 5481"/>
                <a:gd name="T11" fmla="*/ 4725 h 4914"/>
                <a:gd name="T12" fmla="*/ 1229 w 5481"/>
                <a:gd name="T13" fmla="*/ 0 h 4914"/>
                <a:gd name="T14" fmla="*/ 4252 w 5481"/>
                <a:gd name="T15" fmla="*/ 0 h 4914"/>
                <a:gd name="T16" fmla="*/ 4252 w 5481"/>
                <a:gd name="T17" fmla="*/ 4725 h 4914"/>
                <a:gd name="T18" fmla="*/ 4441 w 5481"/>
                <a:gd name="T19" fmla="*/ 4725 h 4914"/>
                <a:gd name="T20" fmla="*/ 4441 w 5481"/>
                <a:gd name="T21" fmla="*/ 1134 h 4914"/>
                <a:gd name="T22" fmla="*/ 5197 w 5481"/>
                <a:gd name="T23" fmla="*/ 1134 h 4914"/>
                <a:gd name="T24" fmla="*/ 5197 w 5481"/>
                <a:gd name="T25" fmla="*/ 4725 h 4914"/>
                <a:gd name="T26" fmla="*/ 5481 w 5481"/>
                <a:gd name="T27" fmla="*/ 4725 h 4914"/>
                <a:gd name="T28" fmla="*/ 5481 w 5481"/>
                <a:gd name="T29" fmla="*/ 4914 h 4914"/>
                <a:gd name="T30" fmla="*/ 3213 w 5481"/>
                <a:gd name="T31" fmla="*/ 4914 h 4914"/>
                <a:gd name="T32" fmla="*/ 3213 w 5481"/>
                <a:gd name="T33" fmla="*/ 3496 h 4914"/>
                <a:gd name="T34" fmla="*/ 2268 w 5481"/>
                <a:gd name="T35" fmla="*/ 3496 h 4914"/>
                <a:gd name="T36" fmla="*/ 2268 w 5481"/>
                <a:gd name="T37" fmla="*/ 4914 h 4914"/>
                <a:gd name="T38" fmla="*/ 0 w 5481"/>
                <a:gd name="T39" fmla="*/ 4914 h 4914"/>
                <a:gd name="T40" fmla="*/ 0 w 5481"/>
                <a:gd name="T41" fmla="*/ 4725 h 4914"/>
                <a:gd name="T42" fmla="*/ 1985 w 5481"/>
                <a:gd name="T43" fmla="*/ 1701 h 4914"/>
                <a:gd name="T44" fmla="*/ 2552 w 5481"/>
                <a:gd name="T45" fmla="*/ 1701 h 4914"/>
                <a:gd name="T46" fmla="*/ 2552 w 5481"/>
                <a:gd name="T47" fmla="*/ 2268 h 4914"/>
                <a:gd name="T48" fmla="*/ 2929 w 5481"/>
                <a:gd name="T49" fmla="*/ 2268 h 4914"/>
                <a:gd name="T50" fmla="*/ 2929 w 5481"/>
                <a:gd name="T51" fmla="*/ 1701 h 4914"/>
                <a:gd name="T52" fmla="*/ 3496 w 5481"/>
                <a:gd name="T53" fmla="*/ 1701 h 4914"/>
                <a:gd name="T54" fmla="*/ 3496 w 5481"/>
                <a:gd name="T55" fmla="*/ 1323 h 4914"/>
                <a:gd name="T56" fmla="*/ 2929 w 5481"/>
                <a:gd name="T57" fmla="*/ 1323 h 4914"/>
                <a:gd name="T58" fmla="*/ 2929 w 5481"/>
                <a:gd name="T59" fmla="*/ 756 h 4914"/>
                <a:gd name="T60" fmla="*/ 2552 w 5481"/>
                <a:gd name="T61" fmla="*/ 756 h 4914"/>
                <a:gd name="T62" fmla="*/ 2552 w 5481"/>
                <a:gd name="T63" fmla="*/ 1323 h 4914"/>
                <a:gd name="T64" fmla="*/ 1985 w 5481"/>
                <a:gd name="T65" fmla="*/ 1323 h 4914"/>
                <a:gd name="T66" fmla="*/ 1985 w 5481"/>
                <a:gd name="T67" fmla="*/ 1701 h 4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81" h="4914">
                  <a:moveTo>
                    <a:pt x="0" y="4725"/>
                  </a:moveTo>
                  <a:lnTo>
                    <a:pt x="284" y="4725"/>
                  </a:lnTo>
                  <a:lnTo>
                    <a:pt x="284" y="1134"/>
                  </a:lnTo>
                  <a:lnTo>
                    <a:pt x="1040" y="1134"/>
                  </a:lnTo>
                  <a:lnTo>
                    <a:pt x="1040" y="4725"/>
                  </a:lnTo>
                  <a:lnTo>
                    <a:pt x="1229" y="4725"/>
                  </a:lnTo>
                  <a:lnTo>
                    <a:pt x="1229" y="0"/>
                  </a:lnTo>
                  <a:lnTo>
                    <a:pt x="4252" y="0"/>
                  </a:lnTo>
                  <a:lnTo>
                    <a:pt x="4252" y="4725"/>
                  </a:lnTo>
                  <a:lnTo>
                    <a:pt x="4441" y="4725"/>
                  </a:lnTo>
                  <a:lnTo>
                    <a:pt x="4441" y="1134"/>
                  </a:lnTo>
                  <a:lnTo>
                    <a:pt x="5197" y="1134"/>
                  </a:lnTo>
                  <a:lnTo>
                    <a:pt x="5197" y="4725"/>
                  </a:lnTo>
                  <a:lnTo>
                    <a:pt x="5481" y="4725"/>
                  </a:lnTo>
                  <a:lnTo>
                    <a:pt x="5481" y="4914"/>
                  </a:lnTo>
                  <a:lnTo>
                    <a:pt x="3213" y="4914"/>
                  </a:lnTo>
                  <a:lnTo>
                    <a:pt x="3213" y="3496"/>
                  </a:lnTo>
                  <a:lnTo>
                    <a:pt x="2268" y="3496"/>
                  </a:lnTo>
                  <a:lnTo>
                    <a:pt x="2268" y="4914"/>
                  </a:lnTo>
                  <a:lnTo>
                    <a:pt x="0" y="4914"/>
                  </a:lnTo>
                  <a:lnTo>
                    <a:pt x="0" y="4725"/>
                  </a:lnTo>
                  <a:close/>
                  <a:moveTo>
                    <a:pt x="1985" y="1701"/>
                  </a:moveTo>
                  <a:lnTo>
                    <a:pt x="2552" y="1701"/>
                  </a:lnTo>
                  <a:lnTo>
                    <a:pt x="2552" y="2268"/>
                  </a:lnTo>
                  <a:lnTo>
                    <a:pt x="2929" y="2268"/>
                  </a:lnTo>
                  <a:lnTo>
                    <a:pt x="2929" y="1701"/>
                  </a:lnTo>
                  <a:lnTo>
                    <a:pt x="3496" y="1701"/>
                  </a:lnTo>
                  <a:lnTo>
                    <a:pt x="3496" y="1323"/>
                  </a:lnTo>
                  <a:lnTo>
                    <a:pt x="2929" y="1323"/>
                  </a:lnTo>
                  <a:lnTo>
                    <a:pt x="2929" y="756"/>
                  </a:lnTo>
                  <a:lnTo>
                    <a:pt x="2552" y="756"/>
                  </a:lnTo>
                  <a:lnTo>
                    <a:pt x="2552" y="1323"/>
                  </a:lnTo>
                  <a:lnTo>
                    <a:pt x="1985" y="1323"/>
                  </a:lnTo>
                  <a:lnTo>
                    <a:pt x="1985" y="170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42" name="CuadroTexto 41"/>
            <p:cNvSpPr txBox="1"/>
            <p:nvPr/>
          </p:nvSpPr>
          <p:spPr bwMode="gray">
            <a:xfrm>
              <a:off x="5101615" y="5046193"/>
              <a:ext cx="1750213" cy="246221"/>
            </a:xfrm>
            <a:prstGeom prst="rect">
              <a:avLst/>
            </a:prstGeom>
            <a:noFill/>
            <a:ln>
              <a:solidFill>
                <a:srgbClr val="DC291E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es-PE" sz="1600" b="1" dirty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6% </a:t>
              </a:r>
              <a:r>
                <a:rPr lang="es-PE" sz="1600" b="1" dirty="0" smtClean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en </a:t>
              </a:r>
              <a:r>
                <a:rPr lang="es-PE" sz="1600" b="1" dirty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2017</a:t>
              </a:r>
              <a:endParaRPr lang="en-US" sz="1600" b="1" dirty="0" err="1">
                <a:solidFill>
                  <a:srgbClr val="DC291E"/>
                </a:solidFill>
                <a:latin typeface="Corbel" panose="020B0503020204020204" pitchFamily="34" charset="0"/>
                <a:cs typeface="Arial" pitchFamily="34" charset="0"/>
              </a:endParaRPr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xmlns="" id="{05A7F9A9-5229-4C34-8624-365B9E8CEEAA}"/>
                </a:ext>
              </a:extLst>
            </p:cNvPr>
            <p:cNvSpPr/>
            <p:nvPr/>
          </p:nvSpPr>
          <p:spPr bwMode="gray">
            <a:xfrm>
              <a:off x="5336702" y="4229490"/>
              <a:ext cx="1222145" cy="304803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4" name="Imagen 3">
              <a:extLst>
                <a:ext uri="{FF2B5EF4-FFF2-40B4-BE49-F238E27FC236}">
                  <a16:creationId xmlns:a16="http://schemas.microsoft.com/office/drawing/2014/main" xmlns="" id="{AF0169A2-00E3-4BA8-A636-A92DC5DC7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483086" y="4626351"/>
              <a:ext cx="1000125" cy="266700"/>
            </a:xfrm>
            <a:prstGeom prst="rect">
              <a:avLst/>
            </a:prstGeom>
          </p:spPr>
        </p:pic>
        <p:sp>
          <p:nvSpPr>
            <p:cNvPr id="27" name="CuadroTexto 26">
              <a:extLst>
                <a:ext uri="{FF2B5EF4-FFF2-40B4-BE49-F238E27FC236}">
                  <a16:creationId xmlns:a16="http://schemas.microsoft.com/office/drawing/2014/main" xmlns="" id="{DABD75C5-B5E4-4E06-A669-8812D248CF93}"/>
                </a:ext>
              </a:extLst>
            </p:cNvPr>
            <p:cNvSpPr txBox="1"/>
            <p:nvPr/>
          </p:nvSpPr>
          <p:spPr bwMode="gray">
            <a:xfrm>
              <a:off x="5799496" y="3594479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4%</a:t>
              </a:r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:a16="http://schemas.microsoft.com/office/drawing/2014/main" xmlns="" id="{0DB48CCC-054E-4B31-AB47-12416FB3B69B}"/>
              </a:ext>
            </a:extLst>
          </p:cNvPr>
          <p:cNvGrpSpPr/>
          <p:nvPr/>
        </p:nvGrpSpPr>
        <p:grpSpPr>
          <a:xfrm>
            <a:off x="7158039" y="3000729"/>
            <a:ext cx="1924050" cy="2637874"/>
            <a:chOff x="7158039" y="2482254"/>
            <a:chExt cx="1924050" cy="2637874"/>
          </a:xfrm>
        </p:grpSpPr>
        <p:sp>
          <p:nvSpPr>
            <p:cNvPr id="33" name="Freeform 119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7568067" y="2482254"/>
              <a:ext cx="972239" cy="922804"/>
            </a:xfrm>
            <a:custGeom>
              <a:avLst/>
              <a:gdLst>
                <a:gd name="T0" fmla="*/ 1218 w 2098"/>
                <a:gd name="T1" fmla="*/ 1973 h 1991"/>
                <a:gd name="T2" fmla="*/ 1218 w 2098"/>
                <a:gd name="T3" fmla="*/ 1853 h 1991"/>
                <a:gd name="T4" fmla="*/ 1418 w 2098"/>
                <a:gd name="T5" fmla="*/ 1653 h 1991"/>
                <a:gd name="T6" fmla="*/ 1898 w 2098"/>
                <a:gd name="T7" fmla="*/ 1653 h 1991"/>
                <a:gd name="T8" fmla="*/ 2098 w 2098"/>
                <a:gd name="T9" fmla="*/ 1853 h 1991"/>
                <a:gd name="T10" fmla="*/ 2098 w 2098"/>
                <a:gd name="T11" fmla="*/ 1973 h 1991"/>
                <a:gd name="T12" fmla="*/ 1218 w 2098"/>
                <a:gd name="T13" fmla="*/ 1973 h 1991"/>
                <a:gd name="T14" fmla="*/ 1153 w 2098"/>
                <a:gd name="T15" fmla="*/ 1054 h 1991"/>
                <a:gd name="T16" fmla="*/ 1126 w 2098"/>
                <a:gd name="T17" fmla="*/ 1081 h 1991"/>
                <a:gd name="T18" fmla="*/ 926 w 2098"/>
                <a:gd name="T19" fmla="*/ 1241 h 1991"/>
                <a:gd name="T20" fmla="*/ 766 w 2098"/>
                <a:gd name="T21" fmla="*/ 1441 h 1991"/>
                <a:gd name="T22" fmla="*/ 263 w 2098"/>
                <a:gd name="T23" fmla="*/ 1945 h 1991"/>
                <a:gd name="T24" fmla="*/ 96 w 2098"/>
                <a:gd name="T25" fmla="*/ 1947 h 1991"/>
                <a:gd name="T26" fmla="*/ 46 w 2098"/>
                <a:gd name="T27" fmla="*/ 1898 h 1991"/>
                <a:gd name="T28" fmla="*/ 46 w 2098"/>
                <a:gd name="T29" fmla="*/ 1728 h 1991"/>
                <a:gd name="T30" fmla="*/ 550 w 2098"/>
                <a:gd name="T31" fmla="*/ 1225 h 1991"/>
                <a:gd name="T32" fmla="*/ 750 w 2098"/>
                <a:gd name="T33" fmla="*/ 1065 h 1991"/>
                <a:gd name="T34" fmla="*/ 910 w 2098"/>
                <a:gd name="T35" fmla="*/ 865 h 1991"/>
                <a:gd name="T36" fmla="*/ 937 w 2098"/>
                <a:gd name="T37" fmla="*/ 838 h 1991"/>
                <a:gd name="T38" fmla="*/ 959 w 2098"/>
                <a:gd name="T39" fmla="*/ 864 h 1991"/>
                <a:gd name="T40" fmla="*/ 1127 w 2098"/>
                <a:gd name="T41" fmla="*/ 1032 h 1991"/>
                <a:gd name="T42" fmla="*/ 1153 w 2098"/>
                <a:gd name="T43" fmla="*/ 1054 h 1991"/>
                <a:gd name="T44" fmla="*/ 1279 w 2098"/>
                <a:gd name="T45" fmla="*/ 52 h 1991"/>
                <a:gd name="T46" fmla="*/ 1296 w 2098"/>
                <a:gd name="T47" fmla="*/ 70 h 1991"/>
                <a:gd name="T48" fmla="*/ 1332 w 2098"/>
                <a:gd name="T49" fmla="*/ 198 h 1991"/>
                <a:gd name="T50" fmla="*/ 1397 w 2098"/>
                <a:gd name="T51" fmla="*/ 263 h 1991"/>
                <a:gd name="T52" fmla="*/ 1525 w 2098"/>
                <a:gd name="T53" fmla="*/ 299 h 1991"/>
                <a:gd name="T54" fmla="*/ 1609 w 2098"/>
                <a:gd name="T55" fmla="*/ 382 h 1991"/>
                <a:gd name="T56" fmla="*/ 1692 w 2098"/>
                <a:gd name="T57" fmla="*/ 466 h 1991"/>
                <a:gd name="T58" fmla="*/ 1728 w 2098"/>
                <a:gd name="T59" fmla="*/ 594 h 1991"/>
                <a:gd name="T60" fmla="*/ 1793 w 2098"/>
                <a:gd name="T61" fmla="*/ 659 h 1991"/>
                <a:gd name="T62" fmla="*/ 1921 w 2098"/>
                <a:gd name="T63" fmla="*/ 695 h 1991"/>
                <a:gd name="T64" fmla="*/ 1939 w 2098"/>
                <a:gd name="T65" fmla="*/ 712 h 1991"/>
                <a:gd name="T66" fmla="*/ 1940 w 2098"/>
                <a:gd name="T67" fmla="*/ 899 h 1991"/>
                <a:gd name="T68" fmla="*/ 1617 w 2098"/>
                <a:gd name="T69" fmla="*/ 1223 h 1991"/>
                <a:gd name="T70" fmla="*/ 1430 w 2098"/>
                <a:gd name="T71" fmla="*/ 1221 h 1991"/>
                <a:gd name="T72" fmla="*/ 1412 w 2098"/>
                <a:gd name="T73" fmla="*/ 1204 h 1991"/>
                <a:gd name="T74" fmla="*/ 1377 w 2098"/>
                <a:gd name="T75" fmla="*/ 1076 h 1991"/>
                <a:gd name="T76" fmla="*/ 1311 w 2098"/>
                <a:gd name="T77" fmla="*/ 1010 h 1991"/>
                <a:gd name="T78" fmla="*/ 1183 w 2098"/>
                <a:gd name="T79" fmla="*/ 975 h 1991"/>
                <a:gd name="T80" fmla="*/ 1016 w 2098"/>
                <a:gd name="T81" fmla="*/ 808 h 1991"/>
                <a:gd name="T82" fmla="*/ 981 w 2098"/>
                <a:gd name="T83" fmla="*/ 680 h 1991"/>
                <a:gd name="T84" fmla="*/ 915 w 2098"/>
                <a:gd name="T85" fmla="*/ 614 h 1991"/>
                <a:gd name="T86" fmla="*/ 787 w 2098"/>
                <a:gd name="T87" fmla="*/ 579 h 1991"/>
                <a:gd name="T88" fmla="*/ 767 w 2098"/>
                <a:gd name="T89" fmla="*/ 559 h 1991"/>
                <a:gd name="T90" fmla="*/ 768 w 2098"/>
                <a:gd name="T91" fmla="*/ 374 h 1991"/>
                <a:gd name="T92" fmla="*/ 1092 w 2098"/>
                <a:gd name="T93" fmla="*/ 51 h 1991"/>
                <a:gd name="T94" fmla="*/ 1279 w 2098"/>
                <a:gd name="T95" fmla="*/ 52 h 1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98" h="1991">
                  <a:moveTo>
                    <a:pt x="1218" y="1973"/>
                  </a:moveTo>
                  <a:cubicBezTo>
                    <a:pt x="1218" y="1853"/>
                    <a:pt x="1218" y="1853"/>
                    <a:pt x="1218" y="1853"/>
                  </a:cubicBezTo>
                  <a:cubicBezTo>
                    <a:pt x="1218" y="1743"/>
                    <a:pt x="1308" y="1653"/>
                    <a:pt x="1418" y="1653"/>
                  </a:cubicBezTo>
                  <a:cubicBezTo>
                    <a:pt x="1898" y="1653"/>
                    <a:pt x="1898" y="1653"/>
                    <a:pt x="1898" y="1653"/>
                  </a:cubicBezTo>
                  <a:cubicBezTo>
                    <a:pt x="2008" y="1653"/>
                    <a:pt x="2098" y="1743"/>
                    <a:pt x="2098" y="1853"/>
                  </a:cubicBezTo>
                  <a:cubicBezTo>
                    <a:pt x="2098" y="1973"/>
                    <a:pt x="2098" y="1973"/>
                    <a:pt x="2098" y="1973"/>
                  </a:cubicBezTo>
                  <a:cubicBezTo>
                    <a:pt x="2030" y="1973"/>
                    <a:pt x="1286" y="1973"/>
                    <a:pt x="1218" y="1973"/>
                  </a:cubicBezTo>
                  <a:close/>
                  <a:moveTo>
                    <a:pt x="1153" y="1054"/>
                  </a:moveTo>
                  <a:cubicBezTo>
                    <a:pt x="1126" y="1081"/>
                    <a:pt x="1126" y="1081"/>
                    <a:pt x="1126" y="1081"/>
                  </a:cubicBezTo>
                  <a:cubicBezTo>
                    <a:pt x="1063" y="1144"/>
                    <a:pt x="988" y="1179"/>
                    <a:pt x="926" y="1241"/>
                  </a:cubicBezTo>
                  <a:cubicBezTo>
                    <a:pt x="866" y="1301"/>
                    <a:pt x="827" y="1380"/>
                    <a:pt x="766" y="1441"/>
                  </a:cubicBezTo>
                  <a:cubicBezTo>
                    <a:pt x="263" y="1945"/>
                    <a:pt x="263" y="1945"/>
                    <a:pt x="263" y="1945"/>
                  </a:cubicBezTo>
                  <a:cubicBezTo>
                    <a:pt x="217" y="1990"/>
                    <a:pt x="143" y="1991"/>
                    <a:pt x="96" y="1947"/>
                  </a:cubicBezTo>
                  <a:cubicBezTo>
                    <a:pt x="78" y="1933"/>
                    <a:pt x="62" y="1914"/>
                    <a:pt x="46" y="1898"/>
                  </a:cubicBezTo>
                  <a:cubicBezTo>
                    <a:pt x="0" y="1851"/>
                    <a:pt x="0" y="1775"/>
                    <a:pt x="46" y="1728"/>
                  </a:cubicBezTo>
                  <a:cubicBezTo>
                    <a:pt x="550" y="1225"/>
                    <a:pt x="550" y="1225"/>
                    <a:pt x="550" y="1225"/>
                  </a:cubicBezTo>
                  <a:cubicBezTo>
                    <a:pt x="611" y="1164"/>
                    <a:pt x="690" y="1125"/>
                    <a:pt x="750" y="1065"/>
                  </a:cubicBezTo>
                  <a:cubicBezTo>
                    <a:pt x="812" y="1003"/>
                    <a:pt x="847" y="928"/>
                    <a:pt x="910" y="865"/>
                  </a:cubicBezTo>
                  <a:cubicBezTo>
                    <a:pt x="937" y="838"/>
                    <a:pt x="937" y="838"/>
                    <a:pt x="937" y="838"/>
                  </a:cubicBezTo>
                  <a:cubicBezTo>
                    <a:pt x="943" y="847"/>
                    <a:pt x="951" y="856"/>
                    <a:pt x="959" y="864"/>
                  </a:cubicBezTo>
                  <a:cubicBezTo>
                    <a:pt x="1127" y="1032"/>
                    <a:pt x="1127" y="1032"/>
                    <a:pt x="1127" y="1032"/>
                  </a:cubicBezTo>
                  <a:cubicBezTo>
                    <a:pt x="1135" y="1040"/>
                    <a:pt x="1144" y="1047"/>
                    <a:pt x="1153" y="1054"/>
                  </a:cubicBezTo>
                  <a:close/>
                  <a:moveTo>
                    <a:pt x="1279" y="52"/>
                  </a:moveTo>
                  <a:cubicBezTo>
                    <a:pt x="1296" y="70"/>
                    <a:pt x="1296" y="70"/>
                    <a:pt x="1296" y="70"/>
                  </a:cubicBezTo>
                  <a:cubicBezTo>
                    <a:pt x="1330" y="104"/>
                    <a:pt x="1344" y="151"/>
                    <a:pt x="1332" y="198"/>
                  </a:cubicBezTo>
                  <a:cubicBezTo>
                    <a:pt x="1321" y="237"/>
                    <a:pt x="1358" y="274"/>
                    <a:pt x="1397" y="263"/>
                  </a:cubicBezTo>
                  <a:cubicBezTo>
                    <a:pt x="1444" y="251"/>
                    <a:pt x="1491" y="265"/>
                    <a:pt x="1525" y="299"/>
                  </a:cubicBezTo>
                  <a:cubicBezTo>
                    <a:pt x="1609" y="382"/>
                    <a:pt x="1609" y="382"/>
                    <a:pt x="1609" y="382"/>
                  </a:cubicBezTo>
                  <a:cubicBezTo>
                    <a:pt x="1692" y="466"/>
                    <a:pt x="1692" y="466"/>
                    <a:pt x="1692" y="466"/>
                  </a:cubicBezTo>
                  <a:cubicBezTo>
                    <a:pt x="1726" y="500"/>
                    <a:pt x="1740" y="547"/>
                    <a:pt x="1728" y="594"/>
                  </a:cubicBezTo>
                  <a:cubicBezTo>
                    <a:pt x="1717" y="633"/>
                    <a:pt x="1755" y="669"/>
                    <a:pt x="1793" y="659"/>
                  </a:cubicBezTo>
                  <a:cubicBezTo>
                    <a:pt x="1840" y="647"/>
                    <a:pt x="1887" y="661"/>
                    <a:pt x="1921" y="695"/>
                  </a:cubicBezTo>
                  <a:cubicBezTo>
                    <a:pt x="1939" y="712"/>
                    <a:pt x="1939" y="712"/>
                    <a:pt x="1939" y="712"/>
                  </a:cubicBezTo>
                  <a:cubicBezTo>
                    <a:pt x="1990" y="763"/>
                    <a:pt x="1991" y="848"/>
                    <a:pt x="1940" y="899"/>
                  </a:cubicBezTo>
                  <a:cubicBezTo>
                    <a:pt x="1617" y="1223"/>
                    <a:pt x="1617" y="1223"/>
                    <a:pt x="1617" y="1223"/>
                  </a:cubicBezTo>
                  <a:cubicBezTo>
                    <a:pt x="1565" y="1274"/>
                    <a:pt x="1480" y="1273"/>
                    <a:pt x="1430" y="1221"/>
                  </a:cubicBezTo>
                  <a:cubicBezTo>
                    <a:pt x="1412" y="1204"/>
                    <a:pt x="1412" y="1204"/>
                    <a:pt x="1412" y="1204"/>
                  </a:cubicBezTo>
                  <a:cubicBezTo>
                    <a:pt x="1378" y="1170"/>
                    <a:pt x="1365" y="1123"/>
                    <a:pt x="1377" y="1076"/>
                  </a:cubicBezTo>
                  <a:cubicBezTo>
                    <a:pt x="1387" y="1037"/>
                    <a:pt x="1350" y="1000"/>
                    <a:pt x="1311" y="1010"/>
                  </a:cubicBezTo>
                  <a:cubicBezTo>
                    <a:pt x="1264" y="1022"/>
                    <a:pt x="1217" y="1009"/>
                    <a:pt x="1183" y="975"/>
                  </a:cubicBezTo>
                  <a:cubicBezTo>
                    <a:pt x="1016" y="808"/>
                    <a:pt x="1016" y="808"/>
                    <a:pt x="1016" y="808"/>
                  </a:cubicBezTo>
                  <a:cubicBezTo>
                    <a:pt x="982" y="774"/>
                    <a:pt x="969" y="727"/>
                    <a:pt x="981" y="680"/>
                  </a:cubicBezTo>
                  <a:cubicBezTo>
                    <a:pt x="991" y="641"/>
                    <a:pt x="954" y="604"/>
                    <a:pt x="915" y="614"/>
                  </a:cubicBezTo>
                  <a:cubicBezTo>
                    <a:pt x="868" y="626"/>
                    <a:pt x="821" y="613"/>
                    <a:pt x="787" y="579"/>
                  </a:cubicBezTo>
                  <a:cubicBezTo>
                    <a:pt x="781" y="573"/>
                    <a:pt x="773" y="566"/>
                    <a:pt x="767" y="559"/>
                  </a:cubicBezTo>
                  <a:cubicBezTo>
                    <a:pt x="718" y="508"/>
                    <a:pt x="718" y="425"/>
                    <a:pt x="768" y="374"/>
                  </a:cubicBezTo>
                  <a:cubicBezTo>
                    <a:pt x="1092" y="51"/>
                    <a:pt x="1092" y="51"/>
                    <a:pt x="1092" y="51"/>
                  </a:cubicBezTo>
                  <a:cubicBezTo>
                    <a:pt x="1143" y="0"/>
                    <a:pt x="1228" y="1"/>
                    <a:pt x="1279" y="5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Rectángulo 18">
              <a:extLst>
                <a:ext uri="{FF2B5EF4-FFF2-40B4-BE49-F238E27FC236}">
                  <a16:creationId xmlns:a16="http://schemas.microsoft.com/office/drawing/2014/main" xmlns="" id="{D51896A8-BD10-431B-A2F3-AE80E4DB4535}"/>
                </a:ext>
              </a:extLst>
            </p:cNvPr>
            <p:cNvSpPr/>
            <p:nvPr/>
          </p:nvSpPr>
          <p:spPr bwMode="gray">
            <a:xfrm>
              <a:off x="7508992" y="4266349"/>
              <a:ext cx="1222145" cy="267944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5" name="Imagen 4">
              <a:extLst>
                <a:ext uri="{FF2B5EF4-FFF2-40B4-BE49-F238E27FC236}">
                  <a16:creationId xmlns:a16="http://schemas.microsoft.com/office/drawing/2014/main" xmlns="" id="{2497B2AA-229E-4167-A267-33CF821ABD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7158039" y="4605778"/>
              <a:ext cx="1924050" cy="514350"/>
            </a:xfrm>
            <a:prstGeom prst="rect">
              <a:avLst/>
            </a:prstGeom>
          </p:spPr>
        </p:pic>
        <p:sp>
          <p:nvSpPr>
            <p:cNvPr id="30" name="CuadroTexto 29">
              <a:extLst>
                <a:ext uri="{FF2B5EF4-FFF2-40B4-BE49-F238E27FC236}">
                  <a16:creationId xmlns:a16="http://schemas.microsoft.com/office/drawing/2014/main" xmlns="" id="{997E7365-5E44-4FD0-B753-974E77925A19}"/>
                </a:ext>
              </a:extLst>
            </p:cNvPr>
            <p:cNvSpPr txBox="1"/>
            <p:nvPr/>
          </p:nvSpPr>
          <p:spPr bwMode="gray">
            <a:xfrm>
              <a:off x="7905908" y="3595878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3%</a:t>
              </a:r>
            </a:p>
          </p:txBody>
        </p:sp>
      </p:grpSp>
      <p:grpSp>
        <p:nvGrpSpPr>
          <p:cNvPr id="12" name="Grupo 11">
            <a:extLst>
              <a:ext uri="{FF2B5EF4-FFF2-40B4-BE49-F238E27FC236}">
                <a16:creationId xmlns:a16="http://schemas.microsoft.com/office/drawing/2014/main" xmlns="" id="{C2EAB40A-CCC6-4E9E-8B2E-2F65DD5BF8B2}"/>
              </a:ext>
            </a:extLst>
          </p:cNvPr>
          <p:cNvGrpSpPr/>
          <p:nvPr/>
        </p:nvGrpSpPr>
        <p:grpSpPr>
          <a:xfrm>
            <a:off x="9514650" y="3026005"/>
            <a:ext cx="1750213" cy="2784884"/>
            <a:chOff x="9514650" y="2507530"/>
            <a:chExt cx="1750213" cy="2784884"/>
          </a:xfrm>
        </p:grpSpPr>
        <p:sp>
          <p:nvSpPr>
            <p:cNvPr id="32" name="Freeform 26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9790901" y="2507530"/>
              <a:ext cx="961285" cy="924309"/>
            </a:xfrm>
            <a:custGeom>
              <a:avLst/>
              <a:gdLst>
                <a:gd name="T0" fmla="*/ 1797 w 2080"/>
                <a:gd name="T1" fmla="*/ 1346 h 2000"/>
                <a:gd name="T2" fmla="*/ 1741 w 2080"/>
                <a:gd name="T3" fmla="*/ 1283 h 2000"/>
                <a:gd name="T4" fmla="*/ 1900 w 2080"/>
                <a:gd name="T5" fmla="*/ 601 h 2000"/>
                <a:gd name="T6" fmla="*/ 958 w 2080"/>
                <a:gd name="T7" fmla="*/ 402 h 2000"/>
                <a:gd name="T8" fmla="*/ 1147 w 2080"/>
                <a:gd name="T9" fmla="*/ 120 h 2000"/>
                <a:gd name="T10" fmla="*/ 894 w 2080"/>
                <a:gd name="T11" fmla="*/ 793 h 2000"/>
                <a:gd name="T12" fmla="*/ 1059 w 2080"/>
                <a:gd name="T13" fmla="*/ 1276 h 2000"/>
                <a:gd name="T14" fmla="*/ 1003 w 2080"/>
                <a:gd name="T15" fmla="*/ 1346 h 2000"/>
                <a:gd name="T16" fmla="*/ 0 w 2080"/>
                <a:gd name="T17" fmla="*/ 1520 h 2000"/>
                <a:gd name="T18" fmla="*/ 1690 w 2080"/>
                <a:gd name="T19" fmla="*/ 1389 h 2000"/>
                <a:gd name="T20" fmla="*/ 2080 w 2080"/>
                <a:gd name="T21" fmla="*/ 1793 h 2000"/>
                <a:gd name="T22" fmla="*/ 720 w 2080"/>
                <a:gd name="T23" fmla="*/ 1793 h 2000"/>
                <a:gd name="T24" fmla="*/ 1026 w 2080"/>
                <a:gd name="T25" fmla="*/ 1422 h 2000"/>
                <a:gd name="T26" fmla="*/ 1137 w 2080"/>
                <a:gd name="T27" fmla="*/ 1360 h 2000"/>
                <a:gd name="T28" fmla="*/ 1058 w 2080"/>
                <a:gd name="T29" fmla="*/ 1054 h 2000"/>
                <a:gd name="T30" fmla="*/ 1094 w 2080"/>
                <a:gd name="T31" fmla="*/ 902 h 2000"/>
                <a:gd name="T32" fmla="*/ 1390 w 2080"/>
                <a:gd name="T33" fmla="*/ 832 h 2000"/>
                <a:gd name="T34" fmla="*/ 1635 w 2080"/>
                <a:gd name="T35" fmla="*/ 960 h 2000"/>
                <a:gd name="T36" fmla="*/ 1812 w 2080"/>
                <a:gd name="T37" fmla="*/ 860 h 2000"/>
                <a:gd name="T38" fmla="*/ 1661 w 2080"/>
                <a:gd name="T39" fmla="*/ 1276 h 2000"/>
                <a:gd name="T40" fmla="*/ 1631 w 2080"/>
                <a:gd name="T41" fmla="*/ 1658 h 2000"/>
                <a:gd name="T42" fmla="*/ 1976 w 2080"/>
                <a:gd name="T43" fmla="*/ 1667 h 2000"/>
                <a:gd name="T44" fmla="*/ 1482 w 2080"/>
                <a:gd name="T45" fmla="*/ 1739 h 2000"/>
                <a:gd name="T46" fmla="*/ 1432 w 2080"/>
                <a:gd name="T47" fmla="*/ 1576 h 2000"/>
                <a:gd name="T48" fmla="*/ 1388 w 2080"/>
                <a:gd name="T49" fmla="*/ 752 h 2000"/>
                <a:gd name="T50" fmla="*/ 1714 w 2080"/>
                <a:gd name="T51" fmla="*/ 752 h 2000"/>
                <a:gd name="T52" fmla="*/ 1190 w 2080"/>
                <a:gd name="T53" fmla="*/ 386 h 2000"/>
                <a:gd name="T54" fmla="*/ 1145 w 2080"/>
                <a:gd name="T55" fmla="*/ 720 h 2000"/>
                <a:gd name="T56" fmla="*/ 1284 w 2080"/>
                <a:gd name="T57" fmla="*/ 880 h 2000"/>
                <a:gd name="T58" fmla="*/ 1515 w 2080"/>
                <a:gd name="T59" fmla="*/ 880 h 2000"/>
                <a:gd name="T60" fmla="*/ 1204 w 2080"/>
                <a:gd name="T61" fmla="*/ 1427 h 2000"/>
                <a:gd name="T62" fmla="*/ 1210 w 2080"/>
                <a:gd name="T63" fmla="*/ 1424 h 2000"/>
                <a:gd name="T64" fmla="*/ 889 w 2080"/>
                <a:gd name="T65" fmla="*/ 1568 h 2000"/>
                <a:gd name="T66" fmla="*/ 1294 w 2080"/>
                <a:gd name="T67" fmla="*/ 1917 h 2000"/>
                <a:gd name="T68" fmla="*/ 1368 w 2080"/>
                <a:gd name="T69" fmla="*/ 1576 h 2000"/>
                <a:gd name="T70" fmla="*/ 1318 w 2080"/>
                <a:gd name="T71" fmla="*/ 1738 h 2000"/>
                <a:gd name="T72" fmla="*/ 1496 w 2080"/>
                <a:gd name="T73" fmla="*/ 1467 h 2000"/>
                <a:gd name="T74" fmla="*/ 0 w 2080"/>
                <a:gd name="T75" fmla="*/ 1680 h 2000"/>
                <a:gd name="T76" fmla="*/ 489 w 2080"/>
                <a:gd name="T77" fmla="*/ 274 h 2000"/>
                <a:gd name="T78" fmla="*/ 682 w 2080"/>
                <a:gd name="T79" fmla="*/ 715 h 2000"/>
                <a:gd name="T80" fmla="*/ 769 w 2080"/>
                <a:gd name="T81" fmla="*/ 411 h 2000"/>
                <a:gd name="T82" fmla="*/ 574 w 2080"/>
                <a:gd name="T83" fmla="*/ 243 h 2000"/>
                <a:gd name="T84" fmla="*/ 680 w 2080"/>
                <a:gd name="T85" fmla="*/ 395 h 2000"/>
                <a:gd name="T86" fmla="*/ 553 w 2080"/>
                <a:gd name="T87" fmla="*/ 334 h 2000"/>
                <a:gd name="T88" fmla="*/ 660 w 2080"/>
                <a:gd name="T89" fmla="*/ 638 h 2000"/>
                <a:gd name="T90" fmla="*/ 256 w 2080"/>
                <a:gd name="T91" fmla="*/ 786 h 2000"/>
                <a:gd name="T92" fmla="*/ 538 w 2080"/>
                <a:gd name="T93" fmla="*/ 711 h 2000"/>
                <a:gd name="T94" fmla="*/ 261 w 2080"/>
                <a:gd name="T95" fmla="*/ 393 h 2000"/>
                <a:gd name="T96" fmla="*/ 176 w 2080"/>
                <a:gd name="T97" fmla="*/ 783 h 2000"/>
                <a:gd name="T98" fmla="*/ 338 w 2080"/>
                <a:gd name="T99" fmla="*/ 634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80" h="2000">
                  <a:moveTo>
                    <a:pt x="2080" y="0"/>
                  </a:moveTo>
                  <a:cubicBezTo>
                    <a:pt x="2080" y="1524"/>
                    <a:pt x="2080" y="1524"/>
                    <a:pt x="2080" y="1524"/>
                  </a:cubicBezTo>
                  <a:cubicBezTo>
                    <a:pt x="2063" y="1499"/>
                    <a:pt x="2044" y="1475"/>
                    <a:pt x="2022" y="1454"/>
                  </a:cubicBezTo>
                  <a:cubicBezTo>
                    <a:pt x="1968" y="1401"/>
                    <a:pt x="1873" y="1368"/>
                    <a:pt x="1797" y="1346"/>
                  </a:cubicBezTo>
                  <a:cubicBezTo>
                    <a:pt x="1770" y="1338"/>
                    <a:pt x="1746" y="1330"/>
                    <a:pt x="1719" y="1314"/>
                  </a:cubicBezTo>
                  <a:cubicBezTo>
                    <a:pt x="1716" y="1312"/>
                    <a:pt x="1711" y="1310"/>
                    <a:pt x="1710" y="1307"/>
                  </a:cubicBezTo>
                  <a:cubicBezTo>
                    <a:pt x="1712" y="1305"/>
                    <a:pt x="1714" y="1303"/>
                    <a:pt x="1716" y="1300"/>
                  </a:cubicBezTo>
                  <a:cubicBezTo>
                    <a:pt x="1725" y="1297"/>
                    <a:pt x="1740" y="1294"/>
                    <a:pt x="1741" y="1283"/>
                  </a:cubicBezTo>
                  <a:cubicBezTo>
                    <a:pt x="1742" y="1278"/>
                    <a:pt x="1742" y="1273"/>
                    <a:pt x="1742" y="1269"/>
                  </a:cubicBezTo>
                  <a:cubicBezTo>
                    <a:pt x="1780" y="1216"/>
                    <a:pt x="1798" y="1157"/>
                    <a:pt x="1813" y="1100"/>
                  </a:cubicBezTo>
                  <a:cubicBezTo>
                    <a:pt x="1880" y="1041"/>
                    <a:pt x="1907" y="949"/>
                    <a:pt x="1894" y="862"/>
                  </a:cubicBezTo>
                  <a:cubicBezTo>
                    <a:pt x="1915" y="764"/>
                    <a:pt x="1916" y="678"/>
                    <a:pt x="1900" y="601"/>
                  </a:cubicBezTo>
                  <a:cubicBezTo>
                    <a:pt x="1852" y="378"/>
                    <a:pt x="1673" y="256"/>
                    <a:pt x="1452" y="242"/>
                  </a:cubicBezTo>
                  <a:cubicBezTo>
                    <a:pt x="1342" y="234"/>
                    <a:pt x="1231" y="257"/>
                    <a:pt x="1155" y="312"/>
                  </a:cubicBezTo>
                  <a:cubicBezTo>
                    <a:pt x="1077" y="330"/>
                    <a:pt x="1008" y="368"/>
                    <a:pt x="960" y="433"/>
                  </a:cubicBezTo>
                  <a:cubicBezTo>
                    <a:pt x="958" y="423"/>
                    <a:pt x="957" y="412"/>
                    <a:pt x="958" y="402"/>
                  </a:cubicBezTo>
                  <a:cubicBezTo>
                    <a:pt x="961" y="330"/>
                    <a:pt x="982" y="281"/>
                    <a:pt x="1013" y="249"/>
                  </a:cubicBezTo>
                  <a:cubicBezTo>
                    <a:pt x="1048" y="212"/>
                    <a:pt x="1096" y="198"/>
                    <a:pt x="1143" y="200"/>
                  </a:cubicBezTo>
                  <a:cubicBezTo>
                    <a:pt x="1165" y="201"/>
                    <a:pt x="1184" y="184"/>
                    <a:pt x="1185" y="162"/>
                  </a:cubicBezTo>
                  <a:cubicBezTo>
                    <a:pt x="1186" y="140"/>
                    <a:pt x="1169" y="122"/>
                    <a:pt x="1147" y="120"/>
                  </a:cubicBezTo>
                  <a:cubicBezTo>
                    <a:pt x="1078" y="117"/>
                    <a:pt x="1008" y="139"/>
                    <a:pt x="955" y="194"/>
                  </a:cubicBezTo>
                  <a:cubicBezTo>
                    <a:pt x="912" y="239"/>
                    <a:pt x="883" y="305"/>
                    <a:pt x="878" y="398"/>
                  </a:cubicBezTo>
                  <a:cubicBezTo>
                    <a:pt x="876" y="441"/>
                    <a:pt x="888" y="485"/>
                    <a:pt x="913" y="520"/>
                  </a:cubicBezTo>
                  <a:cubicBezTo>
                    <a:pt x="882" y="604"/>
                    <a:pt x="880" y="700"/>
                    <a:pt x="894" y="793"/>
                  </a:cubicBezTo>
                  <a:cubicBezTo>
                    <a:pt x="897" y="816"/>
                    <a:pt x="901" y="839"/>
                    <a:pt x="906" y="862"/>
                  </a:cubicBezTo>
                  <a:cubicBezTo>
                    <a:pt x="893" y="949"/>
                    <a:pt x="921" y="1041"/>
                    <a:pt x="987" y="1100"/>
                  </a:cubicBezTo>
                  <a:cubicBezTo>
                    <a:pt x="1002" y="1158"/>
                    <a:pt x="1020" y="1217"/>
                    <a:pt x="1058" y="1269"/>
                  </a:cubicBezTo>
                  <a:cubicBezTo>
                    <a:pt x="1059" y="1276"/>
                    <a:pt x="1059" y="1276"/>
                    <a:pt x="1059" y="1276"/>
                  </a:cubicBezTo>
                  <a:cubicBezTo>
                    <a:pt x="1060" y="1287"/>
                    <a:pt x="1072" y="1293"/>
                    <a:pt x="1081" y="1298"/>
                  </a:cubicBezTo>
                  <a:cubicBezTo>
                    <a:pt x="1084" y="1300"/>
                    <a:pt x="1087" y="1304"/>
                    <a:pt x="1090" y="1307"/>
                  </a:cubicBezTo>
                  <a:cubicBezTo>
                    <a:pt x="1088" y="1310"/>
                    <a:pt x="1081" y="1314"/>
                    <a:pt x="1078" y="1316"/>
                  </a:cubicBezTo>
                  <a:cubicBezTo>
                    <a:pt x="1052" y="1331"/>
                    <a:pt x="1029" y="1338"/>
                    <a:pt x="1003" y="1346"/>
                  </a:cubicBezTo>
                  <a:cubicBezTo>
                    <a:pt x="989" y="1350"/>
                    <a:pt x="974" y="1354"/>
                    <a:pt x="958" y="1360"/>
                  </a:cubicBezTo>
                  <a:cubicBezTo>
                    <a:pt x="240" y="1360"/>
                    <a:pt x="240" y="1360"/>
                    <a:pt x="240" y="1360"/>
                  </a:cubicBezTo>
                  <a:cubicBezTo>
                    <a:pt x="240" y="1520"/>
                    <a:pt x="240" y="1520"/>
                    <a:pt x="240" y="1520"/>
                  </a:cubicBezTo>
                  <a:cubicBezTo>
                    <a:pt x="160" y="1520"/>
                    <a:pt x="80" y="1520"/>
                    <a:pt x="0" y="152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80" y="0"/>
                  </a:lnTo>
                  <a:close/>
                  <a:moveTo>
                    <a:pt x="1668" y="1377"/>
                  </a:moveTo>
                  <a:cubicBezTo>
                    <a:pt x="1677" y="1378"/>
                    <a:pt x="1684" y="1383"/>
                    <a:pt x="1690" y="1389"/>
                  </a:cubicBezTo>
                  <a:cubicBezTo>
                    <a:pt x="1720" y="1406"/>
                    <a:pt x="1746" y="1414"/>
                    <a:pt x="1774" y="1422"/>
                  </a:cubicBezTo>
                  <a:cubicBezTo>
                    <a:pt x="1836" y="1441"/>
                    <a:pt x="1924" y="1470"/>
                    <a:pt x="1967" y="1511"/>
                  </a:cubicBezTo>
                  <a:cubicBezTo>
                    <a:pt x="2003" y="1546"/>
                    <a:pt x="2031" y="1590"/>
                    <a:pt x="2050" y="1638"/>
                  </a:cubicBezTo>
                  <a:cubicBezTo>
                    <a:pt x="2070" y="1688"/>
                    <a:pt x="2080" y="1742"/>
                    <a:pt x="2080" y="1793"/>
                  </a:cubicBezTo>
                  <a:cubicBezTo>
                    <a:pt x="2080" y="1870"/>
                    <a:pt x="1996" y="1918"/>
                    <a:pt x="1880" y="1948"/>
                  </a:cubicBezTo>
                  <a:cubicBezTo>
                    <a:pt x="1731" y="1987"/>
                    <a:pt x="1522" y="2000"/>
                    <a:pt x="1400" y="2000"/>
                  </a:cubicBezTo>
                  <a:cubicBezTo>
                    <a:pt x="1278" y="2000"/>
                    <a:pt x="1069" y="1987"/>
                    <a:pt x="920" y="1948"/>
                  </a:cubicBezTo>
                  <a:cubicBezTo>
                    <a:pt x="804" y="1918"/>
                    <a:pt x="720" y="1870"/>
                    <a:pt x="720" y="1793"/>
                  </a:cubicBezTo>
                  <a:cubicBezTo>
                    <a:pt x="720" y="1742"/>
                    <a:pt x="730" y="1688"/>
                    <a:pt x="750" y="1638"/>
                  </a:cubicBezTo>
                  <a:cubicBezTo>
                    <a:pt x="769" y="1590"/>
                    <a:pt x="797" y="1546"/>
                    <a:pt x="833" y="1511"/>
                  </a:cubicBezTo>
                  <a:cubicBezTo>
                    <a:pt x="868" y="1478"/>
                    <a:pt x="919" y="1459"/>
                    <a:pt x="960" y="1444"/>
                  </a:cubicBezTo>
                  <a:cubicBezTo>
                    <a:pt x="982" y="1436"/>
                    <a:pt x="1003" y="1429"/>
                    <a:pt x="1026" y="1422"/>
                  </a:cubicBezTo>
                  <a:cubicBezTo>
                    <a:pt x="1055" y="1414"/>
                    <a:pt x="1080" y="1406"/>
                    <a:pt x="1111" y="1389"/>
                  </a:cubicBezTo>
                  <a:cubicBezTo>
                    <a:pt x="1116" y="1383"/>
                    <a:pt x="1123" y="1379"/>
                    <a:pt x="1131" y="1377"/>
                  </a:cubicBezTo>
                  <a:cubicBezTo>
                    <a:pt x="1136" y="1374"/>
                    <a:pt x="1136" y="1374"/>
                    <a:pt x="1136" y="1374"/>
                  </a:cubicBezTo>
                  <a:cubicBezTo>
                    <a:pt x="1136" y="1370"/>
                    <a:pt x="1136" y="1365"/>
                    <a:pt x="1137" y="1360"/>
                  </a:cubicBezTo>
                  <a:cubicBezTo>
                    <a:pt x="1143" y="1338"/>
                    <a:pt x="1140" y="1289"/>
                    <a:pt x="1138" y="1270"/>
                  </a:cubicBezTo>
                  <a:cubicBezTo>
                    <a:pt x="1138" y="1259"/>
                    <a:pt x="1137" y="1249"/>
                    <a:pt x="1136" y="1240"/>
                  </a:cubicBezTo>
                  <a:cubicBezTo>
                    <a:pt x="1093" y="1189"/>
                    <a:pt x="1076" y="1123"/>
                    <a:pt x="1059" y="1060"/>
                  </a:cubicBezTo>
                  <a:cubicBezTo>
                    <a:pt x="1058" y="1054"/>
                    <a:pt x="1058" y="1054"/>
                    <a:pt x="1058" y="1054"/>
                  </a:cubicBezTo>
                  <a:cubicBezTo>
                    <a:pt x="995" y="1013"/>
                    <a:pt x="971" y="931"/>
                    <a:pt x="988" y="860"/>
                  </a:cubicBezTo>
                  <a:cubicBezTo>
                    <a:pt x="985" y="851"/>
                    <a:pt x="983" y="842"/>
                    <a:pt x="981" y="832"/>
                  </a:cubicBezTo>
                  <a:cubicBezTo>
                    <a:pt x="1080" y="832"/>
                    <a:pt x="1080" y="832"/>
                    <a:pt x="1080" y="832"/>
                  </a:cubicBezTo>
                  <a:cubicBezTo>
                    <a:pt x="1094" y="902"/>
                    <a:pt x="1094" y="902"/>
                    <a:pt x="1094" y="902"/>
                  </a:cubicBezTo>
                  <a:cubicBezTo>
                    <a:pt x="1100" y="936"/>
                    <a:pt x="1130" y="960"/>
                    <a:pt x="1164" y="960"/>
                  </a:cubicBezTo>
                  <a:cubicBezTo>
                    <a:pt x="1290" y="960"/>
                    <a:pt x="1290" y="960"/>
                    <a:pt x="1290" y="960"/>
                  </a:cubicBezTo>
                  <a:cubicBezTo>
                    <a:pt x="1320" y="960"/>
                    <a:pt x="1346" y="942"/>
                    <a:pt x="1357" y="914"/>
                  </a:cubicBezTo>
                  <a:cubicBezTo>
                    <a:pt x="1390" y="832"/>
                    <a:pt x="1390" y="832"/>
                    <a:pt x="1390" y="832"/>
                  </a:cubicBezTo>
                  <a:cubicBezTo>
                    <a:pt x="1410" y="832"/>
                    <a:pt x="1410" y="832"/>
                    <a:pt x="1410" y="832"/>
                  </a:cubicBezTo>
                  <a:cubicBezTo>
                    <a:pt x="1443" y="914"/>
                    <a:pt x="1443" y="914"/>
                    <a:pt x="1443" y="914"/>
                  </a:cubicBezTo>
                  <a:cubicBezTo>
                    <a:pt x="1454" y="942"/>
                    <a:pt x="1480" y="960"/>
                    <a:pt x="1509" y="960"/>
                  </a:cubicBezTo>
                  <a:cubicBezTo>
                    <a:pt x="1635" y="960"/>
                    <a:pt x="1635" y="960"/>
                    <a:pt x="1635" y="960"/>
                  </a:cubicBezTo>
                  <a:cubicBezTo>
                    <a:pt x="1670" y="960"/>
                    <a:pt x="1699" y="935"/>
                    <a:pt x="1705" y="902"/>
                  </a:cubicBezTo>
                  <a:cubicBezTo>
                    <a:pt x="1719" y="832"/>
                    <a:pt x="1719" y="832"/>
                    <a:pt x="1719" y="832"/>
                  </a:cubicBezTo>
                  <a:cubicBezTo>
                    <a:pt x="1819" y="832"/>
                    <a:pt x="1819" y="832"/>
                    <a:pt x="1819" y="832"/>
                  </a:cubicBezTo>
                  <a:cubicBezTo>
                    <a:pt x="1817" y="841"/>
                    <a:pt x="1815" y="851"/>
                    <a:pt x="1812" y="860"/>
                  </a:cubicBezTo>
                  <a:cubicBezTo>
                    <a:pt x="1829" y="931"/>
                    <a:pt x="1805" y="1012"/>
                    <a:pt x="1742" y="1054"/>
                  </a:cubicBezTo>
                  <a:cubicBezTo>
                    <a:pt x="1740" y="1063"/>
                    <a:pt x="1740" y="1063"/>
                    <a:pt x="1740" y="1063"/>
                  </a:cubicBezTo>
                  <a:cubicBezTo>
                    <a:pt x="1724" y="1124"/>
                    <a:pt x="1708" y="1189"/>
                    <a:pt x="1664" y="1239"/>
                  </a:cubicBezTo>
                  <a:cubicBezTo>
                    <a:pt x="1663" y="1252"/>
                    <a:pt x="1662" y="1264"/>
                    <a:pt x="1661" y="1276"/>
                  </a:cubicBezTo>
                  <a:cubicBezTo>
                    <a:pt x="1658" y="1319"/>
                    <a:pt x="1663" y="1339"/>
                    <a:pt x="1666" y="1375"/>
                  </a:cubicBezTo>
                  <a:lnTo>
                    <a:pt x="1668" y="1377"/>
                  </a:lnTo>
                  <a:close/>
                  <a:moveTo>
                    <a:pt x="1721" y="1490"/>
                  </a:moveTo>
                  <a:cubicBezTo>
                    <a:pt x="1714" y="1543"/>
                    <a:pt x="1675" y="1596"/>
                    <a:pt x="1631" y="1658"/>
                  </a:cubicBezTo>
                  <a:cubicBezTo>
                    <a:pt x="1578" y="1730"/>
                    <a:pt x="1517" y="1815"/>
                    <a:pt x="1507" y="1917"/>
                  </a:cubicBezTo>
                  <a:cubicBezTo>
                    <a:pt x="1619" y="1912"/>
                    <a:pt x="1756" y="1898"/>
                    <a:pt x="1860" y="1871"/>
                  </a:cubicBezTo>
                  <a:cubicBezTo>
                    <a:pt x="1941" y="1850"/>
                    <a:pt x="2000" y="1824"/>
                    <a:pt x="2000" y="1793"/>
                  </a:cubicBezTo>
                  <a:cubicBezTo>
                    <a:pt x="2000" y="1751"/>
                    <a:pt x="1992" y="1708"/>
                    <a:pt x="1976" y="1667"/>
                  </a:cubicBezTo>
                  <a:cubicBezTo>
                    <a:pt x="1961" y="1630"/>
                    <a:pt x="1939" y="1596"/>
                    <a:pt x="1911" y="1568"/>
                  </a:cubicBezTo>
                  <a:cubicBezTo>
                    <a:pt x="1882" y="1540"/>
                    <a:pt x="1797" y="1513"/>
                    <a:pt x="1752" y="1499"/>
                  </a:cubicBezTo>
                  <a:cubicBezTo>
                    <a:pt x="1741" y="1496"/>
                    <a:pt x="1731" y="1493"/>
                    <a:pt x="1721" y="1490"/>
                  </a:cubicBezTo>
                  <a:close/>
                  <a:moveTo>
                    <a:pt x="1482" y="1739"/>
                  </a:moveTo>
                  <a:cubicBezTo>
                    <a:pt x="1524" y="1662"/>
                    <a:pt x="1597" y="1585"/>
                    <a:pt x="1629" y="1512"/>
                  </a:cubicBezTo>
                  <a:cubicBezTo>
                    <a:pt x="1527" y="1640"/>
                    <a:pt x="1527" y="1640"/>
                    <a:pt x="1527" y="1640"/>
                  </a:cubicBezTo>
                  <a:cubicBezTo>
                    <a:pt x="1459" y="1550"/>
                    <a:pt x="1459" y="1550"/>
                    <a:pt x="1459" y="1550"/>
                  </a:cubicBezTo>
                  <a:cubicBezTo>
                    <a:pt x="1449" y="1560"/>
                    <a:pt x="1438" y="1569"/>
                    <a:pt x="1432" y="1576"/>
                  </a:cubicBezTo>
                  <a:cubicBezTo>
                    <a:pt x="1458" y="1627"/>
                    <a:pt x="1473" y="1683"/>
                    <a:pt x="1482" y="1739"/>
                  </a:cubicBezTo>
                  <a:close/>
                  <a:moveTo>
                    <a:pt x="1145" y="720"/>
                  </a:moveTo>
                  <a:cubicBezTo>
                    <a:pt x="1328" y="720"/>
                    <a:pt x="1328" y="720"/>
                    <a:pt x="1328" y="720"/>
                  </a:cubicBezTo>
                  <a:cubicBezTo>
                    <a:pt x="1352" y="720"/>
                    <a:pt x="1374" y="732"/>
                    <a:pt x="1388" y="752"/>
                  </a:cubicBezTo>
                  <a:cubicBezTo>
                    <a:pt x="1412" y="752"/>
                    <a:pt x="1412" y="752"/>
                    <a:pt x="1412" y="752"/>
                  </a:cubicBezTo>
                  <a:cubicBezTo>
                    <a:pt x="1426" y="732"/>
                    <a:pt x="1448" y="720"/>
                    <a:pt x="1472" y="720"/>
                  </a:cubicBezTo>
                  <a:cubicBezTo>
                    <a:pt x="1654" y="720"/>
                    <a:pt x="1654" y="720"/>
                    <a:pt x="1654" y="720"/>
                  </a:cubicBezTo>
                  <a:cubicBezTo>
                    <a:pt x="1678" y="720"/>
                    <a:pt x="1700" y="732"/>
                    <a:pt x="1714" y="752"/>
                  </a:cubicBezTo>
                  <a:cubicBezTo>
                    <a:pt x="1830" y="752"/>
                    <a:pt x="1830" y="752"/>
                    <a:pt x="1830" y="752"/>
                  </a:cubicBezTo>
                  <a:cubicBezTo>
                    <a:pt x="1833" y="703"/>
                    <a:pt x="1830" y="659"/>
                    <a:pt x="1822" y="618"/>
                  </a:cubicBezTo>
                  <a:cubicBezTo>
                    <a:pt x="1781" y="430"/>
                    <a:pt x="1631" y="334"/>
                    <a:pt x="1446" y="321"/>
                  </a:cubicBezTo>
                  <a:cubicBezTo>
                    <a:pt x="1347" y="315"/>
                    <a:pt x="1248" y="336"/>
                    <a:pt x="1190" y="386"/>
                  </a:cubicBezTo>
                  <a:cubicBezTo>
                    <a:pt x="1094" y="403"/>
                    <a:pt x="1023" y="454"/>
                    <a:pt x="988" y="547"/>
                  </a:cubicBezTo>
                  <a:cubicBezTo>
                    <a:pt x="965" y="608"/>
                    <a:pt x="962" y="680"/>
                    <a:pt x="969" y="752"/>
                  </a:cubicBezTo>
                  <a:cubicBezTo>
                    <a:pt x="1085" y="752"/>
                    <a:pt x="1085" y="752"/>
                    <a:pt x="1085" y="752"/>
                  </a:cubicBezTo>
                  <a:cubicBezTo>
                    <a:pt x="1099" y="732"/>
                    <a:pt x="1121" y="720"/>
                    <a:pt x="1145" y="720"/>
                  </a:cubicBezTo>
                  <a:close/>
                  <a:moveTo>
                    <a:pt x="1316" y="800"/>
                  </a:moveTo>
                  <a:cubicBezTo>
                    <a:pt x="1155" y="800"/>
                    <a:pt x="1155" y="800"/>
                    <a:pt x="1155" y="800"/>
                  </a:cubicBezTo>
                  <a:cubicBezTo>
                    <a:pt x="1171" y="880"/>
                    <a:pt x="1171" y="880"/>
                    <a:pt x="1171" y="880"/>
                  </a:cubicBezTo>
                  <a:cubicBezTo>
                    <a:pt x="1284" y="880"/>
                    <a:pt x="1284" y="880"/>
                    <a:pt x="1284" y="880"/>
                  </a:cubicBezTo>
                  <a:lnTo>
                    <a:pt x="1316" y="800"/>
                  </a:lnTo>
                  <a:close/>
                  <a:moveTo>
                    <a:pt x="1644" y="800"/>
                  </a:moveTo>
                  <a:cubicBezTo>
                    <a:pt x="1484" y="800"/>
                    <a:pt x="1484" y="800"/>
                    <a:pt x="1484" y="800"/>
                  </a:cubicBezTo>
                  <a:cubicBezTo>
                    <a:pt x="1515" y="880"/>
                    <a:pt x="1515" y="880"/>
                    <a:pt x="1515" y="880"/>
                  </a:cubicBezTo>
                  <a:cubicBezTo>
                    <a:pt x="1628" y="880"/>
                    <a:pt x="1628" y="880"/>
                    <a:pt x="1628" y="880"/>
                  </a:cubicBezTo>
                  <a:lnTo>
                    <a:pt x="1644" y="800"/>
                  </a:lnTo>
                  <a:close/>
                  <a:moveTo>
                    <a:pt x="1210" y="1424"/>
                  </a:moveTo>
                  <a:cubicBezTo>
                    <a:pt x="1204" y="1427"/>
                    <a:pt x="1204" y="1427"/>
                    <a:pt x="1204" y="1427"/>
                  </a:cubicBezTo>
                  <a:cubicBezTo>
                    <a:pt x="1271" y="1510"/>
                    <a:pt x="1271" y="1510"/>
                    <a:pt x="1271" y="1510"/>
                  </a:cubicBezTo>
                  <a:cubicBezTo>
                    <a:pt x="1304" y="1467"/>
                    <a:pt x="1304" y="1467"/>
                    <a:pt x="1304" y="1467"/>
                  </a:cubicBezTo>
                  <a:cubicBezTo>
                    <a:pt x="1292" y="1464"/>
                    <a:pt x="1280" y="1460"/>
                    <a:pt x="1268" y="1455"/>
                  </a:cubicBezTo>
                  <a:cubicBezTo>
                    <a:pt x="1247" y="1447"/>
                    <a:pt x="1228" y="1436"/>
                    <a:pt x="1210" y="1424"/>
                  </a:cubicBezTo>
                  <a:close/>
                  <a:moveTo>
                    <a:pt x="1080" y="1489"/>
                  </a:moveTo>
                  <a:cubicBezTo>
                    <a:pt x="1069" y="1493"/>
                    <a:pt x="1059" y="1496"/>
                    <a:pt x="1048" y="1499"/>
                  </a:cubicBezTo>
                  <a:cubicBezTo>
                    <a:pt x="1028" y="1505"/>
                    <a:pt x="1007" y="1512"/>
                    <a:pt x="987" y="1519"/>
                  </a:cubicBezTo>
                  <a:cubicBezTo>
                    <a:pt x="953" y="1532"/>
                    <a:pt x="911" y="1547"/>
                    <a:pt x="889" y="1568"/>
                  </a:cubicBezTo>
                  <a:cubicBezTo>
                    <a:pt x="861" y="1596"/>
                    <a:pt x="839" y="1630"/>
                    <a:pt x="824" y="1667"/>
                  </a:cubicBezTo>
                  <a:cubicBezTo>
                    <a:pt x="808" y="1708"/>
                    <a:pt x="800" y="1751"/>
                    <a:pt x="800" y="1793"/>
                  </a:cubicBezTo>
                  <a:cubicBezTo>
                    <a:pt x="800" y="1824"/>
                    <a:pt x="859" y="1850"/>
                    <a:pt x="940" y="1871"/>
                  </a:cubicBezTo>
                  <a:cubicBezTo>
                    <a:pt x="1044" y="1898"/>
                    <a:pt x="1182" y="1912"/>
                    <a:pt x="1294" y="1917"/>
                  </a:cubicBezTo>
                  <a:cubicBezTo>
                    <a:pt x="1284" y="1815"/>
                    <a:pt x="1222" y="1730"/>
                    <a:pt x="1170" y="1658"/>
                  </a:cubicBezTo>
                  <a:cubicBezTo>
                    <a:pt x="1126" y="1596"/>
                    <a:pt x="1086" y="1542"/>
                    <a:pt x="1080" y="1489"/>
                  </a:cubicBezTo>
                  <a:close/>
                  <a:moveTo>
                    <a:pt x="1318" y="1738"/>
                  </a:moveTo>
                  <a:cubicBezTo>
                    <a:pt x="1327" y="1683"/>
                    <a:pt x="1342" y="1626"/>
                    <a:pt x="1368" y="1576"/>
                  </a:cubicBezTo>
                  <a:cubicBezTo>
                    <a:pt x="1342" y="1549"/>
                    <a:pt x="1342" y="1549"/>
                    <a:pt x="1342" y="1549"/>
                  </a:cubicBezTo>
                  <a:cubicBezTo>
                    <a:pt x="1273" y="1640"/>
                    <a:pt x="1273" y="1640"/>
                    <a:pt x="1273" y="1640"/>
                  </a:cubicBezTo>
                  <a:cubicBezTo>
                    <a:pt x="1172" y="1514"/>
                    <a:pt x="1172" y="1514"/>
                    <a:pt x="1172" y="1514"/>
                  </a:cubicBezTo>
                  <a:cubicBezTo>
                    <a:pt x="1205" y="1587"/>
                    <a:pt x="1276" y="1662"/>
                    <a:pt x="1318" y="1738"/>
                  </a:cubicBezTo>
                  <a:close/>
                  <a:moveTo>
                    <a:pt x="1595" y="1428"/>
                  </a:moveTo>
                  <a:cubicBezTo>
                    <a:pt x="1588" y="1425"/>
                    <a:pt x="1588" y="1425"/>
                    <a:pt x="1588" y="1425"/>
                  </a:cubicBezTo>
                  <a:cubicBezTo>
                    <a:pt x="1571" y="1437"/>
                    <a:pt x="1552" y="1447"/>
                    <a:pt x="1532" y="1455"/>
                  </a:cubicBezTo>
                  <a:cubicBezTo>
                    <a:pt x="1520" y="1460"/>
                    <a:pt x="1508" y="1464"/>
                    <a:pt x="1496" y="1467"/>
                  </a:cubicBezTo>
                  <a:cubicBezTo>
                    <a:pt x="1529" y="1510"/>
                    <a:pt x="1529" y="1510"/>
                    <a:pt x="1529" y="1510"/>
                  </a:cubicBezTo>
                  <a:lnTo>
                    <a:pt x="1595" y="1428"/>
                  </a:lnTo>
                  <a:close/>
                  <a:moveTo>
                    <a:pt x="0" y="1600"/>
                  </a:moveTo>
                  <a:cubicBezTo>
                    <a:pt x="0" y="1680"/>
                    <a:pt x="0" y="1680"/>
                    <a:pt x="0" y="1680"/>
                  </a:cubicBezTo>
                  <a:cubicBezTo>
                    <a:pt x="654" y="1680"/>
                    <a:pt x="654" y="1680"/>
                    <a:pt x="654" y="1680"/>
                  </a:cubicBezTo>
                  <a:cubicBezTo>
                    <a:pt x="660" y="1653"/>
                    <a:pt x="669" y="1626"/>
                    <a:pt x="680" y="1600"/>
                  </a:cubicBezTo>
                  <a:lnTo>
                    <a:pt x="0" y="1600"/>
                  </a:lnTo>
                  <a:close/>
                  <a:moveTo>
                    <a:pt x="489" y="274"/>
                  </a:moveTo>
                  <a:cubicBezTo>
                    <a:pt x="471" y="282"/>
                    <a:pt x="461" y="302"/>
                    <a:pt x="467" y="322"/>
                  </a:cubicBezTo>
                  <a:cubicBezTo>
                    <a:pt x="502" y="447"/>
                    <a:pt x="538" y="573"/>
                    <a:pt x="573" y="699"/>
                  </a:cubicBezTo>
                  <a:cubicBezTo>
                    <a:pt x="578" y="719"/>
                    <a:pt x="598" y="733"/>
                    <a:pt x="619" y="729"/>
                  </a:cubicBezTo>
                  <a:cubicBezTo>
                    <a:pt x="641" y="725"/>
                    <a:pt x="662" y="720"/>
                    <a:pt x="682" y="715"/>
                  </a:cubicBezTo>
                  <a:cubicBezTo>
                    <a:pt x="748" y="696"/>
                    <a:pt x="795" y="670"/>
                    <a:pt x="825" y="639"/>
                  </a:cubicBezTo>
                  <a:cubicBezTo>
                    <a:pt x="860" y="603"/>
                    <a:pt x="873" y="562"/>
                    <a:pt x="866" y="520"/>
                  </a:cubicBezTo>
                  <a:cubicBezTo>
                    <a:pt x="865" y="516"/>
                    <a:pt x="864" y="512"/>
                    <a:pt x="862" y="508"/>
                  </a:cubicBezTo>
                  <a:cubicBezTo>
                    <a:pt x="846" y="448"/>
                    <a:pt x="812" y="420"/>
                    <a:pt x="769" y="411"/>
                  </a:cubicBezTo>
                  <a:cubicBezTo>
                    <a:pt x="781" y="384"/>
                    <a:pt x="782" y="352"/>
                    <a:pt x="770" y="311"/>
                  </a:cubicBezTo>
                  <a:cubicBezTo>
                    <a:pt x="768" y="305"/>
                    <a:pt x="766" y="299"/>
                    <a:pt x="764" y="294"/>
                  </a:cubicBezTo>
                  <a:cubicBezTo>
                    <a:pt x="749" y="260"/>
                    <a:pt x="721" y="240"/>
                    <a:pt x="684" y="233"/>
                  </a:cubicBezTo>
                  <a:cubicBezTo>
                    <a:pt x="653" y="227"/>
                    <a:pt x="616" y="231"/>
                    <a:pt x="574" y="243"/>
                  </a:cubicBezTo>
                  <a:cubicBezTo>
                    <a:pt x="548" y="250"/>
                    <a:pt x="519" y="261"/>
                    <a:pt x="489" y="274"/>
                  </a:cubicBezTo>
                  <a:close/>
                  <a:moveTo>
                    <a:pt x="553" y="334"/>
                  </a:moveTo>
                  <a:cubicBezTo>
                    <a:pt x="581" y="434"/>
                    <a:pt x="581" y="434"/>
                    <a:pt x="581" y="434"/>
                  </a:cubicBezTo>
                  <a:cubicBezTo>
                    <a:pt x="625" y="421"/>
                    <a:pt x="660" y="409"/>
                    <a:pt x="680" y="395"/>
                  </a:cubicBezTo>
                  <a:cubicBezTo>
                    <a:pt x="696" y="382"/>
                    <a:pt x="702" y="364"/>
                    <a:pt x="693" y="332"/>
                  </a:cubicBezTo>
                  <a:cubicBezTo>
                    <a:pt x="690" y="320"/>
                    <a:pt x="682" y="314"/>
                    <a:pt x="669" y="312"/>
                  </a:cubicBezTo>
                  <a:cubicBezTo>
                    <a:pt x="651" y="308"/>
                    <a:pt x="626" y="311"/>
                    <a:pt x="596" y="320"/>
                  </a:cubicBezTo>
                  <a:cubicBezTo>
                    <a:pt x="582" y="324"/>
                    <a:pt x="568" y="328"/>
                    <a:pt x="553" y="334"/>
                  </a:cubicBezTo>
                  <a:close/>
                  <a:moveTo>
                    <a:pt x="603" y="511"/>
                  </a:moveTo>
                  <a:cubicBezTo>
                    <a:pt x="694" y="486"/>
                    <a:pt x="770" y="472"/>
                    <a:pt x="786" y="529"/>
                  </a:cubicBezTo>
                  <a:cubicBezTo>
                    <a:pt x="792" y="550"/>
                    <a:pt x="782" y="568"/>
                    <a:pt x="768" y="583"/>
                  </a:cubicBezTo>
                  <a:cubicBezTo>
                    <a:pt x="747" y="604"/>
                    <a:pt x="712" y="624"/>
                    <a:pt x="660" y="638"/>
                  </a:cubicBezTo>
                  <a:cubicBezTo>
                    <a:pt x="654" y="640"/>
                    <a:pt x="647" y="642"/>
                    <a:pt x="640" y="643"/>
                  </a:cubicBezTo>
                  <a:lnTo>
                    <a:pt x="603" y="511"/>
                  </a:lnTo>
                  <a:close/>
                  <a:moveTo>
                    <a:pt x="264" y="873"/>
                  </a:moveTo>
                  <a:cubicBezTo>
                    <a:pt x="259" y="845"/>
                    <a:pt x="256" y="816"/>
                    <a:pt x="256" y="786"/>
                  </a:cubicBezTo>
                  <a:cubicBezTo>
                    <a:pt x="392" y="694"/>
                    <a:pt x="392" y="694"/>
                    <a:pt x="392" y="694"/>
                  </a:cubicBezTo>
                  <a:cubicBezTo>
                    <a:pt x="425" y="727"/>
                    <a:pt x="461" y="757"/>
                    <a:pt x="497" y="779"/>
                  </a:cubicBezTo>
                  <a:cubicBezTo>
                    <a:pt x="516" y="790"/>
                    <a:pt x="540" y="784"/>
                    <a:pt x="552" y="766"/>
                  </a:cubicBezTo>
                  <a:cubicBezTo>
                    <a:pt x="563" y="747"/>
                    <a:pt x="557" y="722"/>
                    <a:pt x="538" y="711"/>
                  </a:cubicBezTo>
                  <a:cubicBezTo>
                    <a:pt x="492" y="682"/>
                    <a:pt x="446" y="638"/>
                    <a:pt x="405" y="590"/>
                  </a:cubicBezTo>
                  <a:cubicBezTo>
                    <a:pt x="355" y="531"/>
                    <a:pt x="314" y="466"/>
                    <a:pt x="291" y="416"/>
                  </a:cubicBezTo>
                  <a:cubicBezTo>
                    <a:pt x="291" y="416"/>
                    <a:pt x="291" y="416"/>
                    <a:pt x="291" y="416"/>
                  </a:cubicBezTo>
                  <a:cubicBezTo>
                    <a:pt x="286" y="404"/>
                    <a:pt x="274" y="395"/>
                    <a:pt x="261" y="393"/>
                  </a:cubicBezTo>
                  <a:cubicBezTo>
                    <a:pt x="239" y="390"/>
                    <a:pt x="219" y="405"/>
                    <a:pt x="215" y="426"/>
                  </a:cubicBezTo>
                  <a:cubicBezTo>
                    <a:pt x="213" y="439"/>
                    <a:pt x="210" y="460"/>
                    <a:pt x="206" y="481"/>
                  </a:cubicBezTo>
                  <a:cubicBezTo>
                    <a:pt x="192" y="564"/>
                    <a:pt x="177" y="659"/>
                    <a:pt x="175" y="753"/>
                  </a:cubicBezTo>
                  <a:cubicBezTo>
                    <a:pt x="172" y="762"/>
                    <a:pt x="172" y="773"/>
                    <a:pt x="176" y="783"/>
                  </a:cubicBezTo>
                  <a:cubicBezTo>
                    <a:pt x="176" y="818"/>
                    <a:pt x="179" y="854"/>
                    <a:pt x="186" y="888"/>
                  </a:cubicBezTo>
                  <a:cubicBezTo>
                    <a:pt x="190" y="909"/>
                    <a:pt x="211" y="923"/>
                    <a:pt x="232" y="919"/>
                  </a:cubicBezTo>
                  <a:cubicBezTo>
                    <a:pt x="254" y="915"/>
                    <a:pt x="268" y="894"/>
                    <a:pt x="264" y="873"/>
                  </a:cubicBezTo>
                  <a:close/>
                  <a:moveTo>
                    <a:pt x="338" y="634"/>
                  </a:moveTo>
                  <a:cubicBezTo>
                    <a:pt x="315" y="606"/>
                    <a:pt x="294" y="578"/>
                    <a:pt x="276" y="550"/>
                  </a:cubicBezTo>
                  <a:cubicBezTo>
                    <a:pt x="269" y="594"/>
                    <a:pt x="262" y="641"/>
                    <a:pt x="258" y="688"/>
                  </a:cubicBezTo>
                  <a:lnTo>
                    <a:pt x="338" y="63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/>
            </a:p>
          </p:txBody>
        </p:sp>
        <p:sp>
          <p:nvSpPr>
            <p:cNvPr id="43" name="CuadroTexto 42"/>
            <p:cNvSpPr txBox="1"/>
            <p:nvPr/>
          </p:nvSpPr>
          <p:spPr bwMode="gray">
            <a:xfrm>
              <a:off x="9514650" y="5046193"/>
              <a:ext cx="1750213" cy="246221"/>
            </a:xfrm>
            <a:prstGeom prst="rect">
              <a:avLst/>
            </a:prstGeom>
            <a:noFill/>
            <a:ln>
              <a:solidFill>
                <a:srgbClr val="DC291E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pPr algn="ctr">
                <a:spcBef>
                  <a:spcPts val="300"/>
                </a:spcBef>
              </a:pPr>
              <a:r>
                <a:rPr lang="es-PE" sz="1600" b="1" dirty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6% </a:t>
              </a:r>
              <a:r>
                <a:rPr lang="es-PE" sz="1600" b="1" dirty="0" smtClean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en </a:t>
              </a:r>
              <a:r>
                <a:rPr lang="es-PE" sz="1600" b="1" dirty="0">
                  <a:solidFill>
                    <a:srgbClr val="DC291E"/>
                  </a:solidFill>
                  <a:latin typeface="Corbel" panose="020B0503020204020204" pitchFamily="34" charset="0"/>
                  <a:cs typeface="Arial" pitchFamily="34" charset="0"/>
                </a:rPr>
                <a:t>2017</a:t>
              </a:r>
              <a:endParaRPr lang="en-US" sz="1600" b="1" dirty="0" err="1">
                <a:solidFill>
                  <a:srgbClr val="DC291E"/>
                </a:solidFill>
                <a:latin typeface="Corbel" panose="020B0503020204020204" pitchFamily="34" charset="0"/>
                <a:cs typeface="Arial" pitchFamily="34" charset="0"/>
              </a:endParaRPr>
            </a:p>
          </p:txBody>
        </p:sp>
        <p:sp>
          <p:nvSpPr>
            <p:cNvPr id="20" name="Rectángulo 19">
              <a:extLst>
                <a:ext uri="{FF2B5EF4-FFF2-40B4-BE49-F238E27FC236}">
                  <a16:creationId xmlns:a16="http://schemas.microsoft.com/office/drawing/2014/main" xmlns="" id="{73498573-D978-48E4-B38D-0D55648E16B7}"/>
                </a:ext>
              </a:extLst>
            </p:cNvPr>
            <p:cNvSpPr/>
            <p:nvPr/>
          </p:nvSpPr>
          <p:spPr bwMode="gray">
            <a:xfrm>
              <a:off x="9681282" y="4256922"/>
              <a:ext cx="1222145" cy="277371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" name="Imagen 5">
              <a:extLst>
                <a:ext uri="{FF2B5EF4-FFF2-40B4-BE49-F238E27FC236}">
                  <a16:creationId xmlns:a16="http://schemas.microsoft.com/office/drawing/2014/main" xmlns="" id="{B1AD0ECC-22A8-4316-AC34-9A224EDA48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763716" y="4621588"/>
              <a:ext cx="1057275" cy="276225"/>
            </a:xfrm>
            <a:prstGeom prst="rect">
              <a:avLst/>
            </a:prstGeom>
          </p:spPr>
        </p:pic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xmlns="" id="{E10F12E6-3857-4D31-B78F-33883CE4ADA7}"/>
                </a:ext>
              </a:extLst>
            </p:cNvPr>
            <p:cNvSpPr txBox="1"/>
            <p:nvPr/>
          </p:nvSpPr>
          <p:spPr bwMode="gray">
            <a:xfrm>
              <a:off x="10241478" y="3591551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3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7906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182957" y="288587"/>
            <a:ext cx="9051195" cy="122422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La mitad justifica su comportamiento en la falta de efectividad de las instituciones que gestionan sus trámites. </a:t>
            </a:r>
            <a:endParaRPr lang="es-419" sz="1800" b="1" dirty="0" smtClean="0">
              <a:solidFill>
                <a:srgbClr val="0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82957" y="1646268"/>
            <a:ext cx="103905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dirty="0">
                <a:latin typeface="Corbel" panose="020B0503020204020204" pitchFamily="34" charset="0"/>
              </a:rPr>
              <a:t>¿Por qué lo dio una coima, regalo o pago indebido a dicha institución? </a:t>
            </a:r>
            <a:endParaRPr lang="es-ES" dirty="0" smtClean="0">
              <a:latin typeface="Corbel" panose="020B0503020204020204" pitchFamily="34" charset="0"/>
            </a:endParaRPr>
          </a:p>
          <a:p>
            <a:pPr lvl="0">
              <a:defRPr/>
            </a:pPr>
            <a:r>
              <a:rPr lang="es-419" b="1" dirty="0" smtClean="0">
                <a:latin typeface="Corbel" panose="020B0503020204020204" pitchFamily="34" charset="0"/>
              </a:rPr>
              <a:t>MEDICIÓN COMPARATIVA- RESPUESTA MULTIPLE</a:t>
            </a:r>
            <a:endParaRPr lang="es-PE" b="1" dirty="0">
              <a:latin typeface="Corbel" panose="020B0503020204020204" pitchFamily="34" charset="0"/>
            </a:endParaRPr>
          </a:p>
        </p:txBody>
      </p:sp>
      <p:graphicFrame>
        <p:nvGraphicFramePr>
          <p:cNvPr id="5" name="20 Gráfico"/>
          <p:cNvGraphicFramePr/>
          <p:nvPr>
            <p:extLst>
              <p:ext uri="{D42A27DB-BD31-4B8C-83A1-F6EECF244321}">
                <p14:modId xmlns:p14="http://schemas.microsoft.com/office/powerpoint/2010/main" val="1203456092"/>
              </p:ext>
            </p:extLst>
          </p:nvPr>
        </p:nvGraphicFramePr>
        <p:xfrm>
          <a:off x="-122830" y="1805199"/>
          <a:ext cx="11573301" cy="4542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Elipse 6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sp>
        <p:nvSpPr>
          <p:cNvPr id="10" name="Rectángulo 9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8072870" y="6346517"/>
            <a:ext cx="336021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Base: Total de entrevistados que pagaron coimas (265)</a:t>
            </a:r>
            <a:endParaRPr lang="es-PE" sz="1100" dirty="0"/>
          </a:p>
        </p:txBody>
      </p:sp>
      <p:cxnSp>
        <p:nvCxnSpPr>
          <p:cNvPr id="4" name="Conector recto de flecha 3"/>
          <p:cNvCxnSpPr/>
          <p:nvPr/>
        </p:nvCxnSpPr>
        <p:spPr>
          <a:xfrm>
            <a:off x="4708554" y="3080416"/>
            <a:ext cx="996787" cy="453634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Llamada rectangular redondeada 13"/>
          <p:cNvSpPr/>
          <p:nvPr/>
        </p:nvSpPr>
        <p:spPr bwMode="gray">
          <a:xfrm>
            <a:off x="7791214" y="3534050"/>
            <a:ext cx="1707627" cy="678081"/>
          </a:xfrm>
          <a:prstGeom prst="wedgeRoundRectCallout">
            <a:avLst>
              <a:gd name="adj1" fmla="val -20801"/>
              <a:gd name="adj2" fmla="val 68906"/>
              <a:gd name="adj3" fmla="val 16667"/>
            </a:avLst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419" sz="1600" dirty="0" smtClean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20%   NSE C</a:t>
            </a:r>
          </a:p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419" sz="1600" dirty="0" smtClean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20%   NSE D/E</a:t>
            </a:r>
            <a:endParaRPr lang="es-ES" sz="1600" dirty="0" smtClean="0">
              <a:solidFill>
                <a:schemeClr val="tx1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15" name="Llamada rectangular redondeada 14"/>
          <p:cNvSpPr/>
          <p:nvPr/>
        </p:nvSpPr>
        <p:spPr bwMode="gray">
          <a:xfrm>
            <a:off x="10449622" y="4334961"/>
            <a:ext cx="1459693" cy="372103"/>
          </a:xfrm>
          <a:prstGeom prst="wedgeRoundRectCallout">
            <a:avLst>
              <a:gd name="adj1" fmla="val -20801"/>
              <a:gd name="adj2" fmla="val 68906"/>
              <a:gd name="adj3" fmla="val 16667"/>
            </a:avLst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419" sz="1600" dirty="0" smtClean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23%   NSE A/B</a:t>
            </a:r>
            <a:endParaRPr lang="es-ES" sz="1600" dirty="0" smtClean="0">
              <a:solidFill>
                <a:schemeClr val="tx1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cxnSp>
        <p:nvCxnSpPr>
          <p:cNvPr id="12" name="Conector recto de flecha 11"/>
          <p:cNvCxnSpPr/>
          <p:nvPr/>
        </p:nvCxnSpPr>
        <p:spPr>
          <a:xfrm flipV="1">
            <a:off x="1777285" y="2956866"/>
            <a:ext cx="1070057" cy="577184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2571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475502" y="288588"/>
            <a:ext cx="8873213" cy="85450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Principal razón para no denunciar es la percepción de ineficacia por parte de las autoridades o sensación de complicidad.</a:t>
            </a:r>
          </a:p>
        </p:txBody>
      </p:sp>
      <p:sp>
        <p:nvSpPr>
          <p:cNvPr id="2" name="Rectángulo 1"/>
          <p:cNvSpPr/>
          <p:nvPr/>
        </p:nvSpPr>
        <p:spPr>
          <a:xfrm rot="16200000">
            <a:off x="-120166" y="1325413"/>
            <a:ext cx="97876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sz="1600" dirty="0">
                <a:latin typeface="Corbel" panose="020B0503020204020204" pitchFamily="34" charset="0"/>
              </a:rPr>
              <a:t>¿Por qué no lo denunció?  </a:t>
            </a:r>
            <a:r>
              <a:rPr lang="es-ES" sz="1600" dirty="0" smtClean="0">
                <a:latin typeface="Corbel" panose="020B0503020204020204" pitchFamily="34" charset="0"/>
              </a:rPr>
              <a:t>–</a:t>
            </a:r>
            <a:r>
              <a:rPr lang="es-419" sz="1600" b="1" dirty="0" smtClean="0">
                <a:latin typeface="Corbel" panose="020B0503020204020204" pitchFamily="34" charset="0"/>
              </a:rPr>
              <a:t>ESPONTÁNEA. MÚLTIPLE</a:t>
            </a:r>
            <a:endParaRPr lang="es-PE" sz="1600" b="1" dirty="0">
              <a:latin typeface="Corbel" panose="020B0503020204020204" pitchFamily="34" charset="0"/>
            </a:endParaRPr>
          </a:p>
        </p:txBody>
      </p:sp>
      <p:sp>
        <p:nvSpPr>
          <p:cNvPr id="6" name="Rectángulo 5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7301552" y="6493359"/>
            <a:ext cx="460776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Base: Total de entrevistados que no denunciaron el pedido de coima (235)</a:t>
            </a:r>
            <a:endParaRPr lang="es-PE" sz="1100" dirty="0"/>
          </a:p>
        </p:txBody>
      </p:sp>
      <p:graphicFrame>
        <p:nvGraphicFramePr>
          <p:cNvPr id="8" name="Dia Asia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315801"/>
              </p:ext>
            </p:extLst>
          </p:nvPr>
        </p:nvGraphicFramePr>
        <p:xfrm>
          <a:off x="1073339" y="2833608"/>
          <a:ext cx="2823174" cy="2015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Rechteck 52"/>
          <p:cNvSpPr/>
          <p:nvPr>
            <p:custDataLst>
              <p:tags r:id="rId2"/>
            </p:custDataLst>
          </p:nvPr>
        </p:nvSpPr>
        <p:spPr bwMode="gray">
          <a:xfrm>
            <a:off x="1850995" y="3013535"/>
            <a:ext cx="1344149" cy="134400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lvl="0" algn="ctr"/>
            <a:r>
              <a:rPr lang="es-PE" sz="4000" b="1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91</a:t>
            </a:r>
            <a:r>
              <a:rPr lang="en-US" sz="2000" b="1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%</a:t>
            </a:r>
            <a:endParaRPr lang="en-US" sz="2000" b="1" dirty="0">
              <a:solidFill>
                <a:schemeClr val="accent5"/>
              </a:solidFill>
              <a:latin typeface="Corbel" panose="020B0503020204020204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1297535" y="1872378"/>
            <a:ext cx="245106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419" sz="2400" b="1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No denunció el pedido de coima</a:t>
            </a:r>
            <a:endParaRPr lang="en-US" sz="2400" b="1" dirty="0">
              <a:solidFill>
                <a:schemeClr val="accent5"/>
              </a:solidFill>
              <a:latin typeface="Corbel" panose="020B0503020204020204" pitchFamily="34" charset="0"/>
            </a:endParaRPr>
          </a:p>
        </p:txBody>
      </p:sp>
      <p:sp>
        <p:nvSpPr>
          <p:cNvPr id="11" name="Rechteckige Legende 581"/>
          <p:cNvSpPr/>
          <p:nvPr>
            <p:custDataLst>
              <p:tags r:id="rId3"/>
            </p:custDataLst>
          </p:nvPr>
        </p:nvSpPr>
        <p:spPr bwMode="gray">
          <a:xfrm flipH="1">
            <a:off x="609858" y="1832598"/>
            <a:ext cx="576000" cy="576000"/>
          </a:xfrm>
          <a:prstGeom prst="wedgeRectCallout">
            <a:avLst>
              <a:gd name="adj1" fmla="val -72152"/>
              <a:gd name="adj2" fmla="val 21829"/>
            </a:avLst>
          </a:prstGeom>
          <a:solidFill>
            <a:srgbClr val="FFFFFF"/>
          </a:solidFill>
          <a:ln w="9525">
            <a:solidFill>
              <a:schemeClr val="accent5"/>
            </a:solidFill>
            <a:round/>
            <a:headEnd/>
            <a:tailEnd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r>
              <a:rPr lang="en-US" sz="3600" b="1" dirty="0" smtClean="0">
                <a:solidFill>
                  <a:schemeClr val="accent5"/>
                </a:solidFill>
              </a:rPr>
              <a:t>!</a:t>
            </a:r>
          </a:p>
        </p:txBody>
      </p:sp>
      <p:sp>
        <p:nvSpPr>
          <p:cNvPr id="12" name="38 Elipse"/>
          <p:cNvSpPr/>
          <p:nvPr/>
        </p:nvSpPr>
        <p:spPr bwMode="gray">
          <a:xfrm>
            <a:off x="5368382" y="1231427"/>
            <a:ext cx="972000" cy="900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27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33%</a:t>
            </a:r>
          </a:p>
        </p:txBody>
      </p:sp>
      <p:sp>
        <p:nvSpPr>
          <p:cNvPr id="13" name="39 Elipse"/>
          <p:cNvSpPr/>
          <p:nvPr/>
        </p:nvSpPr>
        <p:spPr bwMode="gray">
          <a:xfrm>
            <a:off x="5431382" y="2287877"/>
            <a:ext cx="846000" cy="719467"/>
          </a:xfrm>
          <a:prstGeom prst="ellipse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20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21%</a:t>
            </a:r>
          </a:p>
        </p:txBody>
      </p:sp>
      <p:sp>
        <p:nvSpPr>
          <p:cNvPr id="14" name="40 Elipse"/>
          <p:cNvSpPr/>
          <p:nvPr/>
        </p:nvSpPr>
        <p:spPr bwMode="gray">
          <a:xfrm>
            <a:off x="5457573" y="3128528"/>
            <a:ext cx="761843" cy="648073"/>
          </a:xfrm>
          <a:prstGeom prst="ellipse">
            <a:avLst/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20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18%</a:t>
            </a:r>
          </a:p>
        </p:txBody>
      </p:sp>
      <p:sp>
        <p:nvSpPr>
          <p:cNvPr id="15" name="43 Rectángulo"/>
          <p:cNvSpPr/>
          <p:nvPr/>
        </p:nvSpPr>
        <p:spPr>
          <a:xfrm>
            <a:off x="6563736" y="1296979"/>
            <a:ext cx="42006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400" dirty="0">
                <a:solidFill>
                  <a:schemeClr val="accent1"/>
                </a:solidFill>
                <a:latin typeface="Corbel" panose="020B0503020204020204" pitchFamily="34" charset="0"/>
              </a:rPr>
              <a:t>Porque no sirve de nada/ las autoridades no hacen caso</a:t>
            </a:r>
            <a:endParaRPr lang="es-PE" sz="2400" b="1" dirty="0">
              <a:solidFill>
                <a:schemeClr val="accent1"/>
              </a:solidFill>
              <a:latin typeface="Corbel" panose="020B0503020204020204" pitchFamily="34" charset="0"/>
            </a:endParaRPr>
          </a:p>
        </p:txBody>
      </p:sp>
      <p:sp>
        <p:nvSpPr>
          <p:cNvPr id="16" name="44 Rectángulo"/>
          <p:cNvSpPr/>
          <p:nvPr/>
        </p:nvSpPr>
        <p:spPr>
          <a:xfrm>
            <a:off x="6618082" y="2408598"/>
            <a:ext cx="436332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PE" sz="2400" dirty="0">
                <a:solidFill>
                  <a:srgbClr val="264283"/>
                </a:solidFill>
                <a:latin typeface="Corbel" panose="020B0503020204020204" pitchFamily="34" charset="0"/>
              </a:rPr>
              <a:t>Porque obtuvo un beneficio</a:t>
            </a:r>
          </a:p>
        </p:txBody>
      </p:sp>
      <p:sp>
        <p:nvSpPr>
          <p:cNvPr id="17" name="45 Rectángulo"/>
          <p:cNvSpPr/>
          <p:nvPr/>
        </p:nvSpPr>
        <p:spPr>
          <a:xfrm>
            <a:off x="6635730" y="3245125"/>
            <a:ext cx="44357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PE" sz="2000" dirty="0">
                <a:solidFill>
                  <a:schemeClr val="accent5">
                    <a:lumMod val="75000"/>
                  </a:schemeClr>
                </a:solidFill>
                <a:latin typeface="Corbel" panose="020B0503020204020204" pitchFamily="34" charset="0"/>
              </a:rPr>
              <a:t>Porque no tengo tiempo</a:t>
            </a:r>
          </a:p>
        </p:txBody>
      </p:sp>
      <p:sp>
        <p:nvSpPr>
          <p:cNvPr id="19" name="46 Rectángulo"/>
          <p:cNvSpPr/>
          <p:nvPr/>
        </p:nvSpPr>
        <p:spPr>
          <a:xfrm>
            <a:off x="6663302" y="4083787"/>
            <a:ext cx="41629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PE" dirty="0">
                <a:solidFill>
                  <a:schemeClr val="accent6">
                    <a:lumMod val="75000"/>
                  </a:schemeClr>
                </a:solidFill>
                <a:latin typeface="Corbel" panose="020B0503020204020204" pitchFamily="34" charset="0"/>
              </a:rPr>
              <a:t>Por temor a represalias</a:t>
            </a:r>
          </a:p>
        </p:txBody>
      </p:sp>
      <p:sp>
        <p:nvSpPr>
          <p:cNvPr id="20" name="47 Rectángulo"/>
          <p:cNvSpPr/>
          <p:nvPr/>
        </p:nvSpPr>
        <p:spPr>
          <a:xfrm>
            <a:off x="6645377" y="5545500"/>
            <a:ext cx="46355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solidFill>
                  <a:schemeClr val="accent6"/>
                </a:solidFill>
                <a:latin typeface="Corbel" panose="020B0503020204020204" pitchFamily="34" charset="0"/>
                <a:cs typeface="Arial" pitchFamily="34" charset="0"/>
              </a:rPr>
              <a:t>Por no saber ante quiénes tendría que denunciar</a:t>
            </a:r>
            <a:endParaRPr lang="es-PE" sz="1600" dirty="0">
              <a:solidFill>
                <a:schemeClr val="accent6"/>
              </a:solidFill>
              <a:latin typeface="Corbel" panose="020B0503020204020204" pitchFamily="34" charset="0"/>
            </a:endParaRPr>
          </a:p>
        </p:txBody>
      </p:sp>
      <p:sp>
        <p:nvSpPr>
          <p:cNvPr id="21" name="41 Elipse"/>
          <p:cNvSpPr/>
          <p:nvPr/>
        </p:nvSpPr>
        <p:spPr bwMode="gray">
          <a:xfrm>
            <a:off x="5607105" y="5438217"/>
            <a:ext cx="539168" cy="507775"/>
          </a:xfrm>
          <a:prstGeom prst="ellipse">
            <a:avLst/>
          </a:prstGeom>
          <a:solidFill>
            <a:schemeClr val="accent6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16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8%</a:t>
            </a:r>
          </a:p>
        </p:txBody>
      </p:sp>
      <p:sp>
        <p:nvSpPr>
          <p:cNvPr id="22" name="47 Rectángulo"/>
          <p:cNvSpPr/>
          <p:nvPr/>
        </p:nvSpPr>
        <p:spPr>
          <a:xfrm>
            <a:off x="6656489" y="4849581"/>
            <a:ext cx="40151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solidFill>
                  <a:schemeClr val="accent1">
                    <a:lumMod val="75000"/>
                  </a:schemeClr>
                </a:solidFill>
                <a:latin typeface="Corbel" panose="020B0503020204020204" pitchFamily="34" charset="0"/>
                <a:cs typeface="Arial" pitchFamily="34" charset="0"/>
              </a:rPr>
              <a:t>Por no saber cómo denunciar estos hechos</a:t>
            </a:r>
            <a:endParaRPr lang="es-PE" sz="1600" dirty="0">
              <a:solidFill>
                <a:schemeClr val="accent1">
                  <a:lumMod val="7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3" name="41 Elipse"/>
          <p:cNvSpPr/>
          <p:nvPr/>
        </p:nvSpPr>
        <p:spPr bwMode="gray">
          <a:xfrm>
            <a:off x="5520598" y="4663995"/>
            <a:ext cx="689835" cy="609991"/>
          </a:xfrm>
          <a:prstGeom prst="ellipse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16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11%</a:t>
            </a:r>
          </a:p>
        </p:txBody>
      </p:sp>
      <p:sp>
        <p:nvSpPr>
          <p:cNvPr id="24" name="41 Elipse"/>
          <p:cNvSpPr/>
          <p:nvPr/>
        </p:nvSpPr>
        <p:spPr bwMode="gray">
          <a:xfrm>
            <a:off x="5531771" y="3926953"/>
            <a:ext cx="689835" cy="609991"/>
          </a:xfrm>
          <a:prstGeom prst="ellipse">
            <a:avLst/>
          </a:prstGeom>
          <a:solidFill>
            <a:schemeClr val="accent6">
              <a:lumMod val="50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20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18%</a:t>
            </a:r>
          </a:p>
        </p:txBody>
      </p:sp>
      <p:sp>
        <p:nvSpPr>
          <p:cNvPr id="25" name="Cerrar llave 24"/>
          <p:cNvSpPr/>
          <p:nvPr/>
        </p:nvSpPr>
        <p:spPr>
          <a:xfrm flipH="1">
            <a:off x="3705983" y="1353679"/>
            <a:ext cx="1235862" cy="5288705"/>
          </a:xfrm>
          <a:prstGeom prst="rightBrace">
            <a:avLst>
              <a:gd name="adj1" fmla="val 8333"/>
              <a:gd name="adj2" fmla="val 40220"/>
            </a:avLst>
          </a:prstGeom>
          <a:ln w="1905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Rectángulo 25"/>
          <p:cNvSpPr/>
          <p:nvPr/>
        </p:nvSpPr>
        <p:spPr>
          <a:xfrm>
            <a:off x="536298" y="6040392"/>
            <a:ext cx="336021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Base: Total de entrevistados que pagaron coimas (265)</a:t>
            </a:r>
            <a:endParaRPr lang="es-PE" sz="1100" dirty="0"/>
          </a:p>
        </p:txBody>
      </p:sp>
      <p:sp>
        <p:nvSpPr>
          <p:cNvPr id="27" name="47 Rectángulo"/>
          <p:cNvSpPr/>
          <p:nvPr/>
        </p:nvSpPr>
        <p:spPr>
          <a:xfrm>
            <a:off x="6663302" y="6118940"/>
            <a:ext cx="46355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solidFill>
                  <a:srgbClr val="E94F35"/>
                </a:solidFill>
                <a:latin typeface="Corbel" panose="020B0503020204020204" pitchFamily="34" charset="0"/>
              </a:rPr>
              <a:t>Para no perjudicar al funcionario/autoridad/servidor</a:t>
            </a:r>
            <a:endParaRPr lang="es-PE" sz="1600" dirty="0">
              <a:solidFill>
                <a:srgbClr val="E94F35"/>
              </a:solidFill>
              <a:latin typeface="Corbel" panose="020B0503020204020204" pitchFamily="34" charset="0"/>
            </a:endParaRPr>
          </a:p>
        </p:txBody>
      </p:sp>
      <p:sp>
        <p:nvSpPr>
          <p:cNvPr id="28" name="41 Elipse"/>
          <p:cNvSpPr/>
          <p:nvPr/>
        </p:nvSpPr>
        <p:spPr bwMode="gray">
          <a:xfrm>
            <a:off x="5616896" y="6034329"/>
            <a:ext cx="539168" cy="507775"/>
          </a:xfrm>
          <a:prstGeom prst="ellipse">
            <a:avLst/>
          </a:prstGeom>
          <a:solidFill>
            <a:srgbClr val="E55A00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16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8%</a:t>
            </a:r>
          </a:p>
        </p:txBody>
      </p:sp>
      <p:sp>
        <p:nvSpPr>
          <p:cNvPr id="29" name="Rectángulo 28"/>
          <p:cNvSpPr/>
          <p:nvPr/>
        </p:nvSpPr>
        <p:spPr>
          <a:xfrm>
            <a:off x="1730061" y="5273986"/>
            <a:ext cx="1291957" cy="400110"/>
          </a:xfrm>
          <a:prstGeom prst="rect">
            <a:avLst/>
          </a:prstGeom>
          <a:ln>
            <a:solidFill>
              <a:srgbClr val="DC291E"/>
            </a:solidFill>
          </a:ln>
        </p:spPr>
        <p:txBody>
          <a:bodyPr wrap="none">
            <a:spAutoFit/>
          </a:bodyPr>
          <a:lstStyle/>
          <a:p>
            <a:r>
              <a:rPr lang="es-ES" sz="2000" b="1" dirty="0" smtClean="0">
                <a:solidFill>
                  <a:srgbClr val="DC291E"/>
                </a:solidFill>
                <a:latin typeface="Corbel" panose="020B0503020204020204" pitchFamily="34" charset="0"/>
              </a:rPr>
              <a:t>2017: 93%</a:t>
            </a:r>
            <a:endParaRPr lang="es-PE" sz="2000" b="1" dirty="0">
              <a:solidFill>
                <a:srgbClr val="DC29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76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5 Título"/>
          <p:cNvSpPr txBox="1">
            <a:spLocks/>
          </p:cNvSpPr>
          <p:nvPr/>
        </p:nvSpPr>
        <p:spPr>
          <a:xfrm>
            <a:off x="407368" y="332657"/>
            <a:ext cx="9064178" cy="432047"/>
          </a:xfrm>
          <a:prstGeom prst="rect">
            <a:avLst/>
          </a:prstGeom>
        </p:spPr>
        <p:txBody>
          <a:bodyPr/>
          <a:lstStyle/>
          <a:p>
            <a:r>
              <a:rPr lang="es-PE" sz="2400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¿Quiénes conocen dónde se acude a denunciar este tipo de actos?</a:t>
            </a:r>
          </a:p>
          <a:p>
            <a:r>
              <a:rPr lang="es-PE" sz="2400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2019 - % QUE DICE CONOCER DONDE IR</a:t>
            </a:r>
          </a:p>
        </p:txBody>
      </p:sp>
      <p:graphicFrame>
        <p:nvGraphicFramePr>
          <p:cNvPr id="48" name="20 Gráfico"/>
          <p:cNvGraphicFramePr/>
          <p:nvPr>
            <p:extLst>
              <p:ext uri="{D42A27DB-BD31-4B8C-83A1-F6EECF244321}">
                <p14:modId xmlns:p14="http://schemas.microsoft.com/office/powerpoint/2010/main" val="4072224028"/>
              </p:ext>
            </p:extLst>
          </p:nvPr>
        </p:nvGraphicFramePr>
        <p:xfrm>
          <a:off x="602900" y="1870055"/>
          <a:ext cx="4665136" cy="4510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5" name="Conector recto 4"/>
          <p:cNvCxnSpPr/>
          <p:nvPr/>
        </p:nvCxnSpPr>
        <p:spPr>
          <a:xfrm>
            <a:off x="731181" y="2219912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/>
          <p:cNvCxnSpPr/>
          <p:nvPr/>
        </p:nvCxnSpPr>
        <p:spPr>
          <a:xfrm>
            <a:off x="731181" y="4122234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/>
          <p:cNvCxnSpPr/>
          <p:nvPr/>
        </p:nvCxnSpPr>
        <p:spPr>
          <a:xfrm>
            <a:off x="731181" y="4924148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/>
          <p:cNvCxnSpPr/>
          <p:nvPr/>
        </p:nvCxnSpPr>
        <p:spPr>
          <a:xfrm>
            <a:off x="731181" y="5482819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uadroTexto 8"/>
          <p:cNvSpPr txBox="1"/>
          <p:nvPr/>
        </p:nvSpPr>
        <p:spPr bwMode="gray">
          <a:xfrm>
            <a:off x="6173697" y="4235681"/>
            <a:ext cx="180562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Nivel socioeconómico</a:t>
            </a:r>
          </a:p>
        </p:txBody>
      </p:sp>
      <p:sp>
        <p:nvSpPr>
          <p:cNvPr id="10" name="CuadroTexto 9"/>
          <p:cNvSpPr txBox="1"/>
          <p:nvPr/>
        </p:nvSpPr>
        <p:spPr bwMode="gray">
          <a:xfrm>
            <a:off x="6173697" y="5828571"/>
            <a:ext cx="12526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Edad</a:t>
            </a:r>
          </a:p>
        </p:txBody>
      </p:sp>
      <p:sp>
        <p:nvSpPr>
          <p:cNvPr id="11" name="Freeform 43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463666" y="4233628"/>
            <a:ext cx="362036" cy="502235"/>
          </a:xfrm>
          <a:custGeom>
            <a:avLst/>
            <a:gdLst>
              <a:gd name="T0" fmla="*/ 1001 w 1442"/>
              <a:gd name="T1" fmla="*/ 1240 h 2000"/>
              <a:gd name="T2" fmla="*/ 761 w 1442"/>
              <a:gd name="T3" fmla="*/ 1040 h 2000"/>
              <a:gd name="T4" fmla="*/ 681 w 1442"/>
              <a:gd name="T5" fmla="*/ 960 h 2000"/>
              <a:gd name="T6" fmla="*/ 641 w 1442"/>
              <a:gd name="T7" fmla="*/ 1040 h 2000"/>
              <a:gd name="T8" fmla="*/ 641 w 1442"/>
              <a:gd name="T9" fmla="*/ 1440 h 2000"/>
              <a:gd name="T10" fmla="*/ 681 w 1442"/>
              <a:gd name="T11" fmla="*/ 1680 h 2000"/>
              <a:gd name="T12" fmla="*/ 521 w 1442"/>
              <a:gd name="T13" fmla="*/ 1560 h 2000"/>
              <a:gd name="T14" fmla="*/ 641 w 1442"/>
              <a:gd name="T15" fmla="*/ 1760 h 2000"/>
              <a:gd name="T16" fmla="*/ 681 w 1442"/>
              <a:gd name="T17" fmla="*/ 1840 h 2000"/>
              <a:gd name="T18" fmla="*/ 761 w 1442"/>
              <a:gd name="T19" fmla="*/ 1760 h 2000"/>
              <a:gd name="T20" fmla="*/ 1001 w 1442"/>
              <a:gd name="T21" fmla="*/ 1560 h 2000"/>
              <a:gd name="T22" fmla="*/ 761 w 1442"/>
              <a:gd name="T23" fmla="*/ 1360 h 2000"/>
              <a:gd name="T24" fmla="*/ 801 w 1442"/>
              <a:gd name="T25" fmla="*/ 1120 h 2000"/>
              <a:gd name="T26" fmla="*/ 831 w 1442"/>
              <a:gd name="T27" fmla="*/ 13 h 2000"/>
              <a:gd name="T28" fmla="*/ 1140 w 1442"/>
              <a:gd name="T29" fmla="*/ 190 h 2000"/>
              <a:gd name="T30" fmla="*/ 831 w 1442"/>
              <a:gd name="T31" fmla="*/ 13 h 2000"/>
              <a:gd name="T32" fmla="*/ 373 w 1442"/>
              <a:gd name="T33" fmla="*/ 350 h 2000"/>
              <a:gd name="T34" fmla="*/ 317 w 1442"/>
              <a:gd name="T35" fmla="*/ 114 h 2000"/>
              <a:gd name="T36" fmla="*/ 960 w 1442"/>
              <a:gd name="T37" fmla="*/ 400 h 2000"/>
              <a:gd name="T38" fmla="*/ 681 w 1442"/>
              <a:gd name="T39" fmla="*/ 1120 h 2000"/>
              <a:gd name="T40" fmla="*/ 521 w 1442"/>
              <a:gd name="T41" fmla="*/ 1240 h 2000"/>
              <a:gd name="T42" fmla="*/ 641 w 1442"/>
              <a:gd name="T43" fmla="*/ 1360 h 2000"/>
              <a:gd name="T44" fmla="*/ 681 w 1442"/>
              <a:gd name="T45" fmla="*/ 1120 h 2000"/>
              <a:gd name="T46" fmla="*/ 801 w 1442"/>
              <a:gd name="T47" fmla="*/ 1680 h 2000"/>
              <a:gd name="T48" fmla="*/ 801 w 1442"/>
              <a:gd name="T49" fmla="*/ 1440 h 2000"/>
              <a:gd name="T50" fmla="*/ 761 w 1442"/>
              <a:gd name="T51" fmla="*/ 1680 h 2000"/>
              <a:gd name="T52" fmla="*/ 1160 w 1442"/>
              <a:gd name="T53" fmla="*/ 872 h 2000"/>
              <a:gd name="T54" fmla="*/ 1441 w 1442"/>
              <a:gd name="T55" fmla="*/ 1494 h 2000"/>
              <a:gd name="T56" fmla="*/ 1409 w 1442"/>
              <a:gd name="T57" fmla="*/ 1894 h 2000"/>
              <a:gd name="T58" fmla="*/ 161 w 1442"/>
              <a:gd name="T59" fmla="*/ 2000 h 2000"/>
              <a:gd name="T60" fmla="*/ 1 w 1442"/>
              <a:gd name="T61" fmla="*/ 1516 h 2000"/>
              <a:gd name="T62" fmla="*/ 65 w 1442"/>
              <a:gd name="T63" fmla="*/ 1170 h 2000"/>
              <a:gd name="T64" fmla="*/ 481 w 1442"/>
              <a:gd name="T65" fmla="*/ 640 h 2000"/>
              <a:gd name="T66" fmla="*/ 961 w 1442"/>
              <a:gd name="T67" fmla="*/ 480 h 2000"/>
              <a:gd name="T68" fmla="*/ 481 w 1442"/>
              <a:gd name="T69" fmla="*/ 560 h 2000"/>
              <a:gd name="T70" fmla="*/ 961 w 1442"/>
              <a:gd name="T71" fmla="*/ 480 h 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42" h="2000">
                <a:moveTo>
                  <a:pt x="921" y="1240"/>
                </a:moveTo>
                <a:cubicBezTo>
                  <a:pt x="1001" y="1240"/>
                  <a:pt x="1001" y="1240"/>
                  <a:pt x="1001" y="1240"/>
                </a:cubicBezTo>
                <a:cubicBezTo>
                  <a:pt x="1001" y="1130"/>
                  <a:pt x="911" y="1040"/>
                  <a:pt x="801" y="1040"/>
                </a:cubicBezTo>
                <a:cubicBezTo>
                  <a:pt x="761" y="1040"/>
                  <a:pt x="761" y="1040"/>
                  <a:pt x="761" y="1040"/>
                </a:cubicBezTo>
                <a:cubicBezTo>
                  <a:pt x="761" y="960"/>
                  <a:pt x="761" y="960"/>
                  <a:pt x="761" y="960"/>
                </a:cubicBezTo>
                <a:cubicBezTo>
                  <a:pt x="681" y="960"/>
                  <a:pt x="681" y="960"/>
                  <a:pt x="681" y="960"/>
                </a:cubicBezTo>
                <a:cubicBezTo>
                  <a:pt x="681" y="1040"/>
                  <a:pt x="681" y="1040"/>
                  <a:pt x="681" y="1040"/>
                </a:cubicBezTo>
                <a:cubicBezTo>
                  <a:pt x="641" y="1040"/>
                  <a:pt x="641" y="1040"/>
                  <a:pt x="641" y="1040"/>
                </a:cubicBezTo>
                <a:cubicBezTo>
                  <a:pt x="531" y="1040"/>
                  <a:pt x="441" y="1130"/>
                  <a:pt x="441" y="1240"/>
                </a:cubicBezTo>
                <a:cubicBezTo>
                  <a:pt x="441" y="1350"/>
                  <a:pt x="531" y="1440"/>
                  <a:pt x="641" y="1440"/>
                </a:cubicBezTo>
                <a:cubicBezTo>
                  <a:pt x="681" y="1440"/>
                  <a:pt x="681" y="1440"/>
                  <a:pt x="681" y="1440"/>
                </a:cubicBezTo>
                <a:cubicBezTo>
                  <a:pt x="681" y="1680"/>
                  <a:pt x="681" y="1680"/>
                  <a:pt x="681" y="1680"/>
                </a:cubicBezTo>
                <a:cubicBezTo>
                  <a:pt x="641" y="1680"/>
                  <a:pt x="641" y="1680"/>
                  <a:pt x="641" y="1680"/>
                </a:cubicBezTo>
                <a:cubicBezTo>
                  <a:pt x="575" y="1680"/>
                  <a:pt x="521" y="1626"/>
                  <a:pt x="521" y="1560"/>
                </a:cubicBezTo>
                <a:cubicBezTo>
                  <a:pt x="441" y="1560"/>
                  <a:pt x="441" y="1560"/>
                  <a:pt x="441" y="1560"/>
                </a:cubicBezTo>
                <a:cubicBezTo>
                  <a:pt x="441" y="1670"/>
                  <a:pt x="531" y="1760"/>
                  <a:pt x="641" y="1760"/>
                </a:cubicBezTo>
                <a:cubicBezTo>
                  <a:pt x="681" y="1760"/>
                  <a:pt x="681" y="1760"/>
                  <a:pt x="681" y="1760"/>
                </a:cubicBezTo>
                <a:cubicBezTo>
                  <a:pt x="681" y="1840"/>
                  <a:pt x="681" y="1840"/>
                  <a:pt x="681" y="1840"/>
                </a:cubicBezTo>
                <a:cubicBezTo>
                  <a:pt x="761" y="1840"/>
                  <a:pt x="761" y="1840"/>
                  <a:pt x="761" y="1840"/>
                </a:cubicBezTo>
                <a:cubicBezTo>
                  <a:pt x="761" y="1760"/>
                  <a:pt x="761" y="1760"/>
                  <a:pt x="761" y="1760"/>
                </a:cubicBezTo>
                <a:cubicBezTo>
                  <a:pt x="801" y="1760"/>
                  <a:pt x="801" y="1760"/>
                  <a:pt x="801" y="1760"/>
                </a:cubicBezTo>
                <a:cubicBezTo>
                  <a:pt x="911" y="1760"/>
                  <a:pt x="1001" y="1670"/>
                  <a:pt x="1001" y="1560"/>
                </a:cubicBezTo>
                <a:cubicBezTo>
                  <a:pt x="1001" y="1450"/>
                  <a:pt x="911" y="1360"/>
                  <a:pt x="801" y="1360"/>
                </a:cubicBezTo>
                <a:cubicBezTo>
                  <a:pt x="761" y="1360"/>
                  <a:pt x="761" y="1360"/>
                  <a:pt x="761" y="1360"/>
                </a:cubicBezTo>
                <a:cubicBezTo>
                  <a:pt x="761" y="1120"/>
                  <a:pt x="761" y="1120"/>
                  <a:pt x="761" y="1120"/>
                </a:cubicBezTo>
                <a:cubicBezTo>
                  <a:pt x="801" y="1120"/>
                  <a:pt x="801" y="1120"/>
                  <a:pt x="801" y="1120"/>
                </a:cubicBezTo>
                <a:cubicBezTo>
                  <a:pt x="867" y="1120"/>
                  <a:pt x="921" y="1174"/>
                  <a:pt x="921" y="1240"/>
                </a:cubicBezTo>
                <a:close/>
                <a:moveTo>
                  <a:pt x="831" y="13"/>
                </a:moveTo>
                <a:cubicBezTo>
                  <a:pt x="874" y="4"/>
                  <a:pt x="918" y="0"/>
                  <a:pt x="961" y="0"/>
                </a:cubicBezTo>
                <a:cubicBezTo>
                  <a:pt x="1064" y="0"/>
                  <a:pt x="1140" y="90"/>
                  <a:pt x="1140" y="190"/>
                </a:cubicBezTo>
                <a:cubicBezTo>
                  <a:pt x="1140" y="269"/>
                  <a:pt x="1097" y="330"/>
                  <a:pt x="1038" y="378"/>
                </a:cubicBezTo>
                <a:cubicBezTo>
                  <a:pt x="1023" y="209"/>
                  <a:pt x="947" y="88"/>
                  <a:pt x="831" y="13"/>
                </a:cubicBezTo>
                <a:close/>
                <a:moveTo>
                  <a:pt x="433" y="400"/>
                </a:moveTo>
                <a:cubicBezTo>
                  <a:pt x="413" y="386"/>
                  <a:pt x="392" y="370"/>
                  <a:pt x="373" y="350"/>
                </a:cubicBezTo>
                <a:cubicBezTo>
                  <a:pt x="323" y="300"/>
                  <a:pt x="302" y="243"/>
                  <a:pt x="302" y="190"/>
                </a:cubicBezTo>
                <a:cubicBezTo>
                  <a:pt x="302" y="163"/>
                  <a:pt x="307" y="138"/>
                  <a:pt x="317" y="114"/>
                </a:cubicBezTo>
                <a:cubicBezTo>
                  <a:pt x="345" y="47"/>
                  <a:pt x="407" y="0"/>
                  <a:pt x="481" y="0"/>
                </a:cubicBezTo>
                <a:cubicBezTo>
                  <a:pt x="740" y="0"/>
                  <a:pt x="943" y="123"/>
                  <a:pt x="960" y="400"/>
                </a:cubicBezTo>
                <a:lnTo>
                  <a:pt x="433" y="400"/>
                </a:lnTo>
                <a:close/>
                <a:moveTo>
                  <a:pt x="681" y="1120"/>
                </a:moveTo>
                <a:cubicBezTo>
                  <a:pt x="641" y="1120"/>
                  <a:pt x="641" y="1120"/>
                  <a:pt x="641" y="1120"/>
                </a:cubicBezTo>
                <a:cubicBezTo>
                  <a:pt x="575" y="1120"/>
                  <a:pt x="521" y="1174"/>
                  <a:pt x="521" y="1240"/>
                </a:cubicBezTo>
                <a:cubicBezTo>
                  <a:pt x="521" y="1273"/>
                  <a:pt x="535" y="1303"/>
                  <a:pt x="556" y="1325"/>
                </a:cubicBezTo>
                <a:cubicBezTo>
                  <a:pt x="578" y="1346"/>
                  <a:pt x="608" y="1360"/>
                  <a:pt x="641" y="1360"/>
                </a:cubicBezTo>
                <a:cubicBezTo>
                  <a:pt x="681" y="1360"/>
                  <a:pt x="681" y="1360"/>
                  <a:pt x="681" y="1360"/>
                </a:cubicBezTo>
                <a:lnTo>
                  <a:pt x="681" y="1120"/>
                </a:lnTo>
                <a:close/>
                <a:moveTo>
                  <a:pt x="761" y="1680"/>
                </a:moveTo>
                <a:cubicBezTo>
                  <a:pt x="801" y="1680"/>
                  <a:pt x="801" y="1680"/>
                  <a:pt x="801" y="1680"/>
                </a:cubicBezTo>
                <a:cubicBezTo>
                  <a:pt x="867" y="1680"/>
                  <a:pt x="921" y="1626"/>
                  <a:pt x="921" y="1560"/>
                </a:cubicBezTo>
                <a:cubicBezTo>
                  <a:pt x="921" y="1494"/>
                  <a:pt x="867" y="1440"/>
                  <a:pt x="801" y="1440"/>
                </a:cubicBezTo>
                <a:cubicBezTo>
                  <a:pt x="761" y="1440"/>
                  <a:pt x="761" y="1440"/>
                  <a:pt x="761" y="1440"/>
                </a:cubicBezTo>
                <a:lnTo>
                  <a:pt x="761" y="1680"/>
                </a:lnTo>
                <a:close/>
                <a:moveTo>
                  <a:pt x="961" y="640"/>
                </a:moveTo>
                <a:cubicBezTo>
                  <a:pt x="961" y="679"/>
                  <a:pt x="1092" y="806"/>
                  <a:pt x="1160" y="872"/>
                </a:cubicBezTo>
                <a:cubicBezTo>
                  <a:pt x="1252" y="961"/>
                  <a:pt x="1326" y="1050"/>
                  <a:pt x="1377" y="1170"/>
                </a:cubicBezTo>
                <a:cubicBezTo>
                  <a:pt x="1420" y="1268"/>
                  <a:pt x="1441" y="1374"/>
                  <a:pt x="1441" y="1494"/>
                </a:cubicBezTo>
                <a:cubicBezTo>
                  <a:pt x="1441" y="1516"/>
                  <a:pt x="1441" y="1516"/>
                  <a:pt x="1441" y="1516"/>
                </a:cubicBezTo>
                <a:cubicBezTo>
                  <a:pt x="1441" y="1635"/>
                  <a:pt x="1442" y="1779"/>
                  <a:pt x="1409" y="1894"/>
                </a:cubicBezTo>
                <a:cubicBezTo>
                  <a:pt x="1392" y="1955"/>
                  <a:pt x="1348" y="2000"/>
                  <a:pt x="1281" y="2000"/>
                </a:cubicBezTo>
                <a:cubicBezTo>
                  <a:pt x="161" y="2000"/>
                  <a:pt x="161" y="2000"/>
                  <a:pt x="161" y="2000"/>
                </a:cubicBezTo>
                <a:cubicBezTo>
                  <a:pt x="94" y="2000"/>
                  <a:pt x="50" y="1955"/>
                  <a:pt x="33" y="1894"/>
                </a:cubicBezTo>
                <a:cubicBezTo>
                  <a:pt x="0" y="1779"/>
                  <a:pt x="1" y="1635"/>
                  <a:pt x="1" y="1516"/>
                </a:cubicBezTo>
                <a:cubicBezTo>
                  <a:pt x="1" y="1494"/>
                  <a:pt x="1" y="1494"/>
                  <a:pt x="1" y="1494"/>
                </a:cubicBezTo>
                <a:cubicBezTo>
                  <a:pt x="1" y="1374"/>
                  <a:pt x="22" y="1268"/>
                  <a:pt x="65" y="1170"/>
                </a:cubicBezTo>
                <a:cubicBezTo>
                  <a:pt x="116" y="1050"/>
                  <a:pt x="190" y="961"/>
                  <a:pt x="282" y="872"/>
                </a:cubicBezTo>
                <a:cubicBezTo>
                  <a:pt x="350" y="806"/>
                  <a:pt x="481" y="679"/>
                  <a:pt x="481" y="640"/>
                </a:cubicBezTo>
                <a:lnTo>
                  <a:pt x="961" y="640"/>
                </a:lnTo>
                <a:close/>
                <a:moveTo>
                  <a:pt x="961" y="480"/>
                </a:moveTo>
                <a:cubicBezTo>
                  <a:pt x="481" y="480"/>
                  <a:pt x="481" y="480"/>
                  <a:pt x="481" y="480"/>
                </a:cubicBezTo>
                <a:cubicBezTo>
                  <a:pt x="481" y="560"/>
                  <a:pt x="481" y="560"/>
                  <a:pt x="481" y="560"/>
                </a:cubicBezTo>
                <a:cubicBezTo>
                  <a:pt x="961" y="560"/>
                  <a:pt x="961" y="560"/>
                  <a:pt x="961" y="560"/>
                </a:cubicBezTo>
                <a:lnTo>
                  <a:pt x="961" y="48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2" name="Freeform 22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409034" y="5642925"/>
            <a:ext cx="515853" cy="505336"/>
          </a:xfrm>
          <a:custGeom>
            <a:avLst/>
            <a:gdLst>
              <a:gd name="T0" fmla="*/ 1640 w 2160"/>
              <a:gd name="T1" fmla="*/ 317 h 2116"/>
              <a:gd name="T2" fmla="*/ 1753 w 2160"/>
              <a:gd name="T3" fmla="*/ 214 h 2116"/>
              <a:gd name="T4" fmla="*/ 1760 w 2160"/>
              <a:gd name="T5" fmla="*/ 436 h 2116"/>
              <a:gd name="T6" fmla="*/ 1680 w 2160"/>
              <a:gd name="T7" fmla="*/ 916 h 2116"/>
              <a:gd name="T8" fmla="*/ 320 w 2160"/>
              <a:gd name="T9" fmla="*/ 656 h 2116"/>
              <a:gd name="T10" fmla="*/ 560 w 2160"/>
              <a:gd name="T11" fmla="*/ 916 h 2116"/>
              <a:gd name="T12" fmla="*/ 640 w 2160"/>
              <a:gd name="T13" fmla="*/ 756 h 2116"/>
              <a:gd name="T14" fmla="*/ 880 w 2160"/>
              <a:gd name="T15" fmla="*/ 562 h 2116"/>
              <a:gd name="T16" fmla="*/ 1080 w 2160"/>
              <a:gd name="T17" fmla="*/ 1196 h 2116"/>
              <a:gd name="T18" fmla="*/ 1280 w 2160"/>
              <a:gd name="T19" fmla="*/ 562 h 2116"/>
              <a:gd name="T20" fmla="*/ 1520 w 2160"/>
              <a:gd name="T21" fmla="*/ 756 h 2116"/>
              <a:gd name="T22" fmla="*/ 1600 w 2160"/>
              <a:gd name="T23" fmla="*/ 916 h 2116"/>
              <a:gd name="T24" fmla="*/ 1840 w 2160"/>
              <a:gd name="T25" fmla="*/ 656 h 2116"/>
              <a:gd name="T26" fmla="*/ 1080 w 2160"/>
              <a:gd name="T27" fmla="*/ 1276 h 2116"/>
              <a:gd name="T28" fmla="*/ 0 w 2160"/>
              <a:gd name="T29" fmla="*/ 916 h 2116"/>
              <a:gd name="T30" fmla="*/ 2121 w 2160"/>
              <a:gd name="T31" fmla="*/ 1280 h 2116"/>
              <a:gd name="T32" fmla="*/ 1974 w 2160"/>
              <a:gd name="T33" fmla="*/ 1552 h 2116"/>
              <a:gd name="T34" fmla="*/ 1666 w 2160"/>
              <a:gd name="T35" fmla="*/ 1627 h 2116"/>
              <a:gd name="T36" fmla="*/ 1322 w 2160"/>
              <a:gd name="T37" fmla="*/ 1605 h 2116"/>
              <a:gd name="T38" fmla="*/ 984 w 2160"/>
              <a:gd name="T39" fmla="*/ 1723 h 2116"/>
              <a:gd name="T40" fmla="*/ 574 w 2160"/>
              <a:gd name="T41" fmla="*/ 1736 h 2116"/>
              <a:gd name="T42" fmla="*/ 267 w 2160"/>
              <a:gd name="T43" fmla="*/ 1531 h 2116"/>
              <a:gd name="T44" fmla="*/ 78 w 2160"/>
              <a:gd name="T45" fmla="*/ 1344 h 2116"/>
              <a:gd name="T46" fmla="*/ 1080 w 2160"/>
              <a:gd name="T47" fmla="*/ 1352 h 2116"/>
              <a:gd name="T48" fmla="*/ 2160 w 2160"/>
              <a:gd name="T49" fmla="*/ 1364 h 2116"/>
              <a:gd name="T50" fmla="*/ 1827 w 2160"/>
              <a:gd name="T51" fmla="*/ 2020 h 2116"/>
              <a:gd name="T52" fmla="*/ 0 w 2160"/>
              <a:gd name="T53" fmla="*/ 1756 h 2116"/>
              <a:gd name="T54" fmla="*/ 66 w 2160"/>
              <a:gd name="T55" fmla="*/ 1517 h 2116"/>
              <a:gd name="T56" fmla="*/ 361 w 2160"/>
              <a:gd name="T57" fmla="*/ 1572 h 2116"/>
              <a:gd name="T58" fmla="*/ 688 w 2160"/>
              <a:gd name="T59" fmla="*/ 1750 h 2116"/>
              <a:gd name="T60" fmla="*/ 1080 w 2160"/>
              <a:gd name="T61" fmla="*/ 1876 h 2116"/>
              <a:gd name="T62" fmla="*/ 1472 w 2160"/>
              <a:gd name="T63" fmla="*/ 1750 h 2116"/>
              <a:gd name="T64" fmla="*/ 1799 w 2160"/>
              <a:gd name="T65" fmla="*/ 1572 h 2116"/>
              <a:gd name="T66" fmla="*/ 2094 w 2160"/>
              <a:gd name="T67" fmla="*/ 1517 h 2116"/>
              <a:gd name="T68" fmla="*/ 793 w 2160"/>
              <a:gd name="T69" fmla="*/ 53 h 2116"/>
              <a:gd name="T70" fmla="*/ 680 w 2160"/>
              <a:gd name="T71" fmla="*/ 156 h 2116"/>
              <a:gd name="T72" fmla="*/ 793 w 2160"/>
              <a:gd name="T73" fmla="*/ 53 h 2116"/>
              <a:gd name="T74" fmla="*/ 1084 w 2160"/>
              <a:gd name="T75" fmla="*/ 556 h 2116"/>
              <a:gd name="T76" fmla="*/ 1080 w 2160"/>
              <a:gd name="T77" fmla="*/ 1116 h 2116"/>
              <a:gd name="T78" fmla="*/ 1076 w 2160"/>
              <a:gd name="T79" fmla="*/ 556 h 2116"/>
              <a:gd name="T80" fmla="*/ 1075 w 2160"/>
              <a:gd name="T81" fmla="*/ 321 h 2116"/>
              <a:gd name="T82" fmla="*/ 519 w 2160"/>
              <a:gd name="T83" fmla="*/ 317 h 2116"/>
              <a:gd name="T84" fmla="*/ 480 w 2160"/>
              <a:gd name="T85" fmla="*/ 916 h 2116"/>
              <a:gd name="T86" fmla="*/ 400 w 2160"/>
              <a:gd name="T87" fmla="*/ 436 h 2116"/>
              <a:gd name="T88" fmla="*/ 405 w 2160"/>
              <a:gd name="T89" fmla="*/ 219 h 2116"/>
              <a:gd name="T90" fmla="*/ 1433 w 2160"/>
              <a:gd name="T91" fmla="*/ 54 h 2116"/>
              <a:gd name="T92" fmla="*/ 1440 w 2160"/>
              <a:gd name="T93" fmla="*/ 276 h 2116"/>
              <a:gd name="T94" fmla="*/ 1360 w 2160"/>
              <a:gd name="T95" fmla="*/ 756 h 2116"/>
              <a:gd name="T96" fmla="*/ 1320 w 2160"/>
              <a:gd name="T97" fmla="*/ 157 h 2116"/>
              <a:gd name="T98" fmla="*/ 1433 w 2160"/>
              <a:gd name="T99" fmla="*/ 54 h 2116"/>
              <a:gd name="T100" fmla="*/ 800 w 2160"/>
              <a:gd name="T101" fmla="*/ 276 h 2116"/>
              <a:gd name="T102" fmla="*/ 720 w 2160"/>
              <a:gd name="T103" fmla="*/ 756 h 2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60" h="2116">
                <a:moveTo>
                  <a:pt x="1680" y="436"/>
                </a:moveTo>
                <a:cubicBezTo>
                  <a:pt x="1680" y="416"/>
                  <a:pt x="1696" y="399"/>
                  <a:pt x="1716" y="396"/>
                </a:cubicBezTo>
                <a:cubicBezTo>
                  <a:pt x="1673" y="394"/>
                  <a:pt x="1640" y="359"/>
                  <a:pt x="1640" y="317"/>
                </a:cubicBezTo>
                <a:cubicBezTo>
                  <a:pt x="1640" y="280"/>
                  <a:pt x="1668" y="250"/>
                  <a:pt x="1685" y="219"/>
                </a:cubicBezTo>
                <a:cubicBezTo>
                  <a:pt x="1715" y="161"/>
                  <a:pt x="1715" y="161"/>
                  <a:pt x="1715" y="161"/>
                </a:cubicBezTo>
                <a:cubicBezTo>
                  <a:pt x="1753" y="214"/>
                  <a:pt x="1753" y="214"/>
                  <a:pt x="1753" y="214"/>
                </a:cubicBezTo>
                <a:cubicBezTo>
                  <a:pt x="1774" y="244"/>
                  <a:pt x="1799" y="279"/>
                  <a:pt x="1799" y="317"/>
                </a:cubicBezTo>
                <a:cubicBezTo>
                  <a:pt x="1799" y="359"/>
                  <a:pt x="1766" y="394"/>
                  <a:pt x="1724" y="396"/>
                </a:cubicBezTo>
                <a:cubicBezTo>
                  <a:pt x="1744" y="398"/>
                  <a:pt x="1760" y="416"/>
                  <a:pt x="1760" y="436"/>
                </a:cubicBezTo>
                <a:cubicBezTo>
                  <a:pt x="1760" y="916"/>
                  <a:pt x="1760" y="916"/>
                  <a:pt x="1760" y="916"/>
                </a:cubicBezTo>
                <a:cubicBezTo>
                  <a:pt x="1760" y="938"/>
                  <a:pt x="1742" y="956"/>
                  <a:pt x="1720" y="956"/>
                </a:cubicBezTo>
                <a:cubicBezTo>
                  <a:pt x="1698" y="956"/>
                  <a:pt x="1680" y="938"/>
                  <a:pt x="1680" y="916"/>
                </a:cubicBezTo>
                <a:lnTo>
                  <a:pt x="1680" y="436"/>
                </a:lnTo>
                <a:close/>
                <a:moveTo>
                  <a:pt x="0" y="916"/>
                </a:moveTo>
                <a:cubicBezTo>
                  <a:pt x="0" y="810"/>
                  <a:pt x="122" y="719"/>
                  <a:pt x="320" y="656"/>
                </a:cubicBezTo>
                <a:cubicBezTo>
                  <a:pt x="320" y="916"/>
                  <a:pt x="320" y="916"/>
                  <a:pt x="320" y="916"/>
                </a:cubicBezTo>
                <a:cubicBezTo>
                  <a:pt x="320" y="982"/>
                  <a:pt x="374" y="1036"/>
                  <a:pt x="440" y="1036"/>
                </a:cubicBezTo>
                <a:cubicBezTo>
                  <a:pt x="506" y="1036"/>
                  <a:pt x="560" y="982"/>
                  <a:pt x="560" y="916"/>
                </a:cubicBezTo>
                <a:cubicBezTo>
                  <a:pt x="560" y="598"/>
                  <a:pt x="560" y="598"/>
                  <a:pt x="560" y="598"/>
                </a:cubicBezTo>
                <a:cubicBezTo>
                  <a:pt x="586" y="594"/>
                  <a:pt x="613" y="590"/>
                  <a:pt x="640" y="586"/>
                </a:cubicBezTo>
                <a:cubicBezTo>
                  <a:pt x="640" y="756"/>
                  <a:pt x="640" y="756"/>
                  <a:pt x="640" y="756"/>
                </a:cubicBezTo>
                <a:cubicBezTo>
                  <a:pt x="640" y="822"/>
                  <a:pt x="694" y="876"/>
                  <a:pt x="760" y="876"/>
                </a:cubicBezTo>
                <a:cubicBezTo>
                  <a:pt x="826" y="876"/>
                  <a:pt x="880" y="822"/>
                  <a:pt x="880" y="756"/>
                </a:cubicBezTo>
                <a:cubicBezTo>
                  <a:pt x="880" y="562"/>
                  <a:pt x="880" y="562"/>
                  <a:pt x="880" y="562"/>
                </a:cubicBezTo>
                <a:cubicBezTo>
                  <a:pt x="906" y="560"/>
                  <a:pt x="933" y="559"/>
                  <a:pt x="960" y="558"/>
                </a:cubicBezTo>
                <a:cubicBezTo>
                  <a:pt x="960" y="1076"/>
                  <a:pt x="960" y="1076"/>
                  <a:pt x="960" y="1076"/>
                </a:cubicBezTo>
                <a:cubicBezTo>
                  <a:pt x="960" y="1142"/>
                  <a:pt x="1014" y="1196"/>
                  <a:pt x="1080" y="1196"/>
                </a:cubicBezTo>
                <a:cubicBezTo>
                  <a:pt x="1146" y="1196"/>
                  <a:pt x="1200" y="1142"/>
                  <a:pt x="1200" y="1076"/>
                </a:cubicBezTo>
                <a:cubicBezTo>
                  <a:pt x="1200" y="558"/>
                  <a:pt x="1200" y="558"/>
                  <a:pt x="1200" y="558"/>
                </a:cubicBezTo>
                <a:cubicBezTo>
                  <a:pt x="1227" y="559"/>
                  <a:pt x="1254" y="560"/>
                  <a:pt x="1280" y="562"/>
                </a:cubicBezTo>
                <a:cubicBezTo>
                  <a:pt x="1280" y="756"/>
                  <a:pt x="1280" y="756"/>
                  <a:pt x="1280" y="756"/>
                </a:cubicBezTo>
                <a:cubicBezTo>
                  <a:pt x="1280" y="822"/>
                  <a:pt x="1334" y="876"/>
                  <a:pt x="1400" y="876"/>
                </a:cubicBezTo>
                <a:cubicBezTo>
                  <a:pt x="1466" y="876"/>
                  <a:pt x="1520" y="822"/>
                  <a:pt x="1520" y="756"/>
                </a:cubicBezTo>
                <a:cubicBezTo>
                  <a:pt x="1520" y="586"/>
                  <a:pt x="1520" y="586"/>
                  <a:pt x="1520" y="586"/>
                </a:cubicBezTo>
                <a:cubicBezTo>
                  <a:pt x="1547" y="590"/>
                  <a:pt x="1574" y="594"/>
                  <a:pt x="1600" y="598"/>
                </a:cubicBezTo>
                <a:cubicBezTo>
                  <a:pt x="1600" y="916"/>
                  <a:pt x="1600" y="916"/>
                  <a:pt x="1600" y="916"/>
                </a:cubicBezTo>
                <a:cubicBezTo>
                  <a:pt x="1600" y="982"/>
                  <a:pt x="1654" y="1036"/>
                  <a:pt x="1720" y="1036"/>
                </a:cubicBezTo>
                <a:cubicBezTo>
                  <a:pt x="1786" y="1036"/>
                  <a:pt x="1840" y="982"/>
                  <a:pt x="1840" y="916"/>
                </a:cubicBezTo>
                <a:cubicBezTo>
                  <a:pt x="1840" y="656"/>
                  <a:pt x="1840" y="656"/>
                  <a:pt x="1840" y="656"/>
                </a:cubicBezTo>
                <a:cubicBezTo>
                  <a:pt x="2038" y="719"/>
                  <a:pt x="2160" y="810"/>
                  <a:pt x="2160" y="916"/>
                </a:cubicBezTo>
                <a:cubicBezTo>
                  <a:pt x="2160" y="1061"/>
                  <a:pt x="1939" y="1146"/>
                  <a:pt x="1827" y="1180"/>
                </a:cubicBezTo>
                <a:cubicBezTo>
                  <a:pt x="1635" y="1240"/>
                  <a:pt x="1371" y="1276"/>
                  <a:pt x="1080" y="1276"/>
                </a:cubicBezTo>
                <a:cubicBezTo>
                  <a:pt x="875" y="1276"/>
                  <a:pt x="683" y="1258"/>
                  <a:pt x="521" y="1226"/>
                </a:cubicBezTo>
                <a:cubicBezTo>
                  <a:pt x="294" y="1186"/>
                  <a:pt x="128" y="1121"/>
                  <a:pt x="66" y="1045"/>
                </a:cubicBezTo>
                <a:cubicBezTo>
                  <a:pt x="23" y="1006"/>
                  <a:pt x="0" y="962"/>
                  <a:pt x="0" y="916"/>
                </a:cubicBezTo>
                <a:close/>
                <a:moveTo>
                  <a:pt x="2160" y="1083"/>
                </a:moveTo>
                <a:cubicBezTo>
                  <a:pt x="2160" y="1259"/>
                  <a:pt x="2160" y="1259"/>
                  <a:pt x="2160" y="1259"/>
                </a:cubicBezTo>
                <a:cubicBezTo>
                  <a:pt x="2145" y="1262"/>
                  <a:pt x="2132" y="1270"/>
                  <a:pt x="2121" y="1280"/>
                </a:cubicBezTo>
                <a:cubicBezTo>
                  <a:pt x="2108" y="1293"/>
                  <a:pt x="2087" y="1324"/>
                  <a:pt x="2083" y="1342"/>
                </a:cubicBezTo>
                <a:cubicBezTo>
                  <a:pt x="2063" y="1395"/>
                  <a:pt x="2043" y="1442"/>
                  <a:pt x="2023" y="1480"/>
                </a:cubicBezTo>
                <a:cubicBezTo>
                  <a:pt x="2006" y="1515"/>
                  <a:pt x="1989" y="1540"/>
                  <a:pt x="1974" y="1552"/>
                </a:cubicBezTo>
                <a:cubicBezTo>
                  <a:pt x="1952" y="1570"/>
                  <a:pt x="1922" y="1550"/>
                  <a:pt x="1893" y="1531"/>
                </a:cubicBezTo>
                <a:cubicBezTo>
                  <a:pt x="1852" y="1504"/>
                  <a:pt x="1814" y="1478"/>
                  <a:pt x="1767" y="1499"/>
                </a:cubicBezTo>
                <a:cubicBezTo>
                  <a:pt x="1726" y="1518"/>
                  <a:pt x="1696" y="1571"/>
                  <a:pt x="1666" y="1627"/>
                </a:cubicBezTo>
                <a:cubicBezTo>
                  <a:pt x="1638" y="1678"/>
                  <a:pt x="1609" y="1730"/>
                  <a:pt x="1586" y="1736"/>
                </a:cubicBezTo>
                <a:cubicBezTo>
                  <a:pt x="1575" y="1739"/>
                  <a:pt x="1553" y="1717"/>
                  <a:pt x="1528" y="1693"/>
                </a:cubicBezTo>
                <a:cubicBezTo>
                  <a:pt x="1477" y="1644"/>
                  <a:pt x="1418" y="1586"/>
                  <a:pt x="1322" y="1605"/>
                </a:cubicBezTo>
                <a:cubicBezTo>
                  <a:pt x="1242" y="1621"/>
                  <a:pt x="1208" y="1673"/>
                  <a:pt x="1176" y="1723"/>
                </a:cubicBezTo>
                <a:cubicBezTo>
                  <a:pt x="1152" y="1760"/>
                  <a:pt x="1128" y="1796"/>
                  <a:pt x="1080" y="1796"/>
                </a:cubicBezTo>
                <a:cubicBezTo>
                  <a:pt x="1032" y="1796"/>
                  <a:pt x="1008" y="1760"/>
                  <a:pt x="984" y="1723"/>
                </a:cubicBezTo>
                <a:cubicBezTo>
                  <a:pt x="952" y="1673"/>
                  <a:pt x="918" y="1621"/>
                  <a:pt x="838" y="1605"/>
                </a:cubicBezTo>
                <a:cubicBezTo>
                  <a:pt x="742" y="1586"/>
                  <a:pt x="683" y="1644"/>
                  <a:pt x="632" y="1693"/>
                </a:cubicBezTo>
                <a:cubicBezTo>
                  <a:pt x="607" y="1717"/>
                  <a:pt x="585" y="1739"/>
                  <a:pt x="574" y="1736"/>
                </a:cubicBezTo>
                <a:cubicBezTo>
                  <a:pt x="551" y="1730"/>
                  <a:pt x="522" y="1678"/>
                  <a:pt x="494" y="1627"/>
                </a:cubicBezTo>
                <a:cubicBezTo>
                  <a:pt x="464" y="1571"/>
                  <a:pt x="434" y="1518"/>
                  <a:pt x="393" y="1499"/>
                </a:cubicBezTo>
                <a:cubicBezTo>
                  <a:pt x="346" y="1478"/>
                  <a:pt x="307" y="1504"/>
                  <a:pt x="267" y="1531"/>
                </a:cubicBezTo>
                <a:cubicBezTo>
                  <a:pt x="238" y="1550"/>
                  <a:pt x="208" y="1570"/>
                  <a:pt x="186" y="1552"/>
                </a:cubicBezTo>
                <a:cubicBezTo>
                  <a:pt x="171" y="1540"/>
                  <a:pt x="154" y="1515"/>
                  <a:pt x="137" y="1480"/>
                </a:cubicBezTo>
                <a:cubicBezTo>
                  <a:pt x="117" y="1443"/>
                  <a:pt x="98" y="1396"/>
                  <a:pt x="78" y="1344"/>
                </a:cubicBezTo>
                <a:cubicBezTo>
                  <a:pt x="68" y="1310"/>
                  <a:pt x="38" y="1267"/>
                  <a:pt x="0" y="1259"/>
                </a:cubicBezTo>
                <a:cubicBezTo>
                  <a:pt x="0" y="1079"/>
                  <a:pt x="0" y="1079"/>
                  <a:pt x="0" y="1079"/>
                </a:cubicBezTo>
                <a:cubicBezTo>
                  <a:pt x="130" y="1236"/>
                  <a:pt x="564" y="1352"/>
                  <a:pt x="1080" y="1352"/>
                </a:cubicBezTo>
                <a:cubicBezTo>
                  <a:pt x="1382" y="1352"/>
                  <a:pt x="1656" y="1314"/>
                  <a:pt x="1855" y="1253"/>
                </a:cubicBezTo>
                <a:cubicBezTo>
                  <a:pt x="1999" y="1209"/>
                  <a:pt x="2106" y="1151"/>
                  <a:pt x="2160" y="1083"/>
                </a:cubicBezTo>
                <a:close/>
                <a:moveTo>
                  <a:pt x="2160" y="1364"/>
                </a:moveTo>
                <a:cubicBezTo>
                  <a:pt x="2160" y="1721"/>
                  <a:pt x="2160" y="1721"/>
                  <a:pt x="2160" y="1721"/>
                </a:cubicBezTo>
                <a:cubicBezTo>
                  <a:pt x="2160" y="1756"/>
                  <a:pt x="2160" y="1756"/>
                  <a:pt x="2160" y="1756"/>
                </a:cubicBezTo>
                <a:cubicBezTo>
                  <a:pt x="2160" y="1864"/>
                  <a:pt x="2033" y="1957"/>
                  <a:pt x="1827" y="2020"/>
                </a:cubicBezTo>
                <a:cubicBezTo>
                  <a:pt x="1635" y="2080"/>
                  <a:pt x="1371" y="2116"/>
                  <a:pt x="1080" y="2116"/>
                </a:cubicBezTo>
                <a:cubicBezTo>
                  <a:pt x="789" y="2116"/>
                  <a:pt x="525" y="2080"/>
                  <a:pt x="333" y="2020"/>
                </a:cubicBezTo>
                <a:cubicBezTo>
                  <a:pt x="127" y="1957"/>
                  <a:pt x="0" y="1864"/>
                  <a:pt x="0" y="1756"/>
                </a:cubicBezTo>
                <a:cubicBezTo>
                  <a:pt x="0" y="1364"/>
                  <a:pt x="0" y="1364"/>
                  <a:pt x="0" y="1364"/>
                </a:cubicBezTo>
                <a:cubicBezTo>
                  <a:pt x="1" y="1367"/>
                  <a:pt x="2" y="1370"/>
                  <a:pt x="4" y="1372"/>
                </a:cubicBezTo>
                <a:cubicBezTo>
                  <a:pt x="24" y="1428"/>
                  <a:pt x="45" y="1478"/>
                  <a:pt x="66" y="1517"/>
                </a:cubicBezTo>
                <a:cubicBezTo>
                  <a:pt x="88" y="1561"/>
                  <a:pt x="112" y="1594"/>
                  <a:pt x="136" y="1614"/>
                </a:cubicBezTo>
                <a:cubicBezTo>
                  <a:pt x="203" y="1668"/>
                  <a:pt x="259" y="1632"/>
                  <a:pt x="311" y="1597"/>
                </a:cubicBezTo>
                <a:cubicBezTo>
                  <a:pt x="333" y="1583"/>
                  <a:pt x="354" y="1569"/>
                  <a:pt x="361" y="1572"/>
                </a:cubicBezTo>
                <a:cubicBezTo>
                  <a:pt x="377" y="1580"/>
                  <a:pt x="400" y="1622"/>
                  <a:pt x="424" y="1665"/>
                </a:cubicBezTo>
                <a:cubicBezTo>
                  <a:pt x="460" y="1731"/>
                  <a:pt x="498" y="1800"/>
                  <a:pt x="556" y="1814"/>
                </a:cubicBezTo>
                <a:cubicBezTo>
                  <a:pt x="610" y="1826"/>
                  <a:pt x="646" y="1791"/>
                  <a:pt x="688" y="1750"/>
                </a:cubicBezTo>
                <a:cubicBezTo>
                  <a:pt x="725" y="1714"/>
                  <a:pt x="768" y="1673"/>
                  <a:pt x="822" y="1684"/>
                </a:cubicBezTo>
                <a:cubicBezTo>
                  <a:pt x="869" y="1693"/>
                  <a:pt x="894" y="1730"/>
                  <a:pt x="917" y="1766"/>
                </a:cubicBezTo>
                <a:cubicBezTo>
                  <a:pt x="954" y="1822"/>
                  <a:pt x="988" y="1876"/>
                  <a:pt x="1080" y="1876"/>
                </a:cubicBezTo>
                <a:cubicBezTo>
                  <a:pt x="1172" y="1876"/>
                  <a:pt x="1206" y="1822"/>
                  <a:pt x="1243" y="1766"/>
                </a:cubicBezTo>
                <a:cubicBezTo>
                  <a:pt x="1266" y="1730"/>
                  <a:pt x="1291" y="1693"/>
                  <a:pt x="1338" y="1684"/>
                </a:cubicBezTo>
                <a:cubicBezTo>
                  <a:pt x="1392" y="1673"/>
                  <a:pt x="1435" y="1714"/>
                  <a:pt x="1472" y="1750"/>
                </a:cubicBezTo>
                <a:cubicBezTo>
                  <a:pt x="1514" y="1791"/>
                  <a:pt x="1550" y="1826"/>
                  <a:pt x="1604" y="1814"/>
                </a:cubicBezTo>
                <a:cubicBezTo>
                  <a:pt x="1662" y="1800"/>
                  <a:pt x="1700" y="1731"/>
                  <a:pt x="1736" y="1665"/>
                </a:cubicBezTo>
                <a:cubicBezTo>
                  <a:pt x="1760" y="1622"/>
                  <a:pt x="1783" y="1580"/>
                  <a:pt x="1799" y="1572"/>
                </a:cubicBezTo>
                <a:cubicBezTo>
                  <a:pt x="1806" y="1569"/>
                  <a:pt x="1827" y="1583"/>
                  <a:pt x="1849" y="1597"/>
                </a:cubicBezTo>
                <a:cubicBezTo>
                  <a:pt x="1901" y="1632"/>
                  <a:pt x="1957" y="1668"/>
                  <a:pt x="2024" y="1614"/>
                </a:cubicBezTo>
                <a:cubicBezTo>
                  <a:pt x="2048" y="1594"/>
                  <a:pt x="2072" y="1561"/>
                  <a:pt x="2094" y="1517"/>
                </a:cubicBezTo>
                <a:cubicBezTo>
                  <a:pt x="2115" y="1478"/>
                  <a:pt x="2136" y="1428"/>
                  <a:pt x="2157" y="1370"/>
                </a:cubicBezTo>
                <a:cubicBezTo>
                  <a:pt x="2157" y="1370"/>
                  <a:pt x="2160" y="1364"/>
                  <a:pt x="2160" y="1364"/>
                </a:cubicBezTo>
                <a:close/>
                <a:moveTo>
                  <a:pt x="793" y="53"/>
                </a:moveTo>
                <a:cubicBezTo>
                  <a:pt x="814" y="83"/>
                  <a:pt x="839" y="117"/>
                  <a:pt x="839" y="156"/>
                </a:cubicBezTo>
                <a:cubicBezTo>
                  <a:pt x="839" y="200"/>
                  <a:pt x="804" y="235"/>
                  <a:pt x="760" y="235"/>
                </a:cubicBezTo>
                <a:cubicBezTo>
                  <a:pt x="716" y="235"/>
                  <a:pt x="680" y="200"/>
                  <a:pt x="680" y="156"/>
                </a:cubicBezTo>
                <a:cubicBezTo>
                  <a:pt x="680" y="119"/>
                  <a:pt x="708" y="89"/>
                  <a:pt x="725" y="58"/>
                </a:cubicBezTo>
                <a:cubicBezTo>
                  <a:pt x="755" y="0"/>
                  <a:pt x="755" y="0"/>
                  <a:pt x="755" y="0"/>
                </a:cubicBezTo>
                <a:lnTo>
                  <a:pt x="793" y="53"/>
                </a:lnTo>
                <a:close/>
                <a:moveTo>
                  <a:pt x="1113" y="374"/>
                </a:moveTo>
                <a:cubicBezTo>
                  <a:pt x="1134" y="404"/>
                  <a:pt x="1159" y="439"/>
                  <a:pt x="1159" y="477"/>
                </a:cubicBezTo>
                <a:cubicBezTo>
                  <a:pt x="1159" y="519"/>
                  <a:pt x="1126" y="554"/>
                  <a:pt x="1084" y="556"/>
                </a:cubicBezTo>
                <a:cubicBezTo>
                  <a:pt x="1104" y="558"/>
                  <a:pt x="1120" y="576"/>
                  <a:pt x="1120" y="596"/>
                </a:cubicBezTo>
                <a:cubicBezTo>
                  <a:pt x="1120" y="1076"/>
                  <a:pt x="1120" y="1076"/>
                  <a:pt x="1120" y="1076"/>
                </a:cubicBezTo>
                <a:cubicBezTo>
                  <a:pt x="1120" y="1098"/>
                  <a:pt x="1102" y="1116"/>
                  <a:pt x="1080" y="1116"/>
                </a:cubicBezTo>
                <a:cubicBezTo>
                  <a:pt x="1058" y="1116"/>
                  <a:pt x="1040" y="1098"/>
                  <a:pt x="1040" y="1076"/>
                </a:cubicBezTo>
                <a:cubicBezTo>
                  <a:pt x="1040" y="596"/>
                  <a:pt x="1040" y="596"/>
                  <a:pt x="1040" y="596"/>
                </a:cubicBezTo>
                <a:cubicBezTo>
                  <a:pt x="1040" y="576"/>
                  <a:pt x="1056" y="559"/>
                  <a:pt x="1076" y="556"/>
                </a:cubicBezTo>
                <a:cubicBezTo>
                  <a:pt x="1033" y="554"/>
                  <a:pt x="1000" y="519"/>
                  <a:pt x="1000" y="477"/>
                </a:cubicBezTo>
                <a:cubicBezTo>
                  <a:pt x="1000" y="440"/>
                  <a:pt x="1028" y="410"/>
                  <a:pt x="1045" y="379"/>
                </a:cubicBezTo>
                <a:cubicBezTo>
                  <a:pt x="1075" y="321"/>
                  <a:pt x="1075" y="321"/>
                  <a:pt x="1075" y="321"/>
                </a:cubicBezTo>
                <a:lnTo>
                  <a:pt x="1113" y="374"/>
                </a:lnTo>
                <a:close/>
                <a:moveTo>
                  <a:pt x="473" y="214"/>
                </a:moveTo>
                <a:cubicBezTo>
                  <a:pt x="494" y="244"/>
                  <a:pt x="519" y="279"/>
                  <a:pt x="519" y="317"/>
                </a:cubicBezTo>
                <a:cubicBezTo>
                  <a:pt x="519" y="359"/>
                  <a:pt x="486" y="394"/>
                  <a:pt x="444" y="396"/>
                </a:cubicBezTo>
                <a:cubicBezTo>
                  <a:pt x="464" y="398"/>
                  <a:pt x="480" y="416"/>
                  <a:pt x="480" y="436"/>
                </a:cubicBezTo>
                <a:cubicBezTo>
                  <a:pt x="480" y="916"/>
                  <a:pt x="480" y="916"/>
                  <a:pt x="480" y="916"/>
                </a:cubicBezTo>
                <a:cubicBezTo>
                  <a:pt x="480" y="938"/>
                  <a:pt x="462" y="956"/>
                  <a:pt x="440" y="956"/>
                </a:cubicBezTo>
                <a:cubicBezTo>
                  <a:pt x="418" y="956"/>
                  <a:pt x="400" y="938"/>
                  <a:pt x="400" y="916"/>
                </a:cubicBezTo>
                <a:cubicBezTo>
                  <a:pt x="400" y="436"/>
                  <a:pt x="400" y="436"/>
                  <a:pt x="400" y="436"/>
                </a:cubicBezTo>
                <a:cubicBezTo>
                  <a:pt x="400" y="416"/>
                  <a:pt x="416" y="399"/>
                  <a:pt x="436" y="396"/>
                </a:cubicBezTo>
                <a:cubicBezTo>
                  <a:pt x="393" y="394"/>
                  <a:pt x="360" y="359"/>
                  <a:pt x="360" y="317"/>
                </a:cubicBezTo>
                <a:cubicBezTo>
                  <a:pt x="360" y="280"/>
                  <a:pt x="388" y="250"/>
                  <a:pt x="405" y="219"/>
                </a:cubicBezTo>
                <a:cubicBezTo>
                  <a:pt x="435" y="161"/>
                  <a:pt x="435" y="161"/>
                  <a:pt x="435" y="161"/>
                </a:cubicBezTo>
                <a:lnTo>
                  <a:pt x="473" y="214"/>
                </a:lnTo>
                <a:close/>
                <a:moveTo>
                  <a:pt x="1433" y="54"/>
                </a:moveTo>
                <a:cubicBezTo>
                  <a:pt x="1454" y="84"/>
                  <a:pt x="1479" y="119"/>
                  <a:pt x="1479" y="157"/>
                </a:cubicBezTo>
                <a:cubicBezTo>
                  <a:pt x="1479" y="199"/>
                  <a:pt x="1446" y="234"/>
                  <a:pt x="1404" y="236"/>
                </a:cubicBezTo>
                <a:cubicBezTo>
                  <a:pt x="1424" y="238"/>
                  <a:pt x="1440" y="256"/>
                  <a:pt x="1440" y="276"/>
                </a:cubicBezTo>
                <a:cubicBezTo>
                  <a:pt x="1440" y="756"/>
                  <a:pt x="1440" y="756"/>
                  <a:pt x="1440" y="756"/>
                </a:cubicBezTo>
                <a:cubicBezTo>
                  <a:pt x="1440" y="778"/>
                  <a:pt x="1422" y="796"/>
                  <a:pt x="1400" y="796"/>
                </a:cubicBezTo>
                <a:cubicBezTo>
                  <a:pt x="1378" y="796"/>
                  <a:pt x="1360" y="778"/>
                  <a:pt x="1360" y="756"/>
                </a:cubicBezTo>
                <a:cubicBezTo>
                  <a:pt x="1360" y="276"/>
                  <a:pt x="1360" y="276"/>
                  <a:pt x="1360" y="276"/>
                </a:cubicBezTo>
                <a:cubicBezTo>
                  <a:pt x="1360" y="256"/>
                  <a:pt x="1376" y="239"/>
                  <a:pt x="1396" y="236"/>
                </a:cubicBezTo>
                <a:cubicBezTo>
                  <a:pt x="1353" y="234"/>
                  <a:pt x="1320" y="199"/>
                  <a:pt x="1320" y="157"/>
                </a:cubicBezTo>
                <a:cubicBezTo>
                  <a:pt x="1320" y="120"/>
                  <a:pt x="1348" y="90"/>
                  <a:pt x="1365" y="59"/>
                </a:cubicBezTo>
                <a:cubicBezTo>
                  <a:pt x="1395" y="1"/>
                  <a:pt x="1395" y="1"/>
                  <a:pt x="1395" y="1"/>
                </a:cubicBezTo>
                <a:lnTo>
                  <a:pt x="1433" y="54"/>
                </a:lnTo>
                <a:close/>
                <a:moveTo>
                  <a:pt x="720" y="276"/>
                </a:moveTo>
                <a:cubicBezTo>
                  <a:pt x="720" y="254"/>
                  <a:pt x="738" y="236"/>
                  <a:pt x="760" y="236"/>
                </a:cubicBezTo>
                <a:cubicBezTo>
                  <a:pt x="782" y="236"/>
                  <a:pt x="800" y="254"/>
                  <a:pt x="800" y="276"/>
                </a:cubicBezTo>
                <a:cubicBezTo>
                  <a:pt x="800" y="756"/>
                  <a:pt x="800" y="756"/>
                  <a:pt x="800" y="756"/>
                </a:cubicBezTo>
                <a:cubicBezTo>
                  <a:pt x="800" y="778"/>
                  <a:pt x="782" y="796"/>
                  <a:pt x="760" y="796"/>
                </a:cubicBezTo>
                <a:cubicBezTo>
                  <a:pt x="738" y="796"/>
                  <a:pt x="720" y="778"/>
                  <a:pt x="720" y="756"/>
                </a:cubicBezTo>
                <a:lnTo>
                  <a:pt x="720" y="27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4" name="CuadroTexto 13"/>
          <p:cNvSpPr txBox="1"/>
          <p:nvPr/>
        </p:nvSpPr>
        <p:spPr bwMode="gray">
          <a:xfrm>
            <a:off x="6173697" y="4973378"/>
            <a:ext cx="154632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 smtClean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Nivel de instrucción</a:t>
            </a:r>
            <a:endParaRPr lang="es-PE" sz="1600" b="1" dirty="0">
              <a:solidFill>
                <a:schemeClr val="accent5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grpSp>
        <p:nvGrpSpPr>
          <p:cNvPr id="19" name="Grupo 18"/>
          <p:cNvGrpSpPr/>
          <p:nvPr/>
        </p:nvGrpSpPr>
        <p:grpSpPr>
          <a:xfrm>
            <a:off x="5317723" y="2708556"/>
            <a:ext cx="640081" cy="769705"/>
            <a:chOff x="-252536" y="764704"/>
            <a:chExt cx="3713021" cy="4195336"/>
          </a:xfrm>
          <a:solidFill>
            <a:schemeClr val="accent2"/>
          </a:solidFill>
        </p:grpSpPr>
        <p:grpSp>
          <p:nvGrpSpPr>
            <p:cNvPr id="22" name="Grupo 21"/>
            <p:cNvGrpSpPr/>
            <p:nvPr/>
          </p:nvGrpSpPr>
          <p:grpSpPr>
            <a:xfrm>
              <a:off x="-252536" y="764704"/>
              <a:ext cx="3713021" cy="4195336"/>
              <a:chOff x="821483" y="5797980"/>
              <a:chExt cx="710246" cy="1084503"/>
            </a:xfrm>
            <a:grpFill/>
          </p:grpSpPr>
          <p:sp>
            <p:nvSpPr>
              <p:cNvPr id="24" name="Forma libre 4"/>
              <p:cNvSpPr/>
              <p:nvPr/>
            </p:nvSpPr>
            <p:spPr>
              <a:xfrm>
                <a:off x="1016793" y="5797980"/>
                <a:ext cx="445023" cy="518206"/>
              </a:xfrm>
              <a:custGeom>
                <a:avLst/>
                <a:gdLst>
                  <a:gd name="connsiteX0" fmla="*/ 815659 w 2956079"/>
                  <a:gd name="connsiteY0" fmla="*/ 71167 h 3279140"/>
                  <a:gd name="connsiteX1" fmla="*/ 815659 w 2956079"/>
                  <a:gd name="connsiteY1" fmla="*/ 71167 h 3279140"/>
                  <a:gd name="connsiteX2" fmla="*/ 968937 w 2956079"/>
                  <a:gd name="connsiteY2" fmla="*/ 208026 h 3279140"/>
                  <a:gd name="connsiteX3" fmla="*/ 957989 w 2956079"/>
                  <a:gd name="connsiteY3" fmla="*/ 361308 h 3279140"/>
                  <a:gd name="connsiteX4" fmla="*/ 903247 w 2956079"/>
                  <a:gd name="connsiteY4" fmla="*/ 355833 h 3279140"/>
                  <a:gd name="connsiteX5" fmla="*/ 843030 w 2956079"/>
                  <a:gd name="connsiteY5" fmla="*/ 563859 h 3279140"/>
                  <a:gd name="connsiteX6" fmla="*/ 656907 w 2956079"/>
                  <a:gd name="connsiteY6" fmla="*/ 799256 h 3279140"/>
                  <a:gd name="connsiteX7" fmla="*/ 437938 w 2956079"/>
                  <a:gd name="connsiteY7" fmla="*/ 958013 h 3279140"/>
                  <a:gd name="connsiteX8" fmla="*/ 0 w 2956079"/>
                  <a:gd name="connsiteY8" fmla="*/ 1116769 h 3279140"/>
                  <a:gd name="connsiteX9" fmla="*/ 21897 w 2956079"/>
                  <a:gd name="connsiteY9" fmla="*/ 1237205 h 3279140"/>
                  <a:gd name="connsiteX10" fmla="*/ 27372 w 2956079"/>
                  <a:gd name="connsiteY10" fmla="*/ 1319320 h 3279140"/>
                  <a:gd name="connsiteX11" fmla="*/ 93062 w 2956079"/>
                  <a:gd name="connsiteY11" fmla="*/ 1401436 h 3279140"/>
                  <a:gd name="connsiteX12" fmla="*/ 98536 w 2956079"/>
                  <a:gd name="connsiteY12" fmla="*/ 1532820 h 3279140"/>
                  <a:gd name="connsiteX13" fmla="*/ 76640 w 2956079"/>
                  <a:gd name="connsiteY13" fmla="*/ 1675153 h 3279140"/>
                  <a:gd name="connsiteX14" fmla="*/ 5475 w 2956079"/>
                  <a:gd name="connsiteY14" fmla="*/ 1773692 h 3279140"/>
                  <a:gd name="connsiteX15" fmla="*/ 5475 w 2956079"/>
                  <a:gd name="connsiteY15" fmla="*/ 1872230 h 3279140"/>
                  <a:gd name="connsiteX16" fmla="*/ 5475 w 2956079"/>
                  <a:gd name="connsiteY16" fmla="*/ 1872230 h 3279140"/>
                  <a:gd name="connsiteX17" fmla="*/ 38320 w 2956079"/>
                  <a:gd name="connsiteY17" fmla="*/ 1954346 h 3279140"/>
                  <a:gd name="connsiteX18" fmla="*/ 38320 w 2956079"/>
                  <a:gd name="connsiteY18" fmla="*/ 2020038 h 3279140"/>
                  <a:gd name="connsiteX19" fmla="*/ 38320 w 2956079"/>
                  <a:gd name="connsiteY19" fmla="*/ 2020038 h 3279140"/>
                  <a:gd name="connsiteX20" fmla="*/ 104011 w 2956079"/>
                  <a:gd name="connsiteY20" fmla="*/ 2030987 h 3279140"/>
                  <a:gd name="connsiteX21" fmla="*/ 136856 w 2956079"/>
                  <a:gd name="connsiteY21" fmla="*/ 2085730 h 3279140"/>
                  <a:gd name="connsiteX22" fmla="*/ 361299 w 2956079"/>
                  <a:gd name="connsiteY22" fmla="*/ 2145948 h 3279140"/>
                  <a:gd name="connsiteX23" fmla="*/ 410567 w 2956079"/>
                  <a:gd name="connsiteY23" fmla="*/ 2244486 h 3279140"/>
                  <a:gd name="connsiteX24" fmla="*/ 470783 w 2956079"/>
                  <a:gd name="connsiteY24" fmla="*/ 2255435 h 3279140"/>
                  <a:gd name="connsiteX25" fmla="*/ 525526 w 2956079"/>
                  <a:gd name="connsiteY25" fmla="*/ 2228063 h 3279140"/>
                  <a:gd name="connsiteX26" fmla="*/ 613113 w 2956079"/>
                  <a:gd name="connsiteY26" fmla="*/ 2310179 h 3279140"/>
                  <a:gd name="connsiteX27" fmla="*/ 667855 w 2956079"/>
                  <a:gd name="connsiteY27" fmla="*/ 2282807 h 3279140"/>
                  <a:gd name="connsiteX28" fmla="*/ 766391 w 2956079"/>
                  <a:gd name="connsiteY28" fmla="*/ 2288281 h 3279140"/>
                  <a:gd name="connsiteX29" fmla="*/ 826608 w 2956079"/>
                  <a:gd name="connsiteY29" fmla="*/ 2239012 h 3279140"/>
                  <a:gd name="connsiteX30" fmla="*/ 875876 w 2956079"/>
                  <a:gd name="connsiteY30" fmla="*/ 2326602 h 3279140"/>
                  <a:gd name="connsiteX31" fmla="*/ 837556 w 2956079"/>
                  <a:gd name="connsiteY31" fmla="*/ 2364922 h 3279140"/>
                  <a:gd name="connsiteX32" fmla="*/ 853979 w 2956079"/>
                  <a:gd name="connsiteY32" fmla="*/ 2457986 h 3279140"/>
                  <a:gd name="connsiteX33" fmla="*/ 853979 w 2956079"/>
                  <a:gd name="connsiteY33" fmla="*/ 2529153 h 3279140"/>
                  <a:gd name="connsiteX34" fmla="*/ 771865 w 2956079"/>
                  <a:gd name="connsiteY34" fmla="*/ 2572948 h 3279140"/>
                  <a:gd name="connsiteX35" fmla="*/ 722598 w 2956079"/>
                  <a:gd name="connsiteY35" fmla="*/ 2529153 h 3279140"/>
                  <a:gd name="connsiteX36" fmla="*/ 635010 w 2956079"/>
                  <a:gd name="connsiteY36" fmla="*/ 2540102 h 3279140"/>
                  <a:gd name="connsiteX37" fmla="*/ 673330 w 2956079"/>
                  <a:gd name="connsiteY37" fmla="*/ 2605794 h 3279140"/>
                  <a:gd name="connsiteX38" fmla="*/ 640484 w 2956079"/>
                  <a:gd name="connsiteY38" fmla="*/ 2693384 h 3279140"/>
                  <a:gd name="connsiteX39" fmla="*/ 596690 w 2956079"/>
                  <a:gd name="connsiteY39" fmla="*/ 2720755 h 3279140"/>
                  <a:gd name="connsiteX40" fmla="*/ 602165 w 2956079"/>
                  <a:gd name="connsiteY40" fmla="*/ 2786448 h 3279140"/>
                  <a:gd name="connsiteX41" fmla="*/ 635010 w 2956079"/>
                  <a:gd name="connsiteY41" fmla="*/ 2824768 h 3279140"/>
                  <a:gd name="connsiteX42" fmla="*/ 635010 w 2956079"/>
                  <a:gd name="connsiteY42" fmla="*/ 2879512 h 3279140"/>
                  <a:gd name="connsiteX43" fmla="*/ 684278 w 2956079"/>
                  <a:gd name="connsiteY43" fmla="*/ 2972576 h 3279140"/>
                  <a:gd name="connsiteX44" fmla="*/ 739020 w 2956079"/>
                  <a:gd name="connsiteY44" fmla="*/ 2967101 h 3279140"/>
                  <a:gd name="connsiteX45" fmla="*/ 739020 w 2956079"/>
                  <a:gd name="connsiteY45" fmla="*/ 2967101 h 3279140"/>
                  <a:gd name="connsiteX46" fmla="*/ 700701 w 2956079"/>
                  <a:gd name="connsiteY46" fmla="*/ 3021845 h 3279140"/>
                  <a:gd name="connsiteX47" fmla="*/ 711649 w 2956079"/>
                  <a:gd name="connsiteY47" fmla="*/ 3093012 h 3279140"/>
                  <a:gd name="connsiteX48" fmla="*/ 711649 w 2956079"/>
                  <a:gd name="connsiteY48" fmla="*/ 3093012 h 3279140"/>
                  <a:gd name="connsiteX49" fmla="*/ 684278 w 2956079"/>
                  <a:gd name="connsiteY49" fmla="*/ 3279140 h 3279140"/>
                  <a:gd name="connsiteX50" fmla="*/ 788288 w 2956079"/>
                  <a:gd name="connsiteY50" fmla="*/ 3136807 h 3279140"/>
                  <a:gd name="connsiteX51" fmla="*/ 892298 w 2956079"/>
                  <a:gd name="connsiteY51" fmla="*/ 3158704 h 3279140"/>
                  <a:gd name="connsiteX52" fmla="*/ 864927 w 2956079"/>
                  <a:gd name="connsiteY52" fmla="*/ 3098486 h 3279140"/>
                  <a:gd name="connsiteX53" fmla="*/ 941566 w 2956079"/>
                  <a:gd name="connsiteY53" fmla="*/ 3038268 h 3279140"/>
                  <a:gd name="connsiteX54" fmla="*/ 985360 w 2956079"/>
                  <a:gd name="connsiteY54" fmla="*/ 3071114 h 3279140"/>
                  <a:gd name="connsiteX55" fmla="*/ 1001783 w 2956079"/>
                  <a:gd name="connsiteY55" fmla="*/ 2983525 h 3279140"/>
                  <a:gd name="connsiteX56" fmla="*/ 1001783 w 2956079"/>
                  <a:gd name="connsiteY56" fmla="*/ 2983525 h 3279140"/>
                  <a:gd name="connsiteX57" fmla="*/ 1089370 w 2956079"/>
                  <a:gd name="connsiteY57" fmla="*/ 3038268 h 3279140"/>
                  <a:gd name="connsiteX58" fmla="*/ 1204329 w 2956079"/>
                  <a:gd name="connsiteY58" fmla="*/ 2939730 h 3279140"/>
                  <a:gd name="connsiteX59" fmla="*/ 1182432 w 2956079"/>
                  <a:gd name="connsiteY59" fmla="*/ 2819294 h 3279140"/>
                  <a:gd name="connsiteX60" fmla="*/ 1231700 w 2956079"/>
                  <a:gd name="connsiteY60" fmla="*/ 2704332 h 3279140"/>
                  <a:gd name="connsiteX61" fmla="*/ 1379504 w 2956079"/>
                  <a:gd name="connsiteY61" fmla="*/ 2786448 h 3279140"/>
                  <a:gd name="connsiteX62" fmla="*/ 1434246 w 2956079"/>
                  <a:gd name="connsiteY62" fmla="*/ 2824768 h 3279140"/>
                  <a:gd name="connsiteX63" fmla="*/ 1472566 w 2956079"/>
                  <a:gd name="connsiteY63" fmla="*/ 2742653 h 3279140"/>
                  <a:gd name="connsiteX64" fmla="*/ 1532782 w 2956079"/>
                  <a:gd name="connsiteY64" fmla="*/ 2748127 h 3279140"/>
                  <a:gd name="connsiteX65" fmla="*/ 1494463 w 2956079"/>
                  <a:gd name="connsiteY65" fmla="*/ 2660538 h 3279140"/>
                  <a:gd name="connsiteX66" fmla="*/ 1521834 w 2956079"/>
                  <a:gd name="connsiteY66" fmla="*/ 2583897 h 3279140"/>
                  <a:gd name="connsiteX67" fmla="*/ 1609421 w 2956079"/>
                  <a:gd name="connsiteY67" fmla="*/ 2479884 h 3279140"/>
                  <a:gd name="connsiteX68" fmla="*/ 1713431 w 2956079"/>
                  <a:gd name="connsiteY68" fmla="*/ 2485358 h 3279140"/>
                  <a:gd name="connsiteX69" fmla="*/ 1773648 w 2956079"/>
                  <a:gd name="connsiteY69" fmla="*/ 2397768 h 3279140"/>
                  <a:gd name="connsiteX70" fmla="*/ 1686060 w 2956079"/>
                  <a:gd name="connsiteY70" fmla="*/ 2277333 h 3279140"/>
                  <a:gd name="connsiteX71" fmla="*/ 1762699 w 2956079"/>
                  <a:gd name="connsiteY71" fmla="*/ 2156897 h 3279140"/>
                  <a:gd name="connsiteX72" fmla="*/ 1828390 w 2956079"/>
                  <a:gd name="connsiteY72" fmla="*/ 2036461 h 3279140"/>
                  <a:gd name="connsiteX73" fmla="*/ 1855761 w 2956079"/>
                  <a:gd name="connsiteY73" fmla="*/ 1916025 h 3279140"/>
                  <a:gd name="connsiteX74" fmla="*/ 1921452 w 2956079"/>
                  <a:gd name="connsiteY74" fmla="*/ 1883179 h 3279140"/>
                  <a:gd name="connsiteX75" fmla="*/ 2249905 w 2956079"/>
                  <a:gd name="connsiteY75" fmla="*/ 1675153 h 3279140"/>
                  <a:gd name="connsiteX76" fmla="*/ 2299173 w 2956079"/>
                  <a:gd name="connsiteY76" fmla="*/ 1680628 h 3279140"/>
                  <a:gd name="connsiteX77" fmla="*/ 2578358 w 2956079"/>
                  <a:gd name="connsiteY77" fmla="*/ 1636833 h 3279140"/>
                  <a:gd name="connsiteX78" fmla="*/ 2627626 w 2956079"/>
                  <a:gd name="connsiteY78" fmla="*/ 1571141 h 3279140"/>
                  <a:gd name="connsiteX79" fmla="*/ 2759007 w 2956079"/>
                  <a:gd name="connsiteY79" fmla="*/ 1565666 h 3279140"/>
                  <a:gd name="connsiteX80" fmla="*/ 2759007 w 2956079"/>
                  <a:gd name="connsiteY80" fmla="*/ 1565666 h 3279140"/>
                  <a:gd name="connsiteX81" fmla="*/ 2808275 w 2956079"/>
                  <a:gd name="connsiteY81" fmla="*/ 1582089 h 3279140"/>
                  <a:gd name="connsiteX82" fmla="*/ 2808275 w 2956079"/>
                  <a:gd name="connsiteY82" fmla="*/ 1582089 h 3279140"/>
                  <a:gd name="connsiteX83" fmla="*/ 2956079 w 2956079"/>
                  <a:gd name="connsiteY83" fmla="*/ 1647782 h 3279140"/>
                  <a:gd name="connsiteX84" fmla="*/ 2906811 w 2956079"/>
                  <a:gd name="connsiteY84" fmla="*/ 1527346 h 3279140"/>
                  <a:gd name="connsiteX85" fmla="*/ 2797327 w 2956079"/>
                  <a:gd name="connsiteY85" fmla="*/ 1412384 h 3279140"/>
                  <a:gd name="connsiteX86" fmla="*/ 2731636 w 2956079"/>
                  <a:gd name="connsiteY86" fmla="*/ 1445230 h 3279140"/>
                  <a:gd name="connsiteX87" fmla="*/ 2649523 w 2956079"/>
                  <a:gd name="connsiteY87" fmla="*/ 1406910 h 3279140"/>
                  <a:gd name="connsiteX88" fmla="*/ 2895863 w 2956079"/>
                  <a:gd name="connsiteY88" fmla="*/ 1012756 h 3279140"/>
                  <a:gd name="connsiteX89" fmla="*/ 2726162 w 2956079"/>
                  <a:gd name="connsiteY89" fmla="*/ 897795 h 3279140"/>
                  <a:gd name="connsiteX90" fmla="*/ 2676894 w 2956079"/>
                  <a:gd name="connsiteY90" fmla="*/ 914218 h 3279140"/>
                  <a:gd name="connsiteX91" fmla="*/ 2676894 w 2956079"/>
                  <a:gd name="connsiteY91" fmla="*/ 914218 h 3279140"/>
                  <a:gd name="connsiteX92" fmla="*/ 2550987 w 2956079"/>
                  <a:gd name="connsiteY92" fmla="*/ 815679 h 3279140"/>
                  <a:gd name="connsiteX93" fmla="*/ 2479822 w 2956079"/>
                  <a:gd name="connsiteY93" fmla="*/ 854000 h 3279140"/>
                  <a:gd name="connsiteX94" fmla="*/ 2479822 w 2956079"/>
                  <a:gd name="connsiteY94" fmla="*/ 854000 h 3279140"/>
                  <a:gd name="connsiteX95" fmla="*/ 2425080 w 2956079"/>
                  <a:gd name="connsiteY95" fmla="*/ 881372 h 3279140"/>
                  <a:gd name="connsiteX96" fmla="*/ 2386760 w 2956079"/>
                  <a:gd name="connsiteY96" fmla="*/ 908743 h 3279140"/>
                  <a:gd name="connsiteX97" fmla="*/ 2359389 w 2956079"/>
                  <a:gd name="connsiteY97" fmla="*/ 837577 h 3279140"/>
                  <a:gd name="connsiteX98" fmla="*/ 2288224 w 2956079"/>
                  <a:gd name="connsiteY98" fmla="*/ 810205 h 3279140"/>
                  <a:gd name="connsiteX99" fmla="*/ 2260853 w 2956079"/>
                  <a:gd name="connsiteY99" fmla="*/ 760936 h 3279140"/>
                  <a:gd name="connsiteX100" fmla="*/ 2206111 w 2956079"/>
                  <a:gd name="connsiteY100" fmla="*/ 870423 h 3279140"/>
                  <a:gd name="connsiteX101" fmla="*/ 2107575 w 2956079"/>
                  <a:gd name="connsiteY101" fmla="*/ 875897 h 3279140"/>
                  <a:gd name="connsiteX102" fmla="*/ 2069256 w 2956079"/>
                  <a:gd name="connsiteY102" fmla="*/ 936115 h 3279140"/>
                  <a:gd name="connsiteX103" fmla="*/ 1910503 w 2956079"/>
                  <a:gd name="connsiteY103" fmla="*/ 881372 h 3279140"/>
                  <a:gd name="connsiteX104" fmla="*/ 1850287 w 2956079"/>
                  <a:gd name="connsiteY104" fmla="*/ 908743 h 3279140"/>
                  <a:gd name="connsiteX105" fmla="*/ 1746277 w 2956079"/>
                  <a:gd name="connsiteY105" fmla="*/ 843051 h 3279140"/>
                  <a:gd name="connsiteX106" fmla="*/ 1768174 w 2956079"/>
                  <a:gd name="connsiteY106" fmla="*/ 771885 h 3279140"/>
                  <a:gd name="connsiteX107" fmla="*/ 1707957 w 2956079"/>
                  <a:gd name="connsiteY107" fmla="*/ 640500 h 3279140"/>
                  <a:gd name="connsiteX108" fmla="*/ 1664163 w 2956079"/>
                  <a:gd name="connsiteY108" fmla="*/ 673346 h 3279140"/>
                  <a:gd name="connsiteX109" fmla="*/ 1582050 w 2956079"/>
                  <a:gd name="connsiteY109" fmla="*/ 629551 h 3279140"/>
                  <a:gd name="connsiteX110" fmla="*/ 1625844 w 2956079"/>
                  <a:gd name="connsiteY110" fmla="*/ 569333 h 3279140"/>
                  <a:gd name="connsiteX111" fmla="*/ 1532782 w 2956079"/>
                  <a:gd name="connsiteY111" fmla="*/ 448898 h 3279140"/>
                  <a:gd name="connsiteX112" fmla="*/ 1472566 w 2956079"/>
                  <a:gd name="connsiteY112" fmla="*/ 454372 h 3279140"/>
                  <a:gd name="connsiteX113" fmla="*/ 1390452 w 2956079"/>
                  <a:gd name="connsiteY113" fmla="*/ 388680 h 3279140"/>
                  <a:gd name="connsiteX114" fmla="*/ 1308339 w 2956079"/>
                  <a:gd name="connsiteY114" fmla="*/ 366782 h 3279140"/>
                  <a:gd name="connsiteX115" fmla="*/ 1302865 w 2956079"/>
                  <a:gd name="connsiteY115" fmla="*/ 251821 h 3279140"/>
                  <a:gd name="connsiteX116" fmla="*/ 1209803 w 2956079"/>
                  <a:gd name="connsiteY116" fmla="*/ 142334 h 3279140"/>
                  <a:gd name="connsiteX117" fmla="*/ 1144112 w 2956079"/>
                  <a:gd name="connsiteY117" fmla="*/ 109487 h 3279140"/>
                  <a:gd name="connsiteX118" fmla="*/ 1144112 w 2956079"/>
                  <a:gd name="connsiteY118" fmla="*/ 109487 h 3279140"/>
                  <a:gd name="connsiteX119" fmla="*/ 1072948 w 2956079"/>
                  <a:gd name="connsiteY119" fmla="*/ 98539 h 3279140"/>
                  <a:gd name="connsiteX120" fmla="*/ 957989 w 2956079"/>
                  <a:gd name="connsiteY120" fmla="*/ 0 h 3279140"/>
                  <a:gd name="connsiteX121" fmla="*/ 957989 w 2956079"/>
                  <a:gd name="connsiteY121" fmla="*/ 0 h 3279140"/>
                  <a:gd name="connsiteX122" fmla="*/ 903247 w 2956079"/>
                  <a:gd name="connsiteY122" fmla="*/ 60218 h 3279140"/>
                  <a:gd name="connsiteX123" fmla="*/ 815659 w 2956079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51145 w 2968904"/>
                  <a:gd name="connsiteY17" fmla="*/ 1954346 h 3279140"/>
                  <a:gd name="connsiteX18" fmla="*/ 51145 w 2968904"/>
                  <a:gd name="connsiteY18" fmla="*/ 2020038 h 3279140"/>
                  <a:gd name="connsiteX19" fmla="*/ 5114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22570 w 2968904"/>
                  <a:gd name="connsiteY17" fmla="*/ 1957521 h 3279140"/>
                  <a:gd name="connsiteX18" fmla="*/ 51145 w 2968904"/>
                  <a:gd name="connsiteY18" fmla="*/ 2020038 h 3279140"/>
                  <a:gd name="connsiteX19" fmla="*/ 5114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51145 w 2968904"/>
                  <a:gd name="connsiteY18" fmla="*/ 2020038 h 3279140"/>
                  <a:gd name="connsiteX19" fmla="*/ 5114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51145 w 2968904"/>
                  <a:gd name="connsiteY18" fmla="*/ 2020038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82895 w 2968904"/>
                  <a:gd name="connsiteY18" fmla="*/ 1978763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28920 w 2968904"/>
                  <a:gd name="connsiteY18" fmla="*/ 1985113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47970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17972 w 2968904"/>
                  <a:gd name="connsiteY10" fmla="*/ 131297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47970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9322 w 2968904"/>
                  <a:gd name="connsiteY9" fmla="*/ 1230855 h 3279140"/>
                  <a:gd name="connsiteX10" fmla="*/ 17972 w 2968904"/>
                  <a:gd name="connsiteY10" fmla="*/ 131297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47970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112112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95690 w 2975129"/>
                  <a:gd name="connsiteY13" fmla="*/ 1675153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41648 w 2975129"/>
                  <a:gd name="connsiteY35" fmla="*/ 25291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95690 w 2975129"/>
                  <a:gd name="connsiteY13" fmla="*/ 1675153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41648 w 2975129"/>
                  <a:gd name="connsiteY35" fmla="*/ 25291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41648 w 2975129"/>
                  <a:gd name="connsiteY35" fmla="*/ 25291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25773 w 2975129"/>
                  <a:gd name="connsiteY35" fmla="*/ 251010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26557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265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10513 w 2975129"/>
                  <a:gd name="connsiteY50" fmla="*/ 31495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89205 w 2975129"/>
                  <a:gd name="connsiteY37" fmla="*/ 2589919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10513 w 2975129"/>
                  <a:gd name="connsiteY50" fmla="*/ 31495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38185 w 2975129"/>
                  <a:gd name="connsiteY36" fmla="*/ 2533752 h 3279140"/>
                  <a:gd name="connsiteX37" fmla="*/ 689205 w 2975129"/>
                  <a:gd name="connsiteY37" fmla="*/ 2589919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10513 w 2975129"/>
                  <a:gd name="connsiteY50" fmla="*/ 31495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2975129" h="3279140">
                    <a:moveTo>
                      <a:pt x="834709" y="71167"/>
                    </a:moveTo>
                    <a:lnTo>
                      <a:pt x="834709" y="71167"/>
                    </a:lnTo>
                    <a:lnTo>
                      <a:pt x="987987" y="208026"/>
                    </a:lnTo>
                    <a:lnTo>
                      <a:pt x="977039" y="361308"/>
                    </a:lnTo>
                    <a:lnTo>
                      <a:pt x="922297" y="355833"/>
                    </a:lnTo>
                    <a:lnTo>
                      <a:pt x="862080" y="563859"/>
                    </a:lnTo>
                    <a:lnTo>
                      <a:pt x="675957" y="799256"/>
                    </a:lnTo>
                    <a:lnTo>
                      <a:pt x="456988" y="958013"/>
                    </a:lnTo>
                    <a:lnTo>
                      <a:pt x="0" y="1123119"/>
                    </a:lnTo>
                    <a:lnTo>
                      <a:pt x="15547" y="1230855"/>
                    </a:lnTo>
                    <a:lnTo>
                      <a:pt x="24197" y="1312970"/>
                    </a:lnTo>
                    <a:lnTo>
                      <a:pt x="96237" y="1401436"/>
                    </a:lnTo>
                    <a:lnTo>
                      <a:pt x="117586" y="1532820"/>
                    </a:lnTo>
                    <a:lnTo>
                      <a:pt x="79815" y="1671978"/>
                    </a:lnTo>
                    <a:lnTo>
                      <a:pt x="6225" y="1788332"/>
                    </a:lnTo>
                    <a:lnTo>
                      <a:pt x="24525" y="1872230"/>
                    </a:lnTo>
                    <a:lnTo>
                      <a:pt x="24525" y="1872230"/>
                    </a:lnTo>
                    <a:lnTo>
                      <a:pt x="44670" y="1951171"/>
                    </a:lnTo>
                    <a:cubicBezTo>
                      <a:pt x="48903" y="1974127"/>
                      <a:pt x="46258" y="1973635"/>
                      <a:pt x="47845" y="1985113"/>
                    </a:cubicBezTo>
                    <a:cubicBezTo>
                      <a:pt x="49433" y="1996591"/>
                      <a:pt x="41659" y="2012392"/>
                      <a:pt x="54195" y="2020038"/>
                    </a:cubicBezTo>
                    <a:cubicBezTo>
                      <a:pt x="66731" y="2027684"/>
                      <a:pt x="94814" y="2027337"/>
                      <a:pt x="123061" y="2030987"/>
                    </a:cubicBezTo>
                    <a:lnTo>
                      <a:pt x="155906" y="2085730"/>
                    </a:lnTo>
                    <a:lnTo>
                      <a:pt x="380349" y="2145948"/>
                    </a:lnTo>
                    <a:lnTo>
                      <a:pt x="429617" y="2244486"/>
                    </a:lnTo>
                    <a:lnTo>
                      <a:pt x="489833" y="2255435"/>
                    </a:lnTo>
                    <a:lnTo>
                      <a:pt x="544576" y="2228063"/>
                    </a:lnTo>
                    <a:lnTo>
                      <a:pt x="632163" y="2310179"/>
                    </a:lnTo>
                    <a:lnTo>
                      <a:pt x="686905" y="2282807"/>
                    </a:lnTo>
                    <a:lnTo>
                      <a:pt x="785441" y="2288281"/>
                    </a:lnTo>
                    <a:lnTo>
                      <a:pt x="845658" y="2239012"/>
                    </a:lnTo>
                    <a:lnTo>
                      <a:pt x="894926" y="2326602"/>
                    </a:lnTo>
                    <a:lnTo>
                      <a:pt x="856606" y="2364922"/>
                    </a:lnTo>
                    <a:lnTo>
                      <a:pt x="873029" y="2457986"/>
                    </a:lnTo>
                    <a:lnTo>
                      <a:pt x="873029" y="2529153"/>
                    </a:lnTo>
                    <a:lnTo>
                      <a:pt x="790915" y="2572948"/>
                    </a:lnTo>
                    <a:lnTo>
                      <a:pt x="719423" y="2516453"/>
                    </a:lnTo>
                    <a:lnTo>
                      <a:pt x="638185" y="2533752"/>
                    </a:lnTo>
                    <a:lnTo>
                      <a:pt x="689205" y="2589919"/>
                    </a:lnTo>
                    <a:lnTo>
                      <a:pt x="659534" y="2693384"/>
                    </a:lnTo>
                    <a:lnTo>
                      <a:pt x="615740" y="2720755"/>
                    </a:lnTo>
                    <a:lnTo>
                      <a:pt x="598990" y="2776923"/>
                    </a:lnTo>
                    <a:lnTo>
                      <a:pt x="650885" y="2837468"/>
                    </a:lnTo>
                    <a:lnTo>
                      <a:pt x="654060" y="2879512"/>
                    </a:lnTo>
                    <a:lnTo>
                      <a:pt x="703328" y="2972576"/>
                    </a:lnTo>
                    <a:lnTo>
                      <a:pt x="758070" y="2967101"/>
                    </a:lnTo>
                    <a:lnTo>
                      <a:pt x="758070" y="2967101"/>
                    </a:lnTo>
                    <a:lnTo>
                      <a:pt x="719751" y="3021845"/>
                    </a:lnTo>
                    <a:lnTo>
                      <a:pt x="730699" y="3093012"/>
                    </a:lnTo>
                    <a:lnTo>
                      <a:pt x="730699" y="3093012"/>
                    </a:lnTo>
                    <a:lnTo>
                      <a:pt x="703328" y="3279140"/>
                    </a:lnTo>
                    <a:lnTo>
                      <a:pt x="810513" y="3149507"/>
                    </a:lnTo>
                    <a:lnTo>
                      <a:pt x="911348" y="3158704"/>
                    </a:lnTo>
                    <a:lnTo>
                      <a:pt x="883977" y="3098486"/>
                    </a:lnTo>
                    <a:lnTo>
                      <a:pt x="960616" y="3038268"/>
                    </a:lnTo>
                    <a:lnTo>
                      <a:pt x="1004410" y="3071114"/>
                    </a:lnTo>
                    <a:lnTo>
                      <a:pt x="1020833" y="2983525"/>
                    </a:lnTo>
                    <a:lnTo>
                      <a:pt x="1020833" y="2983525"/>
                    </a:lnTo>
                    <a:lnTo>
                      <a:pt x="1108420" y="3038268"/>
                    </a:lnTo>
                    <a:lnTo>
                      <a:pt x="1242429" y="2936555"/>
                    </a:lnTo>
                    <a:lnTo>
                      <a:pt x="1201482" y="2819294"/>
                    </a:lnTo>
                    <a:lnTo>
                      <a:pt x="1257100" y="2713857"/>
                    </a:lnTo>
                    <a:lnTo>
                      <a:pt x="1398554" y="2799148"/>
                    </a:lnTo>
                    <a:lnTo>
                      <a:pt x="1453296" y="2824768"/>
                    </a:lnTo>
                    <a:lnTo>
                      <a:pt x="1491616" y="2742653"/>
                    </a:lnTo>
                    <a:lnTo>
                      <a:pt x="1551832" y="2748127"/>
                    </a:lnTo>
                    <a:lnTo>
                      <a:pt x="1513513" y="2660538"/>
                    </a:lnTo>
                    <a:lnTo>
                      <a:pt x="1540884" y="2583897"/>
                    </a:lnTo>
                    <a:lnTo>
                      <a:pt x="1628471" y="2479884"/>
                    </a:lnTo>
                    <a:lnTo>
                      <a:pt x="1732481" y="2485358"/>
                    </a:lnTo>
                    <a:lnTo>
                      <a:pt x="1792698" y="2397768"/>
                    </a:lnTo>
                    <a:lnTo>
                      <a:pt x="1705110" y="2277333"/>
                    </a:lnTo>
                    <a:lnTo>
                      <a:pt x="1781749" y="2156897"/>
                    </a:lnTo>
                    <a:lnTo>
                      <a:pt x="1847440" y="2036461"/>
                    </a:lnTo>
                    <a:lnTo>
                      <a:pt x="1874811" y="1916025"/>
                    </a:lnTo>
                    <a:lnTo>
                      <a:pt x="1940502" y="1883179"/>
                    </a:lnTo>
                    <a:lnTo>
                      <a:pt x="2268955" y="1675153"/>
                    </a:lnTo>
                    <a:lnTo>
                      <a:pt x="2318223" y="1680628"/>
                    </a:lnTo>
                    <a:lnTo>
                      <a:pt x="2597408" y="1636833"/>
                    </a:lnTo>
                    <a:lnTo>
                      <a:pt x="2646676" y="1571141"/>
                    </a:lnTo>
                    <a:lnTo>
                      <a:pt x="2778057" y="1565666"/>
                    </a:lnTo>
                    <a:lnTo>
                      <a:pt x="2778057" y="1565666"/>
                    </a:lnTo>
                    <a:lnTo>
                      <a:pt x="2827325" y="1582089"/>
                    </a:lnTo>
                    <a:lnTo>
                      <a:pt x="2827325" y="1582089"/>
                    </a:lnTo>
                    <a:lnTo>
                      <a:pt x="2975129" y="1647782"/>
                    </a:lnTo>
                    <a:lnTo>
                      <a:pt x="2925861" y="1527346"/>
                    </a:lnTo>
                    <a:lnTo>
                      <a:pt x="2816377" y="1412384"/>
                    </a:lnTo>
                    <a:lnTo>
                      <a:pt x="2750686" y="1445230"/>
                    </a:lnTo>
                    <a:lnTo>
                      <a:pt x="2668573" y="1406910"/>
                    </a:lnTo>
                    <a:lnTo>
                      <a:pt x="2914913" y="1012756"/>
                    </a:lnTo>
                    <a:lnTo>
                      <a:pt x="2745212" y="897795"/>
                    </a:lnTo>
                    <a:lnTo>
                      <a:pt x="2695944" y="914218"/>
                    </a:lnTo>
                    <a:lnTo>
                      <a:pt x="2695944" y="914218"/>
                    </a:lnTo>
                    <a:lnTo>
                      <a:pt x="2570037" y="815679"/>
                    </a:lnTo>
                    <a:lnTo>
                      <a:pt x="2498872" y="854000"/>
                    </a:lnTo>
                    <a:lnTo>
                      <a:pt x="2498872" y="854000"/>
                    </a:lnTo>
                    <a:lnTo>
                      <a:pt x="2444130" y="881372"/>
                    </a:lnTo>
                    <a:lnTo>
                      <a:pt x="2405810" y="908743"/>
                    </a:lnTo>
                    <a:lnTo>
                      <a:pt x="2378439" y="837577"/>
                    </a:lnTo>
                    <a:lnTo>
                      <a:pt x="2307274" y="810205"/>
                    </a:lnTo>
                    <a:lnTo>
                      <a:pt x="2279903" y="760936"/>
                    </a:lnTo>
                    <a:lnTo>
                      <a:pt x="2225161" y="870423"/>
                    </a:lnTo>
                    <a:lnTo>
                      <a:pt x="2126625" y="875897"/>
                    </a:lnTo>
                    <a:lnTo>
                      <a:pt x="2088306" y="936115"/>
                    </a:lnTo>
                    <a:lnTo>
                      <a:pt x="1929553" y="881372"/>
                    </a:lnTo>
                    <a:lnTo>
                      <a:pt x="1869337" y="908743"/>
                    </a:lnTo>
                    <a:lnTo>
                      <a:pt x="1765327" y="843051"/>
                    </a:lnTo>
                    <a:lnTo>
                      <a:pt x="1787224" y="771885"/>
                    </a:lnTo>
                    <a:lnTo>
                      <a:pt x="1727007" y="640500"/>
                    </a:lnTo>
                    <a:lnTo>
                      <a:pt x="1683213" y="673346"/>
                    </a:lnTo>
                    <a:lnTo>
                      <a:pt x="1601100" y="629551"/>
                    </a:lnTo>
                    <a:lnTo>
                      <a:pt x="1644894" y="569333"/>
                    </a:lnTo>
                    <a:lnTo>
                      <a:pt x="1551832" y="448898"/>
                    </a:lnTo>
                    <a:lnTo>
                      <a:pt x="1491616" y="454372"/>
                    </a:lnTo>
                    <a:lnTo>
                      <a:pt x="1409502" y="388680"/>
                    </a:lnTo>
                    <a:lnTo>
                      <a:pt x="1327389" y="366782"/>
                    </a:lnTo>
                    <a:lnTo>
                      <a:pt x="1321915" y="251821"/>
                    </a:lnTo>
                    <a:lnTo>
                      <a:pt x="1228853" y="142334"/>
                    </a:lnTo>
                    <a:lnTo>
                      <a:pt x="1163162" y="109487"/>
                    </a:lnTo>
                    <a:lnTo>
                      <a:pt x="1163162" y="109487"/>
                    </a:lnTo>
                    <a:lnTo>
                      <a:pt x="1091998" y="98539"/>
                    </a:lnTo>
                    <a:lnTo>
                      <a:pt x="977039" y="0"/>
                    </a:lnTo>
                    <a:lnTo>
                      <a:pt x="977039" y="0"/>
                    </a:lnTo>
                    <a:lnTo>
                      <a:pt x="922297" y="60218"/>
                    </a:lnTo>
                    <a:lnTo>
                      <a:pt x="834709" y="71167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5" name="Forma libre 5"/>
              <p:cNvSpPr/>
              <p:nvPr/>
            </p:nvSpPr>
            <p:spPr>
              <a:xfrm>
                <a:off x="968743" y="5975329"/>
                <a:ext cx="91628" cy="236177"/>
              </a:xfrm>
              <a:custGeom>
                <a:avLst/>
                <a:gdLst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503628 w 596690"/>
                  <a:gd name="connsiteY28" fmla="*/ 1149615 h 1494500"/>
                  <a:gd name="connsiteX29" fmla="*/ 388670 w 596690"/>
                  <a:gd name="connsiteY29" fmla="*/ 1122243 h 1494500"/>
                  <a:gd name="connsiteX30" fmla="*/ 333927 w 596690"/>
                  <a:gd name="connsiteY30" fmla="*/ 1034654 h 1494500"/>
                  <a:gd name="connsiteX31" fmla="*/ 344876 w 596690"/>
                  <a:gd name="connsiteY31" fmla="*/ 903269 h 1494500"/>
                  <a:gd name="connsiteX32" fmla="*/ 328453 w 596690"/>
                  <a:gd name="connsiteY32" fmla="*/ 771885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503628 w 596690"/>
                  <a:gd name="connsiteY28" fmla="*/ 1149615 h 1494500"/>
                  <a:gd name="connsiteX29" fmla="*/ 388670 w 596690"/>
                  <a:gd name="connsiteY29" fmla="*/ 1122243 h 1494500"/>
                  <a:gd name="connsiteX30" fmla="*/ 333927 w 596690"/>
                  <a:gd name="connsiteY30" fmla="*/ 1034654 h 1494500"/>
                  <a:gd name="connsiteX31" fmla="*/ 344876 w 596690"/>
                  <a:gd name="connsiteY31" fmla="*/ 903269 h 1494500"/>
                  <a:gd name="connsiteX32" fmla="*/ 350678 w 596690"/>
                  <a:gd name="connsiteY32" fmla="*/ 838560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503628 w 596690"/>
                  <a:gd name="connsiteY28" fmla="*/ 1149615 h 1494500"/>
                  <a:gd name="connsiteX29" fmla="*/ 388670 w 596690"/>
                  <a:gd name="connsiteY29" fmla="*/ 1122243 h 1494500"/>
                  <a:gd name="connsiteX30" fmla="*/ 340277 w 596690"/>
                  <a:gd name="connsiteY30" fmla="*/ 1031479 h 1494500"/>
                  <a:gd name="connsiteX31" fmla="*/ 344876 w 596690"/>
                  <a:gd name="connsiteY31" fmla="*/ 903269 h 1494500"/>
                  <a:gd name="connsiteX32" fmla="*/ 350678 w 596690"/>
                  <a:gd name="connsiteY32" fmla="*/ 838560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497278 w 596690"/>
                  <a:gd name="connsiteY28" fmla="*/ 1136915 h 1494500"/>
                  <a:gd name="connsiteX29" fmla="*/ 388670 w 596690"/>
                  <a:gd name="connsiteY29" fmla="*/ 1122243 h 1494500"/>
                  <a:gd name="connsiteX30" fmla="*/ 340277 w 596690"/>
                  <a:gd name="connsiteY30" fmla="*/ 1031479 h 1494500"/>
                  <a:gd name="connsiteX31" fmla="*/ 344876 w 596690"/>
                  <a:gd name="connsiteY31" fmla="*/ 903269 h 1494500"/>
                  <a:gd name="connsiteX32" fmla="*/ 350678 w 596690"/>
                  <a:gd name="connsiteY32" fmla="*/ 838560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46692 h 1494500"/>
                  <a:gd name="connsiteX24" fmla="*/ 487206 w 606215"/>
                  <a:gd name="connsiteY24" fmla="*/ 1385013 h 1494500"/>
                  <a:gd name="connsiteX25" fmla="*/ 487206 w 606215"/>
                  <a:gd name="connsiteY25" fmla="*/ 1330269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46692 h 1494500"/>
                  <a:gd name="connsiteX24" fmla="*/ 487206 w 606215"/>
                  <a:gd name="connsiteY24" fmla="*/ 1385013 h 1494500"/>
                  <a:gd name="connsiteX25" fmla="*/ 503081 w 606215"/>
                  <a:gd name="connsiteY25" fmla="*/ 1333444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85013 h 1494500"/>
                  <a:gd name="connsiteX25" fmla="*/ 503081 w 606215"/>
                  <a:gd name="connsiteY25" fmla="*/ 1333444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57001 w 606215"/>
                  <a:gd name="connsiteY18" fmla="*/ 12683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99959 w 606215"/>
                  <a:gd name="connsiteY17" fmla="*/ 1193410 h 1494500"/>
                  <a:gd name="connsiteX18" fmla="*/ 157001 w 606215"/>
                  <a:gd name="connsiteY18" fmla="*/ 12683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20693 w 606215"/>
                  <a:gd name="connsiteY16" fmla="*/ 1144689 h 1494500"/>
                  <a:gd name="connsiteX17" fmla="*/ 99959 w 606215"/>
                  <a:gd name="connsiteY17" fmla="*/ 1193410 h 1494500"/>
                  <a:gd name="connsiteX18" fmla="*/ 157001 w 606215"/>
                  <a:gd name="connsiteY18" fmla="*/ 12683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12906 w 612565"/>
                  <a:gd name="connsiteY0" fmla="*/ 0 h 1494500"/>
                  <a:gd name="connsiteX1" fmla="*/ 312906 w 612565"/>
                  <a:gd name="connsiteY1" fmla="*/ 0 h 1494500"/>
                  <a:gd name="connsiteX2" fmla="*/ 197948 w 612565"/>
                  <a:gd name="connsiteY2" fmla="*/ 114962 h 1494500"/>
                  <a:gd name="connsiteX3" fmla="*/ 208896 w 612565"/>
                  <a:gd name="connsiteY3" fmla="*/ 197077 h 1494500"/>
                  <a:gd name="connsiteX4" fmla="*/ 208896 w 612565"/>
                  <a:gd name="connsiteY4" fmla="*/ 197077 h 1494500"/>
                  <a:gd name="connsiteX5" fmla="*/ 132257 w 612565"/>
                  <a:gd name="connsiteY5" fmla="*/ 131385 h 1494500"/>
                  <a:gd name="connsiteX6" fmla="*/ 99412 w 612565"/>
                  <a:gd name="connsiteY6" fmla="*/ 279193 h 1494500"/>
                  <a:gd name="connsiteX7" fmla="*/ 44670 w 612565"/>
                  <a:gd name="connsiteY7" fmla="*/ 421526 h 1494500"/>
                  <a:gd name="connsiteX8" fmla="*/ 22773 w 612565"/>
                  <a:gd name="connsiteY8" fmla="*/ 541962 h 1494500"/>
                  <a:gd name="connsiteX9" fmla="*/ 11824 w 612565"/>
                  <a:gd name="connsiteY9" fmla="*/ 613128 h 1494500"/>
                  <a:gd name="connsiteX10" fmla="*/ 11824 w 612565"/>
                  <a:gd name="connsiteY10" fmla="*/ 613128 h 1494500"/>
                  <a:gd name="connsiteX11" fmla="*/ 22773 w 612565"/>
                  <a:gd name="connsiteY11" fmla="*/ 760936 h 1494500"/>
                  <a:gd name="connsiteX12" fmla="*/ 6350 w 612565"/>
                  <a:gd name="connsiteY12" fmla="*/ 832103 h 1494500"/>
                  <a:gd name="connsiteX13" fmla="*/ 72041 w 612565"/>
                  <a:gd name="connsiteY13" fmla="*/ 897795 h 1494500"/>
                  <a:gd name="connsiteX14" fmla="*/ 11824 w 612565"/>
                  <a:gd name="connsiteY14" fmla="*/ 1023705 h 1494500"/>
                  <a:gd name="connsiteX15" fmla="*/ 0 w 612565"/>
                  <a:gd name="connsiteY15" fmla="*/ 1057647 h 1494500"/>
                  <a:gd name="connsiteX16" fmla="*/ 27043 w 612565"/>
                  <a:gd name="connsiteY16" fmla="*/ 1144689 h 1494500"/>
                  <a:gd name="connsiteX17" fmla="*/ 106309 w 612565"/>
                  <a:gd name="connsiteY17" fmla="*/ 1193410 h 1494500"/>
                  <a:gd name="connsiteX18" fmla="*/ 163351 w 612565"/>
                  <a:gd name="connsiteY18" fmla="*/ 1268300 h 1494500"/>
                  <a:gd name="connsiteX19" fmla="*/ 225867 w 612565"/>
                  <a:gd name="connsiteY19" fmla="*/ 1361912 h 1494500"/>
                  <a:gd name="connsiteX20" fmla="*/ 263638 w 612565"/>
                  <a:gd name="connsiteY20" fmla="*/ 1494500 h 1494500"/>
                  <a:gd name="connsiteX21" fmla="*/ 367649 w 612565"/>
                  <a:gd name="connsiteY21" fmla="*/ 1472602 h 1494500"/>
                  <a:gd name="connsiteX22" fmla="*/ 367649 w 612565"/>
                  <a:gd name="connsiteY22" fmla="*/ 1374064 h 1494500"/>
                  <a:gd name="connsiteX23" fmla="*/ 411442 w 612565"/>
                  <a:gd name="connsiteY23" fmla="*/ 1356217 h 1494500"/>
                  <a:gd name="connsiteX24" fmla="*/ 493556 w 612565"/>
                  <a:gd name="connsiteY24" fmla="*/ 1394538 h 1494500"/>
                  <a:gd name="connsiteX25" fmla="*/ 509431 w 612565"/>
                  <a:gd name="connsiteY25" fmla="*/ 1333444 h 1494500"/>
                  <a:gd name="connsiteX26" fmla="*/ 557823 w 612565"/>
                  <a:gd name="connsiteY26" fmla="*/ 1246730 h 1494500"/>
                  <a:gd name="connsiteX27" fmla="*/ 612565 w 612565"/>
                  <a:gd name="connsiteY27" fmla="*/ 1237205 h 1494500"/>
                  <a:gd name="connsiteX28" fmla="*/ 503628 w 612565"/>
                  <a:gd name="connsiteY28" fmla="*/ 1136915 h 1494500"/>
                  <a:gd name="connsiteX29" fmla="*/ 395020 w 612565"/>
                  <a:gd name="connsiteY29" fmla="*/ 1122243 h 1494500"/>
                  <a:gd name="connsiteX30" fmla="*/ 346627 w 612565"/>
                  <a:gd name="connsiteY30" fmla="*/ 1031479 h 1494500"/>
                  <a:gd name="connsiteX31" fmla="*/ 351226 w 612565"/>
                  <a:gd name="connsiteY31" fmla="*/ 903269 h 1494500"/>
                  <a:gd name="connsiteX32" fmla="*/ 357028 w 612565"/>
                  <a:gd name="connsiteY32" fmla="*/ 838560 h 1494500"/>
                  <a:gd name="connsiteX33" fmla="*/ 312906 w 612565"/>
                  <a:gd name="connsiteY33" fmla="*/ 662397 h 1494500"/>
                  <a:gd name="connsiteX34" fmla="*/ 395020 w 612565"/>
                  <a:gd name="connsiteY34" fmla="*/ 536487 h 1494500"/>
                  <a:gd name="connsiteX35" fmla="*/ 422391 w 612565"/>
                  <a:gd name="connsiteY35" fmla="*/ 377731 h 1494500"/>
                  <a:gd name="connsiteX36" fmla="*/ 405968 w 612565"/>
                  <a:gd name="connsiteY36" fmla="*/ 279193 h 1494500"/>
                  <a:gd name="connsiteX37" fmla="*/ 340277 w 612565"/>
                  <a:gd name="connsiteY37" fmla="*/ 197077 h 1494500"/>
                  <a:gd name="connsiteX38" fmla="*/ 312906 w 612565"/>
                  <a:gd name="connsiteY38" fmla="*/ 0 h 149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12565" h="1494500">
                    <a:moveTo>
                      <a:pt x="312906" y="0"/>
                    </a:moveTo>
                    <a:lnTo>
                      <a:pt x="312906" y="0"/>
                    </a:lnTo>
                    <a:lnTo>
                      <a:pt x="197948" y="114962"/>
                    </a:lnTo>
                    <a:lnTo>
                      <a:pt x="208896" y="197077"/>
                    </a:lnTo>
                    <a:lnTo>
                      <a:pt x="208896" y="197077"/>
                    </a:lnTo>
                    <a:lnTo>
                      <a:pt x="132257" y="131385"/>
                    </a:lnTo>
                    <a:lnTo>
                      <a:pt x="99412" y="279193"/>
                    </a:lnTo>
                    <a:lnTo>
                      <a:pt x="44670" y="421526"/>
                    </a:lnTo>
                    <a:lnTo>
                      <a:pt x="22773" y="541962"/>
                    </a:lnTo>
                    <a:lnTo>
                      <a:pt x="11824" y="613128"/>
                    </a:lnTo>
                    <a:lnTo>
                      <a:pt x="11824" y="613128"/>
                    </a:lnTo>
                    <a:lnTo>
                      <a:pt x="22773" y="760936"/>
                    </a:lnTo>
                    <a:lnTo>
                      <a:pt x="6350" y="832103"/>
                    </a:lnTo>
                    <a:lnTo>
                      <a:pt x="72041" y="897795"/>
                    </a:lnTo>
                    <a:lnTo>
                      <a:pt x="11824" y="1023705"/>
                    </a:lnTo>
                    <a:lnTo>
                      <a:pt x="0" y="1057647"/>
                    </a:lnTo>
                    <a:lnTo>
                      <a:pt x="27043" y="1144689"/>
                    </a:lnTo>
                    <a:lnTo>
                      <a:pt x="106309" y="1193410"/>
                    </a:lnTo>
                    <a:lnTo>
                      <a:pt x="163351" y="1268300"/>
                    </a:lnTo>
                    <a:lnTo>
                      <a:pt x="225867" y="1361912"/>
                    </a:lnTo>
                    <a:lnTo>
                      <a:pt x="263638" y="1494500"/>
                    </a:lnTo>
                    <a:lnTo>
                      <a:pt x="367649" y="1472602"/>
                    </a:lnTo>
                    <a:lnTo>
                      <a:pt x="367649" y="1374064"/>
                    </a:lnTo>
                    <a:lnTo>
                      <a:pt x="411442" y="1356217"/>
                    </a:lnTo>
                    <a:lnTo>
                      <a:pt x="493556" y="1394538"/>
                    </a:lnTo>
                    <a:lnTo>
                      <a:pt x="509431" y="1333444"/>
                    </a:lnTo>
                    <a:lnTo>
                      <a:pt x="557823" y="1246730"/>
                    </a:lnTo>
                    <a:lnTo>
                      <a:pt x="612565" y="1237205"/>
                    </a:lnTo>
                    <a:lnTo>
                      <a:pt x="503628" y="1136915"/>
                    </a:lnTo>
                    <a:lnTo>
                      <a:pt x="395020" y="1122243"/>
                    </a:lnTo>
                    <a:lnTo>
                      <a:pt x="346627" y="1031479"/>
                    </a:lnTo>
                    <a:lnTo>
                      <a:pt x="351226" y="903269"/>
                    </a:lnTo>
                    <a:lnTo>
                      <a:pt x="357028" y="838560"/>
                    </a:lnTo>
                    <a:lnTo>
                      <a:pt x="312906" y="662397"/>
                    </a:lnTo>
                    <a:lnTo>
                      <a:pt x="395020" y="536487"/>
                    </a:lnTo>
                    <a:lnTo>
                      <a:pt x="422391" y="377731"/>
                    </a:lnTo>
                    <a:lnTo>
                      <a:pt x="405968" y="279193"/>
                    </a:lnTo>
                    <a:lnTo>
                      <a:pt x="340277" y="197077"/>
                    </a:lnTo>
                    <a:lnTo>
                      <a:pt x="312906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6" name="Forma libre 6"/>
              <p:cNvSpPr/>
              <p:nvPr/>
            </p:nvSpPr>
            <p:spPr>
              <a:xfrm>
                <a:off x="837041" y="6002148"/>
                <a:ext cx="50768" cy="44986"/>
              </a:xfrm>
              <a:custGeom>
                <a:avLst/>
                <a:gdLst>
                  <a:gd name="connsiteX0" fmla="*/ 0 w 339402"/>
                  <a:gd name="connsiteY0" fmla="*/ 235398 h 284667"/>
                  <a:gd name="connsiteX1" fmla="*/ 93062 w 339402"/>
                  <a:gd name="connsiteY1" fmla="*/ 158757 h 284667"/>
                  <a:gd name="connsiteX2" fmla="*/ 104011 w 339402"/>
                  <a:gd name="connsiteY2" fmla="*/ 104013 h 284667"/>
                  <a:gd name="connsiteX3" fmla="*/ 186124 w 339402"/>
                  <a:gd name="connsiteY3" fmla="*/ 60218 h 284667"/>
                  <a:gd name="connsiteX4" fmla="*/ 213495 w 339402"/>
                  <a:gd name="connsiteY4" fmla="*/ 5475 h 284667"/>
                  <a:gd name="connsiteX5" fmla="*/ 290134 w 339402"/>
                  <a:gd name="connsiteY5" fmla="*/ 0 h 284667"/>
                  <a:gd name="connsiteX6" fmla="*/ 290134 w 339402"/>
                  <a:gd name="connsiteY6" fmla="*/ 0 h 284667"/>
                  <a:gd name="connsiteX7" fmla="*/ 339402 w 339402"/>
                  <a:gd name="connsiteY7" fmla="*/ 169705 h 284667"/>
                  <a:gd name="connsiteX8" fmla="*/ 279186 w 339402"/>
                  <a:gd name="connsiteY8" fmla="*/ 213500 h 284667"/>
                  <a:gd name="connsiteX9" fmla="*/ 279186 w 339402"/>
                  <a:gd name="connsiteY9" fmla="*/ 213500 h 284667"/>
                  <a:gd name="connsiteX10" fmla="*/ 191598 w 339402"/>
                  <a:gd name="connsiteY10" fmla="*/ 224449 h 284667"/>
                  <a:gd name="connsiteX11" fmla="*/ 169701 w 339402"/>
                  <a:gd name="connsiteY11" fmla="*/ 284667 h 284667"/>
                  <a:gd name="connsiteX12" fmla="*/ 82114 w 339402"/>
                  <a:gd name="connsiteY12" fmla="*/ 262770 h 284667"/>
                  <a:gd name="connsiteX13" fmla="*/ 82114 w 339402"/>
                  <a:gd name="connsiteY13" fmla="*/ 262770 h 284667"/>
                  <a:gd name="connsiteX14" fmla="*/ 0 w 339402"/>
                  <a:gd name="connsiteY14" fmla="*/ 235398 h 284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39402" h="284667">
                    <a:moveTo>
                      <a:pt x="0" y="235398"/>
                    </a:moveTo>
                    <a:lnTo>
                      <a:pt x="93062" y="158757"/>
                    </a:lnTo>
                    <a:lnTo>
                      <a:pt x="104011" y="104013"/>
                    </a:lnTo>
                    <a:lnTo>
                      <a:pt x="186124" y="60218"/>
                    </a:lnTo>
                    <a:lnTo>
                      <a:pt x="213495" y="5475"/>
                    </a:lnTo>
                    <a:lnTo>
                      <a:pt x="290134" y="0"/>
                    </a:lnTo>
                    <a:lnTo>
                      <a:pt x="290134" y="0"/>
                    </a:lnTo>
                    <a:lnTo>
                      <a:pt x="339402" y="169705"/>
                    </a:lnTo>
                    <a:lnTo>
                      <a:pt x="279186" y="213500"/>
                    </a:lnTo>
                    <a:lnTo>
                      <a:pt x="279186" y="213500"/>
                    </a:lnTo>
                    <a:lnTo>
                      <a:pt x="191598" y="224449"/>
                    </a:lnTo>
                    <a:lnTo>
                      <a:pt x="169701" y="284667"/>
                    </a:lnTo>
                    <a:lnTo>
                      <a:pt x="82114" y="262770"/>
                    </a:lnTo>
                    <a:lnTo>
                      <a:pt x="82114" y="262770"/>
                    </a:lnTo>
                    <a:lnTo>
                      <a:pt x="0" y="235398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7" name="Forma libre 7"/>
              <p:cNvSpPr/>
              <p:nvPr/>
            </p:nvSpPr>
            <p:spPr>
              <a:xfrm>
                <a:off x="821483" y="6041943"/>
                <a:ext cx="119551" cy="132363"/>
              </a:xfrm>
              <a:custGeom>
                <a:avLst/>
                <a:gdLst>
                  <a:gd name="connsiteX0" fmla="*/ 257289 w 799236"/>
                  <a:gd name="connsiteY0" fmla="*/ 837576 h 837576"/>
                  <a:gd name="connsiteX1" fmla="*/ 109485 w 799236"/>
                  <a:gd name="connsiteY1" fmla="*/ 749987 h 837576"/>
                  <a:gd name="connsiteX2" fmla="*/ 71165 w 799236"/>
                  <a:gd name="connsiteY2" fmla="*/ 689769 h 837576"/>
                  <a:gd name="connsiteX3" fmla="*/ 93062 w 799236"/>
                  <a:gd name="connsiteY3" fmla="*/ 635025 h 837576"/>
                  <a:gd name="connsiteX4" fmla="*/ 98536 w 799236"/>
                  <a:gd name="connsiteY4" fmla="*/ 585756 h 837576"/>
                  <a:gd name="connsiteX5" fmla="*/ 136856 w 799236"/>
                  <a:gd name="connsiteY5" fmla="*/ 640499 h 837576"/>
                  <a:gd name="connsiteX6" fmla="*/ 136856 w 799236"/>
                  <a:gd name="connsiteY6" fmla="*/ 640499 h 837576"/>
                  <a:gd name="connsiteX7" fmla="*/ 180650 w 799236"/>
                  <a:gd name="connsiteY7" fmla="*/ 613128 h 837576"/>
                  <a:gd name="connsiteX8" fmla="*/ 164227 w 799236"/>
                  <a:gd name="connsiteY8" fmla="*/ 503641 h 837576"/>
                  <a:gd name="connsiteX9" fmla="*/ 93062 w 799236"/>
                  <a:gd name="connsiteY9" fmla="*/ 443423 h 837576"/>
                  <a:gd name="connsiteX10" fmla="*/ 49268 w 799236"/>
                  <a:gd name="connsiteY10" fmla="*/ 405102 h 837576"/>
                  <a:gd name="connsiteX11" fmla="*/ 60217 w 799236"/>
                  <a:gd name="connsiteY11" fmla="*/ 355833 h 837576"/>
                  <a:gd name="connsiteX12" fmla="*/ 109485 w 799236"/>
                  <a:gd name="connsiteY12" fmla="*/ 333936 h 837576"/>
                  <a:gd name="connsiteX13" fmla="*/ 0 w 799236"/>
                  <a:gd name="connsiteY13" fmla="*/ 208025 h 837576"/>
                  <a:gd name="connsiteX14" fmla="*/ 16423 w 799236"/>
                  <a:gd name="connsiteY14" fmla="*/ 125910 h 837576"/>
                  <a:gd name="connsiteX15" fmla="*/ 32846 w 799236"/>
                  <a:gd name="connsiteY15" fmla="*/ 54743 h 837576"/>
                  <a:gd name="connsiteX16" fmla="*/ 98536 w 799236"/>
                  <a:gd name="connsiteY16" fmla="*/ 5474 h 837576"/>
                  <a:gd name="connsiteX17" fmla="*/ 279185 w 799236"/>
                  <a:gd name="connsiteY17" fmla="*/ 60218 h 837576"/>
                  <a:gd name="connsiteX18" fmla="*/ 328453 w 799236"/>
                  <a:gd name="connsiteY18" fmla="*/ 0 h 837576"/>
                  <a:gd name="connsiteX19" fmla="*/ 377721 w 799236"/>
                  <a:gd name="connsiteY19" fmla="*/ 21897 h 837576"/>
                  <a:gd name="connsiteX20" fmla="*/ 339402 w 799236"/>
                  <a:gd name="connsiteY20" fmla="*/ 109487 h 837576"/>
                  <a:gd name="connsiteX21" fmla="*/ 339402 w 799236"/>
                  <a:gd name="connsiteY21" fmla="*/ 109487 h 837576"/>
                  <a:gd name="connsiteX22" fmla="*/ 377721 w 799236"/>
                  <a:gd name="connsiteY22" fmla="*/ 136859 h 837576"/>
                  <a:gd name="connsiteX23" fmla="*/ 448886 w 799236"/>
                  <a:gd name="connsiteY23" fmla="*/ 54743 h 837576"/>
                  <a:gd name="connsiteX24" fmla="*/ 541948 w 799236"/>
                  <a:gd name="connsiteY24" fmla="*/ 98538 h 837576"/>
                  <a:gd name="connsiteX25" fmla="*/ 574793 w 799236"/>
                  <a:gd name="connsiteY25" fmla="*/ 136859 h 837576"/>
                  <a:gd name="connsiteX26" fmla="*/ 645958 w 799236"/>
                  <a:gd name="connsiteY26" fmla="*/ 109487 h 837576"/>
                  <a:gd name="connsiteX27" fmla="*/ 700700 w 799236"/>
                  <a:gd name="connsiteY27" fmla="*/ 164230 h 837576"/>
                  <a:gd name="connsiteX28" fmla="*/ 733546 w 799236"/>
                  <a:gd name="connsiteY28" fmla="*/ 257295 h 837576"/>
                  <a:gd name="connsiteX29" fmla="*/ 799236 w 799236"/>
                  <a:gd name="connsiteY29" fmla="*/ 317512 h 837576"/>
                  <a:gd name="connsiteX30" fmla="*/ 722597 w 799236"/>
                  <a:gd name="connsiteY30" fmla="*/ 394153 h 837576"/>
                  <a:gd name="connsiteX31" fmla="*/ 777340 w 799236"/>
                  <a:gd name="connsiteY31" fmla="*/ 531012 h 837576"/>
                  <a:gd name="connsiteX32" fmla="*/ 722597 w 799236"/>
                  <a:gd name="connsiteY32" fmla="*/ 531012 h 837576"/>
                  <a:gd name="connsiteX33" fmla="*/ 722597 w 799236"/>
                  <a:gd name="connsiteY33" fmla="*/ 596705 h 837576"/>
                  <a:gd name="connsiteX34" fmla="*/ 739020 w 799236"/>
                  <a:gd name="connsiteY34" fmla="*/ 673346 h 837576"/>
                  <a:gd name="connsiteX35" fmla="*/ 739020 w 799236"/>
                  <a:gd name="connsiteY35" fmla="*/ 673346 h 837576"/>
                  <a:gd name="connsiteX36" fmla="*/ 645958 w 799236"/>
                  <a:gd name="connsiteY36" fmla="*/ 684294 h 837576"/>
                  <a:gd name="connsiteX37" fmla="*/ 645958 w 799236"/>
                  <a:gd name="connsiteY37" fmla="*/ 618602 h 837576"/>
                  <a:gd name="connsiteX38" fmla="*/ 596690 w 799236"/>
                  <a:gd name="connsiteY38" fmla="*/ 635025 h 837576"/>
                  <a:gd name="connsiteX39" fmla="*/ 569319 w 799236"/>
                  <a:gd name="connsiteY39" fmla="*/ 569333 h 837576"/>
                  <a:gd name="connsiteX40" fmla="*/ 525525 w 799236"/>
                  <a:gd name="connsiteY40" fmla="*/ 498166 h 837576"/>
                  <a:gd name="connsiteX41" fmla="*/ 487206 w 799236"/>
                  <a:gd name="connsiteY41" fmla="*/ 596705 h 837576"/>
                  <a:gd name="connsiteX42" fmla="*/ 443412 w 799236"/>
                  <a:gd name="connsiteY42" fmla="*/ 656923 h 837576"/>
                  <a:gd name="connsiteX43" fmla="*/ 372247 w 799236"/>
                  <a:gd name="connsiteY43" fmla="*/ 678820 h 837576"/>
                  <a:gd name="connsiteX44" fmla="*/ 257289 w 799236"/>
                  <a:gd name="connsiteY44" fmla="*/ 837576 h 837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99236" h="837576">
                    <a:moveTo>
                      <a:pt x="257289" y="837576"/>
                    </a:moveTo>
                    <a:lnTo>
                      <a:pt x="109485" y="749987"/>
                    </a:lnTo>
                    <a:lnTo>
                      <a:pt x="71165" y="689769"/>
                    </a:lnTo>
                    <a:lnTo>
                      <a:pt x="93062" y="635025"/>
                    </a:lnTo>
                    <a:lnTo>
                      <a:pt x="98536" y="585756"/>
                    </a:lnTo>
                    <a:lnTo>
                      <a:pt x="136856" y="640499"/>
                    </a:lnTo>
                    <a:lnTo>
                      <a:pt x="136856" y="640499"/>
                    </a:lnTo>
                    <a:lnTo>
                      <a:pt x="180650" y="613128"/>
                    </a:lnTo>
                    <a:lnTo>
                      <a:pt x="164227" y="503641"/>
                    </a:lnTo>
                    <a:lnTo>
                      <a:pt x="93062" y="443423"/>
                    </a:lnTo>
                    <a:lnTo>
                      <a:pt x="49268" y="405102"/>
                    </a:lnTo>
                    <a:lnTo>
                      <a:pt x="60217" y="355833"/>
                    </a:lnTo>
                    <a:lnTo>
                      <a:pt x="109485" y="333936"/>
                    </a:lnTo>
                    <a:lnTo>
                      <a:pt x="0" y="208025"/>
                    </a:lnTo>
                    <a:lnTo>
                      <a:pt x="16423" y="125910"/>
                    </a:lnTo>
                    <a:lnTo>
                      <a:pt x="32846" y="54743"/>
                    </a:lnTo>
                    <a:lnTo>
                      <a:pt x="98536" y="5474"/>
                    </a:lnTo>
                    <a:lnTo>
                      <a:pt x="279185" y="60218"/>
                    </a:lnTo>
                    <a:lnTo>
                      <a:pt x="328453" y="0"/>
                    </a:lnTo>
                    <a:lnTo>
                      <a:pt x="377721" y="21897"/>
                    </a:lnTo>
                    <a:lnTo>
                      <a:pt x="339402" y="109487"/>
                    </a:lnTo>
                    <a:lnTo>
                      <a:pt x="339402" y="109487"/>
                    </a:lnTo>
                    <a:lnTo>
                      <a:pt x="377721" y="136859"/>
                    </a:lnTo>
                    <a:lnTo>
                      <a:pt x="448886" y="54743"/>
                    </a:lnTo>
                    <a:lnTo>
                      <a:pt x="541948" y="98538"/>
                    </a:lnTo>
                    <a:lnTo>
                      <a:pt x="574793" y="136859"/>
                    </a:lnTo>
                    <a:lnTo>
                      <a:pt x="645958" y="109487"/>
                    </a:lnTo>
                    <a:lnTo>
                      <a:pt x="700700" y="164230"/>
                    </a:lnTo>
                    <a:lnTo>
                      <a:pt x="733546" y="257295"/>
                    </a:lnTo>
                    <a:lnTo>
                      <a:pt x="799236" y="317512"/>
                    </a:lnTo>
                    <a:lnTo>
                      <a:pt x="722597" y="394153"/>
                    </a:lnTo>
                    <a:lnTo>
                      <a:pt x="777340" y="531012"/>
                    </a:lnTo>
                    <a:lnTo>
                      <a:pt x="722597" y="531012"/>
                    </a:lnTo>
                    <a:lnTo>
                      <a:pt x="722597" y="596705"/>
                    </a:lnTo>
                    <a:lnTo>
                      <a:pt x="739020" y="673346"/>
                    </a:lnTo>
                    <a:lnTo>
                      <a:pt x="739020" y="673346"/>
                    </a:lnTo>
                    <a:lnTo>
                      <a:pt x="645958" y="684294"/>
                    </a:lnTo>
                    <a:lnTo>
                      <a:pt x="645958" y="618602"/>
                    </a:lnTo>
                    <a:lnTo>
                      <a:pt x="596690" y="635025"/>
                    </a:lnTo>
                    <a:lnTo>
                      <a:pt x="569319" y="569333"/>
                    </a:lnTo>
                    <a:lnTo>
                      <a:pt x="525525" y="498166"/>
                    </a:lnTo>
                    <a:lnTo>
                      <a:pt x="487206" y="596705"/>
                    </a:lnTo>
                    <a:lnTo>
                      <a:pt x="443412" y="656923"/>
                    </a:lnTo>
                    <a:lnTo>
                      <a:pt x="372247" y="678820"/>
                    </a:lnTo>
                    <a:lnTo>
                      <a:pt x="257289" y="837576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8" name="Forma libre 8"/>
              <p:cNvSpPr/>
              <p:nvPr/>
            </p:nvSpPr>
            <p:spPr>
              <a:xfrm>
                <a:off x="927257" y="6070401"/>
                <a:ext cx="94711" cy="184509"/>
              </a:xfrm>
              <a:custGeom>
                <a:avLst/>
                <a:gdLst>
                  <a:gd name="connsiteX0" fmla="*/ 263519 w 633177"/>
                  <a:gd name="connsiteY0" fmla="*/ 0 h 1167553"/>
                  <a:gd name="connsiteX1" fmla="*/ 212279 w 633177"/>
                  <a:gd name="connsiteY1" fmla="*/ 18300 h 1167553"/>
                  <a:gd name="connsiteX2" fmla="*/ 193979 w 633177"/>
                  <a:gd name="connsiteY2" fmla="*/ 62220 h 1167553"/>
                  <a:gd name="connsiteX3" fmla="*/ 219599 w 633177"/>
                  <a:gd name="connsiteY3" fmla="*/ 106141 h 1167553"/>
                  <a:gd name="connsiteX4" fmla="*/ 179339 w 633177"/>
                  <a:gd name="connsiteY4" fmla="*/ 109801 h 1167553"/>
                  <a:gd name="connsiteX5" fmla="*/ 157380 w 633177"/>
                  <a:gd name="connsiteY5" fmla="*/ 153721 h 1167553"/>
                  <a:gd name="connsiteX6" fmla="*/ 117120 w 633177"/>
                  <a:gd name="connsiteY6" fmla="*/ 131761 h 1167553"/>
                  <a:gd name="connsiteX7" fmla="*/ 32940 w 633177"/>
                  <a:gd name="connsiteY7" fmla="*/ 223262 h 1167553"/>
                  <a:gd name="connsiteX8" fmla="*/ 84180 w 633177"/>
                  <a:gd name="connsiteY8" fmla="*/ 358684 h 1167553"/>
                  <a:gd name="connsiteX9" fmla="*/ 32940 w 633177"/>
                  <a:gd name="connsiteY9" fmla="*/ 366004 h 1167553"/>
                  <a:gd name="connsiteX10" fmla="*/ 29280 w 633177"/>
                  <a:gd name="connsiteY10" fmla="*/ 428224 h 1167553"/>
                  <a:gd name="connsiteX11" fmla="*/ 51240 w 633177"/>
                  <a:gd name="connsiteY11" fmla="*/ 483125 h 1167553"/>
                  <a:gd name="connsiteX12" fmla="*/ 14640 w 633177"/>
                  <a:gd name="connsiteY12" fmla="*/ 512405 h 1167553"/>
                  <a:gd name="connsiteX13" fmla="*/ 95160 w 633177"/>
                  <a:gd name="connsiteY13" fmla="*/ 538026 h 1167553"/>
                  <a:gd name="connsiteX14" fmla="*/ 69540 w 633177"/>
                  <a:gd name="connsiteY14" fmla="*/ 589266 h 1167553"/>
                  <a:gd name="connsiteX15" fmla="*/ 47580 w 633177"/>
                  <a:gd name="connsiteY15" fmla="*/ 629527 h 1167553"/>
                  <a:gd name="connsiteX16" fmla="*/ 3660 w 633177"/>
                  <a:gd name="connsiteY16" fmla="*/ 636847 h 1167553"/>
                  <a:gd name="connsiteX17" fmla="*/ 0 w 633177"/>
                  <a:gd name="connsiteY17" fmla="*/ 691747 h 1167553"/>
                  <a:gd name="connsiteX18" fmla="*/ 32940 w 633177"/>
                  <a:gd name="connsiteY18" fmla="*/ 761288 h 1167553"/>
                  <a:gd name="connsiteX19" fmla="*/ 117120 w 633177"/>
                  <a:gd name="connsiteY19" fmla="*/ 794228 h 1167553"/>
                  <a:gd name="connsiteX20" fmla="*/ 117120 w 633177"/>
                  <a:gd name="connsiteY20" fmla="*/ 794228 h 1167553"/>
                  <a:gd name="connsiteX21" fmla="*/ 76860 w 633177"/>
                  <a:gd name="connsiteY21" fmla="*/ 834489 h 1167553"/>
                  <a:gd name="connsiteX22" fmla="*/ 47580 w 633177"/>
                  <a:gd name="connsiteY22" fmla="*/ 911350 h 1167553"/>
                  <a:gd name="connsiteX23" fmla="*/ 80520 w 633177"/>
                  <a:gd name="connsiteY23" fmla="*/ 962590 h 1167553"/>
                  <a:gd name="connsiteX24" fmla="*/ 43920 w 633177"/>
                  <a:gd name="connsiteY24" fmla="*/ 1021151 h 1167553"/>
                  <a:gd name="connsiteX25" fmla="*/ 98820 w 633177"/>
                  <a:gd name="connsiteY25" fmla="*/ 1032131 h 1167553"/>
                  <a:gd name="connsiteX26" fmla="*/ 146400 w 633177"/>
                  <a:gd name="connsiteY26" fmla="*/ 1065071 h 1167553"/>
                  <a:gd name="connsiteX27" fmla="*/ 161040 w 633177"/>
                  <a:gd name="connsiteY27" fmla="*/ 1138272 h 1167553"/>
                  <a:gd name="connsiteX28" fmla="*/ 219599 w 633177"/>
                  <a:gd name="connsiteY28" fmla="*/ 1087032 h 1167553"/>
                  <a:gd name="connsiteX29" fmla="*/ 204959 w 633177"/>
                  <a:gd name="connsiteY29" fmla="*/ 1050431 h 1167553"/>
                  <a:gd name="connsiteX30" fmla="*/ 296459 w 633177"/>
                  <a:gd name="connsiteY30" fmla="*/ 1043111 h 1167553"/>
                  <a:gd name="connsiteX31" fmla="*/ 311099 w 633177"/>
                  <a:gd name="connsiteY31" fmla="*/ 1090692 h 1167553"/>
                  <a:gd name="connsiteX32" fmla="*/ 365998 w 633177"/>
                  <a:gd name="connsiteY32" fmla="*/ 1098012 h 1167553"/>
                  <a:gd name="connsiteX33" fmla="*/ 387958 w 633177"/>
                  <a:gd name="connsiteY33" fmla="*/ 1072391 h 1167553"/>
                  <a:gd name="connsiteX34" fmla="*/ 439198 w 633177"/>
                  <a:gd name="connsiteY34" fmla="*/ 1079712 h 1167553"/>
                  <a:gd name="connsiteX35" fmla="*/ 402598 w 633177"/>
                  <a:gd name="connsiteY35" fmla="*/ 1130952 h 1167553"/>
                  <a:gd name="connsiteX36" fmla="*/ 453838 w 633177"/>
                  <a:gd name="connsiteY36" fmla="*/ 1167553 h 1167553"/>
                  <a:gd name="connsiteX37" fmla="*/ 490438 w 633177"/>
                  <a:gd name="connsiteY37" fmla="*/ 1134612 h 1167553"/>
                  <a:gd name="connsiteX38" fmla="*/ 527037 w 633177"/>
                  <a:gd name="connsiteY38" fmla="*/ 1149252 h 1167553"/>
                  <a:gd name="connsiteX39" fmla="*/ 633177 w 633177"/>
                  <a:gd name="connsiteY39" fmla="*/ 1072391 h 1167553"/>
                  <a:gd name="connsiteX40" fmla="*/ 567297 w 633177"/>
                  <a:gd name="connsiteY40" fmla="*/ 936970 h 1167553"/>
                  <a:gd name="connsiteX41" fmla="*/ 527037 w 633177"/>
                  <a:gd name="connsiteY41" fmla="*/ 893049 h 1167553"/>
                  <a:gd name="connsiteX42" fmla="*/ 490438 w 633177"/>
                  <a:gd name="connsiteY42" fmla="*/ 757628 h 1167553"/>
                  <a:gd name="connsiteX43" fmla="*/ 384298 w 633177"/>
                  <a:gd name="connsiteY43" fmla="*/ 607566 h 1167553"/>
                  <a:gd name="connsiteX44" fmla="*/ 296459 w 633177"/>
                  <a:gd name="connsiteY44" fmla="*/ 549006 h 1167553"/>
                  <a:gd name="connsiteX45" fmla="*/ 259859 w 633177"/>
                  <a:gd name="connsiteY45" fmla="*/ 446525 h 1167553"/>
                  <a:gd name="connsiteX46" fmla="*/ 303779 w 633177"/>
                  <a:gd name="connsiteY46" fmla="*/ 366004 h 1167553"/>
                  <a:gd name="connsiteX47" fmla="*/ 340379 w 633177"/>
                  <a:gd name="connsiteY47" fmla="*/ 292803 h 1167553"/>
                  <a:gd name="connsiteX48" fmla="*/ 267179 w 633177"/>
                  <a:gd name="connsiteY48" fmla="*/ 234242 h 1167553"/>
                  <a:gd name="connsiteX49" fmla="*/ 285479 w 633177"/>
                  <a:gd name="connsiteY49" fmla="*/ 157381 h 1167553"/>
                  <a:gd name="connsiteX50" fmla="*/ 263519 w 633177"/>
                  <a:gd name="connsiteY50" fmla="*/ 0 h 1167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633177" h="1167553">
                    <a:moveTo>
                      <a:pt x="263519" y="0"/>
                    </a:moveTo>
                    <a:lnTo>
                      <a:pt x="212279" y="18300"/>
                    </a:lnTo>
                    <a:lnTo>
                      <a:pt x="193979" y="62220"/>
                    </a:lnTo>
                    <a:lnTo>
                      <a:pt x="219599" y="106141"/>
                    </a:lnTo>
                    <a:lnTo>
                      <a:pt x="179339" y="109801"/>
                    </a:lnTo>
                    <a:lnTo>
                      <a:pt x="157380" y="153721"/>
                    </a:lnTo>
                    <a:lnTo>
                      <a:pt x="117120" y="131761"/>
                    </a:lnTo>
                    <a:lnTo>
                      <a:pt x="32940" y="223262"/>
                    </a:lnTo>
                    <a:lnTo>
                      <a:pt x="84180" y="358684"/>
                    </a:lnTo>
                    <a:lnTo>
                      <a:pt x="32940" y="366004"/>
                    </a:lnTo>
                    <a:lnTo>
                      <a:pt x="29280" y="428224"/>
                    </a:lnTo>
                    <a:lnTo>
                      <a:pt x="51240" y="483125"/>
                    </a:lnTo>
                    <a:lnTo>
                      <a:pt x="14640" y="512405"/>
                    </a:lnTo>
                    <a:lnTo>
                      <a:pt x="95160" y="538026"/>
                    </a:lnTo>
                    <a:lnTo>
                      <a:pt x="69540" y="589266"/>
                    </a:lnTo>
                    <a:lnTo>
                      <a:pt x="47580" y="629527"/>
                    </a:lnTo>
                    <a:lnTo>
                      <a:pt x="3660" y="636847"/>
                    </a:lnTo>
                    <a:lnTo>
                      <a:pt x="0" y="691747"/>
                    </a:lnTo>
                    <a:lnTo>
                      <a:pt x="32940" y="761288"/>
                    </a:lnTo>
                    <a:lnTo>
                      <a:pt x="117120" y="794228"/>
                    </a:lnTo>
                    <a:lnTo>
                      <a:pt x="117120" y="794228"/>
                    </a:lnTo>
                    <a:lnTo>
                      <a:pt x="76860" y="834489"/>
                    </a:lnTo>
                    <a:lnTo>
                      <a:pt x="47580" y="911350"/>
                    </a:lnTo>
                    <a:lnTo>
                      <a:pt x="80520" y="962590"/>
                    </a:lnTo>
                    <a:lnTo>
                      <a:pt x="43920" y="1021151"/>
                    </a:lnTo>
                    <a:lnTo>
                      <a:pt x="98820" y="1032131"/>
                    </a:lnTo>
                    <a:lnTo>
                      <a:pt x="146400" y="1065071"/>
                    </a:lnTo>
                    <a:lnTo>
                      <a:pt x="161040" y="1138272"/>
                    </a:lnTo>
                    <a:lnTo>
                      <a:pt x="219599" y="1087032"/>
                    </a:lnTo>
                    <a:lnTo>
                      <a:pt x="204959" y="1050431"/>
                    </a:lnTo>
                    <a:lnTo>
                      <a:pt x="296459" y="1043111"/>
                    </a:lnTo>
                    <a:lnTo>
                      <a:pt x="311099" y="1090692"/>
                    </a:lnTo>
                    <a:lnTo>
                      <a:pt x="365998" y="1098012"/>
                    </a:lnTo>
                    <a:lnTo>
                      <a:pt x="387958" y="1072391"/>
                    </a:lnTo>
                    <a:lnTo>
                      <a:pt x="439198" y="1079712"/>
                    </a:lnTo>
                    <a:lnTo>
                      <a:pt x="402598" y="1130952"/>
                    </a:lnTo>
                    <a:lnTo>
                      <a:pt x="453838" y="1167553"/>
                    </a:lnTo>
                    <a:lnTo>
                      <a:pt x="490438" y="1134612"/>
                    </a:lnTo>
                    <a:lnTo>
                      <a:pt x="527037" y="1149252"/>
                    </a:lnTo>
                    <a:lnTo>
                      <a:pt x="633177" y="1072391"/>
                    </a:lnTo>
                    <a:lnTo>
                      <a:pt x="567297" y="936970"/>
                    </a:lnTo>
                    <a:lnTo>
                      <a:pt x="527037" y="893049"/>
                    </a:lnTo>
                    <a:lnTo>
                      <a:pt x="490438" y="757628"/>
                    </a:lnTo>
                    <a:lnTo>
                      <a:pt x="384298" y="607566"/>
                    </a:lnTo>
                    <a:lnTo>
                      <a:pt x="296459" y="549006"/>
                    </a:lnTo>
                    <a:lnTo>
                      <a:pt x="259859" y="446525"/>
                    </a:lnTo>
                    <a:lnTo>
                      <a:pt x="303779" y="366004"/>
                    </a:lnTo>
                    <a:lnTo>
                      <a:pt x="340379" y="292803"/>
                    </a:lnTo>
                    <a:lnTo>
                      <a:pt x="267179" y="234242"/>
                    </a:lnTo>
                    <a:lnTo>
                      <a:pt x="285479" y="157381"/>
                    </a:lnTo>
                    <a:lnTo>
                      <a:pt x="263519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9" name="Forma libre 9"/>
              <p:cNvSpPr/>
              <p:nvPr/>
            </p:nvSpPr>
            <p:spPr>
              <a:xfrm>
                <a:off x="862657" y="6122457"/>
                <a:ext cx="81572" cy="99485"/>
              </a:xfrm>
              <a:custGeom>
                <a:avLst/>
                <a:gdLst>
                  <a:gd name="connsiteX0" fmla="*/ 0 w 545337"/>
                  <a:gd name="connsiteY0" fmla="*/ 336724 h 629527"/>
                  <a:gd name="connsiteX1" fmla="*/ 182999 w 545337"/>
                  <a:gd name="connsiteY1" fmla="*/ 431885 h 629527"/>
                  <a:gd name="connsiteX2" fmla="*/ 259858 w 545337"/>
                  <a:gd name="connsiteY2" fmla="*/ 497766 h 629527"/>
                  <a:gd name="connsiteX3" fmla="*/ 237899 w 545337"/>
                  <a:gd name="connsiteY3" fmla="*/ 527046 h 629527"/>
                  <a:gd name="connsiteX4" fmla="*/ 347698 w 545337"/>
                  <a:gd name="connsiteY4" fmla="*/ 629527 h 629527"/>
                  <a:gd name="connsiteX5" fmla="*/ 420898 w 545337"/>
                  <a:gd name="connsiteY5" fmla="*/ 541686 h 629527"/>
                  <a:gd name="connsiteX6" fmla="*/ 464817 w 545337"/>
                  <a:gd name="connsiteY6" fmla="*/ 559986 h 629527"/>
                  <a:gd name="connsiteX7" fmla="*/ 464817 w 545337"/>
                  <a:gd name="connsiteY7" fmla="*/ 559986 h 629527"/>
                  <a:gd name="connsiteX8" fmla="*/ 497757 w 545337"/>
                  <a:gd name="connsiteY8" fmla="*/ 497766 h 629527"/>
                  <a:gd name="connsiteX9" fmla="*/ 545337 w 545337"/>
                  <a:gd name="connsiteY9" fmla="*/ 468485 h 629527"/>
                  <a:gd name="connsiteX10" fmla="*/ 453837 w 545337"/>
                  <a:gd name="connsiteY10" fmla="*/ 431885 h 629527"/>
                  <a:gd name="connsiteX11" fmla="*/ 409918 w 545337"/>
                  <a:gd name="connsiteY11" fmla="*/ 355024 h 629527"/>
                  <a:gd name="connsiteX12" fmla="*/ 420898 w 545337"/>
                  <a:gd name="connsiteY12" fmla="*/ 303784 h 629527"/>
                  <a:gd name="connsiteX13" fmla="*/ 472137 w 545337"/>
                  <a:gd name="connsiteY13" fmla="*/ 278163 h 629527"/>
                  <a:gd name="connsiteX14" fmla="*/ 512397 w 545337"/>
                  <a:gd name="connsiteY14" fmla="*/ 212283 h 629527"/>
                  <a:gd name="connsiteX15" fmla="*/ 446517 w 545337"/>
                  <a:gd name="connsiteY15" fmla="*/ 193982 h 629527"/>
                  <a:gd name="connsiteX16" fmla="*/ 355018 w 545337"/>
                  <a:gd name="connsiteY16" fmla="*/ 183002 h 629527"/>
                  <a:gd name="connsiteX17" fmla="*/ 355018 w 545337"/>
                  <a:gd name="connsiteY17" fmla="*/ 117122 h 629527"/>
                  <a:gd name="connsiteX18" fmla="*/ 314758 w 545337"/>
                  <a:gd name="connsiteY18" fmla="*/ 142742 h 629527"/>
                  <a:gd name="connsiteX19" fmla="*/ 252538 w 545337"/>
                  <a:gd name="connsiteY19" fmla="*/ 0 h 629527"/>
                  <a:gd name="connsiteX20" fmla="*/ 179339 w 545337"/>
                  <a:gd name="connsiteY20" fmla="*/ 157382 h 629527"/>
                  <a:gd name="connsiteX21" fmla="*/ 106139 w 545337"/>
                  <a:gd name="connsiteY21" fmla="*/ 183002 h 629527"/>
                  <a:gd name="connsiteX22" fmla="*/ 0 w 545337"/>
                  <a:gd name="connsiteY22" fmla="*/ 336724 h 629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45337" h="629527">
                    <a:moveTo>
                      <a:pt x="0" y="336724"/>
                    </a:moveTo>
                    <a:lnTo>
                      <a:pt x="182999" y="431885"/>
                    </a:lnTo>
                    <a:lnTo>
                      <a:pt x="259858" y="497766"/>
                    </a:lnTo>
                    <a:lnTo>
                      <a:pt x="237899" y="527046"/>
                    </a:lnTo>
                    <a:lnTo>
                      <a:pt x="347698" y="629527"/>
                    </a:lnTo>
                    <a:lnTo>
                      <a:pt x="420898" y="541686"/>
                    </a:lnTo>
                    <a:lnTo>
                      <a:pt x="464817" y="559986"/>
                    </a:lnTo>
                    <a:lnTo>
                      <a:pt x="464817" y="559986"/>
                    </a:lnTo>
                    <a:lnTo>
                      <a:pt x="497757" y="497766"/>
                    </a:lnTo>
                    <a:lnTo>
                      <a:pt x="545337" y="468485"/>
                    </a:lnTo>
                    <a:lnTo>
                      <a:pt x="453837" y="431885"/>
                    </a:lnTo>
                    <a:lnTo>
                      <a:pt x="409918" y="355024"/>
                    </a:lnTo>
                    <a:lnTo>
                      <a:pt x="420898" y="303784"/>
                    </a:lnTo>
                    <a:lnTo>
                      <a:pt x="472137" y="278163"/>
                    </a:lnTo>
                    <a:lnTo>
                      <a:pt x="512397" y="212283"/>
                    </a:lnTo>
                    <a:lnTo>
                      <a:pt x="446517" y="193982"/>
                    </a:lnTo>
                    <a:lnTo>
                      <a:pt x="355018" y="183002"/>
                    </a:lnTo>
                    <a:lnTo>
                      <a:pt x="355018" y="117122"/>
                    </a:lnTo>
                    <a:lnTo>
                      <a:pt x="314758" y="142742"/>
                    </a:lnTo>
                    <a:lnTo>
                      <a:pt x="252538" y="0"/>
                    </a:lnTo>
                    <a:lnTo>
                      <a:pt x="179339" y="157382"/>
                    </a:lnTo>
                    <a:lnTo>
                      <a:pt x="106139" y="183002"/>
                    </a:lnTo>
                    <a:lnTo>
                      <a:pt x="0" y="336724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0" name="Forma libre 10"/>
              <p:cNvSpPr/>
              <p:nvPr/>
            </p:nvSpPr>
            <p:spPr>
              <a:xfrm>
                <a:off x="916308" y="6210952"/>
                <a:ext cx="153837" cy="117415"/>
              </a:xfrm>
              <a:custGeom>
                <a:avLst/>
                <a:gdLst>
                  <a:gd name="connsiteX0" fmla="*/ 373318 w 1028454"/>
                  <a:gd name="connsiteY0" fmla="*/ 742989 h 742989"/>
                  <a:gd name="connsiteX1" fmla="*/ 325738 w 1028454"/>
                  <a:gd name="connsiteY1" fmla="*/ 666128 h 742989"/>
                  <a:gd name="connsiteX2" fmla="*/ 336718 w 1028454"/>
                  <a:gd name="connsiteY2" fmla="*/ 607567 h 742989"/>
                  <a:gd name="connsiteX3" fmla="*/ 256198 w 1028454"/>
                  <a:gd name="connsiteY3" fmla="*/ 549006 h 742989"/>
                  <a:gd name="connsiteX4" fmla="*/ 292798 w 1028454"/>
                  <a:gd name="connsiteY4" fmla="*/ 534366 h 742989"/>
                  <a:gd name="connsiteX5" fmla="*/ 190319 w 1028454"/>
                  <a:gd name="connsiteY5" fmla="*/ 391625 h 742989"/>
                  <a:gd name="connsiteX6" fmla="*/ 102479 w 1028454"/>
                  <a:gd name="connsiteY6" fmla="*/ 329404 h 742989"/>
                  <a:gd name="connsiteX7" fmla="*/ 54900 w 1028454"/>
                  <a:gd name="connsiteY7" fmla="*/ 259863 h 742989"/>
                  <a:gd name="connsiteX8" fmla="*/ 54900 w 1028454"/>
                  <a:gd name="connsiteY8" fmla="*/ 259863 h 742989"/>
                  <a:gd name="connsiteX9" fmla="*/ 21960 w 1028454"/>
                  <a:gd name="connsiteY9" fmla="*/ 142742 h 742989"/>
                  <a:gd name="connsiteX10" fmla="*/ 0 w 1028454"/>
                  <a:gd name="connsiteY10" fmla="*/ 80521 h 742989"/>
                  <a:gd name="connsiteX11" fmla="*/ 69539 w 1028454"/>
                  <a:gd name="connsiteY11" fmla="*/ 0 h 742989"/>
                  <a:gd name="connsiteX12" fmla="*/ 102479 w 1028454"/>
                  <a:gd name="connsiteY12" fmla="*/ 10981 h 742989"/>
                  <a:gd name="connsiteX13" fmla="*/ 142739 w 1028454"/>
                  <a:gd name="connsiteY13" fmla="*/ 76861 h 742989"/>
                  <a:gd name="connsiteX14" fmla="*/ 102479 w 1028454"/>
                  <a:gd name="connsiteY14" fmla="*/ 135422 h 742989"/>
                  <a:gd name="connsiteX15" fmla="*/ 168359 w 1028454"/>
                  <a:gd name="connsiteY15" fmla="*/ 164702 h 742989"/>
                  <a:gd name="connsiteX16" fmla="*/ 197639 w 1028454"/>
                  <a:gd name="connsiteY16" fmla="*/ 179342 h 742989"/>
                  <a:gd name="connsiteX17" fmla="*/ 234239 w 1028454"/>
                  <a:gd name="connsiteY17" fmla="*/ 274503 h 742989"/>
                  <a:gd name="connsiteX18" fmla="*/ 311098 w 1028454"/>
                  <a:gd name="connsiteY18" fmla="*/ 215943 h 742989"/>
                  <a:gd name="connsiteX19" fmla="*/ 300118 w 1028454"/>
                  <a:gd name="connsiteY19" fmla="*/ 168362 h 742989"/>
                  <a:gd name="connsiteX20" fmla="*/ 358678 w 1028454"/>
                  <a:gd name="connsiteY20" fmla="*/ 168362 h 742989"/>
                  <a:gd name="connsiteX21" fmla="*/ 376978 w 1028454"/>
                  <a:gd name="connsiteY21" fmla="*/ 219603 h 742989"/>
                  <a:gd name="connsiteX22" fmla="*/ 435537 w 1028454"/>
                  <a:gd name="connsiteY22" fmla="*/ 226923 h 742989"/>
                  <a:gd name="connsiteX23" fmla="*/ 475797 w 1028454"/>
                  <a:gd name="connsiteY23" fmla="*/ 197643 h 742989"/>
                  <a:gd name="connsiteX24" fmla="*/ 475797 w 1028454"/>
                  <a:gd name="connsiteY24" fmla="*/ 197643 h 742989"/>
                  <a:gd name="connsiteX25" fmla="*/ 472137 w 1028454"/>
                  <a:gd name="connsiteY25" fmla="*/ 259863 h 742989"/>
                  <a:gd name="connsiteX26" fmla="*/ 527037 w 1028454"/>
                  <a:gd name="connsiteY26" fmla="*/ 303784 h 742989"/>
                  <a:gd name="connsiteX27" fmla="*/ 578277 w 1028454"/>
                  <a:gd name="connsiteY27" fmla="*/ 270843 h 742989"/>
                  <a:gd name="connsiteX28" fmla="*/ 622196 w 1028454"/>
                  <a:gd name="connsiteY28" fmla="*/ 270843 h 742989"/>
                  <a:gd name="connsiteX29" fmla="*/ 728336 w 1028454"/>
                  <a:gd name="connsiteY29" fmla="*/ 183002 h 742989"/>
                  <a:gd name="connsiteX30" fmla="*/ 629516 w 1028454"/>
                  <a:gd name="connsiteY30" fmla="*/ 3660 h 742989"/>
                  <a:gd name="connsiteX31" fmla="*/ 717356 w 1028454"/>
                  <a:gd name="connsiteY31" fmla="*/ 0 h 742989"/>
                  <a:gd name="connsiteX32" fmla="*/ 761276 w 1028454"/>
                  <a:gd name="connsiteY32" fmla="*/ 76861 h 742989"/>
                  <a:gd name="connsiteX33" fmla="*/ 761276 w 1028454"/>
                  <a:gd name="connsiteY33" fmla="*/ 168362 h 742989"/>
                  <a:gd name="connsiteX34" fmla="*/ 801535 w 1028454"/>
                  <a:gd name="connsiteY34" fmla="*/ 230583 h 742989"/>
                  <a:gd name="connsiteX35" fmla="*/ 823495 w 1028454"/>
                  <a:gd name="connsiteY35" fmla="*/ 296464 h 742989"/>
                  <a:gd name="connsiteX36" fmla="*/ 845455 w 1028454"/>
                  <a:gd name="connsiteY36" fmla="*/ 409925 h 742989"/>
                  <a:gd name="connsiteX37" fmla="*/ 925975 w 1028454"/>
                  <a:gd name="connsiteY37" fmla="*/ 391625 h 742989"/>
                  <a:gd name="connsiteX38" fmla="*/ 988194 w 1028454"/>
                  <a:gd name="connsiteY38" fmla="*/ 406265 h 742989"/>
                  <a:gd name="connsiteX39" fmla="*/ 1028454 w 1028454"/>
                  <a:gd name="connsiteY39" fmla="*/ 450185 h 742989"/>
                  <a:gd name="connsiteX40" fmla="*/ 1021134 w 1028454"/>
                  <a:gd name="connsiteY40" fmla="*/ 501426 h 742989"/>
                  <a:gd name="connsiteX41" fmla="*/ 951594 w 1028454"/>
                  <a:gd name="connsiteY41" fmla="*/ 541686 h 742989"/>
                  <a:gd name="connsiteX42" fmla="*/ 863755 w 1028454"/>
                  <a:gd name="connsiteY42" fmla="*/ 574627 h 742989"/>
                  <a:gd name="connsiteX43" fmla="*/ 724676 w 1028454"/>
                  <a:gd name="connsiteY43" fmla="*/ 406265 h 742989"/>
                  <a:gd name="connsiteX44" fmla="*/ 658796 w 1028454"/>
                  <a:gd name="connsiteY44" fmla="*/ 409925 h 742989"/>
                  <a:gd name="connsiteX45" fmla="*/ 625856 w 1028454"/>
                  <a:gd name="connsiteY45" fmla="*/ 472146 h 742989"/>
                  <a:gd name="connsiteX46" fmla="*/ 556317 w 1028454"/>
                  <a:gd name="connsiteY46" fmla="*/ 505086 h 742989"/>
                  <a:gd name="connsiteX47" fmla="*/ 530697 w 1028454"/>
                  <a:gd name="connsiteY47" fmla="*/ 625867 h 742989"/>
                  <a:gd name="connsiteX48" fmla="*/ 464817 w 1028454"/>
                  <a:gd name="connsiteY48" fmla="*/ 629527 h 742989"/>
                  <a:gd name="connsiteX49" fmla="*/ 413578 w 1028454"/>
                  <a:gd name="connsiteY49" fmla="*/ 673448 h 742989"/>
                  <a:gd name="connsiteX50" fmla="*/ 373318 w 1028454"/>
                  <a:gd name="connsiteY50" fmla="*/ 742989 h 742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028454" h="742989">
                    <a:moveTo>
                      <a:pt x="373318" y="742989"/>
                    </a:moveTo>
                    <a:lnTo>
                      <a:pt x="325738" y="666128"/>
                    </a:lnTo>
                    <a:lnTo>
                      <a:pt x="336718" y="607567"/>
                    </a:lnTo>
                    <a:lnTo>
                      <a:pt x="256198" y="549006"/>
                    </a:lnTo>
                    <a:lnTo>
                      <a:pt x="292798" y="534366"/>
                    </a:lnTo>
                    <a:lnTo>
                      <a:pt x="190319" y="391625"/>
                    </a:lnTo>
                    <a:lnTo>
                      <a:pt x="102479" y="329404"/>
                    </a:lnTo>
                    <a:lnTo>
                      <a:pt x="54900" y="259863"/>
                    </a:lnTo>
                    <a:lnTo>
                      <a:pt x="54900" y="259863"/>
                    </a:lnTo>
                    <a:lnTo>
                      <a:pt x="21960" y="142742"/>
                    </a:lnTo>
                    <a:lnTo>
                      <a:pt x="0" y="80521"/>
                    </a:lnTo>
                    <a:lnTo>
                      <a:pt x="69539" y="0"/>
                    </a:lnTo>
                    <a:lnTo>
                      <a:pt x="102479" y="10981"/>
                    </a:lnTo>
                    <a:lnTo>
                      <a:pt x="142739" y="76861"/>
                    </a:lnTo>
                    <a:lnTo>
                      <a:pt x="102479" y="135422"/>
                    </a:lnTo>
                    <a:lnTo>
                      <a:pt x="168359" y="164702"/>
                    </a:lnTo>
                    <a:lnTo>
                      <a:pt x="197639" y="179342"/>
                    </a:lnTo>
                    <a:lnTo>
                      <a:pt x="234239" y="274503"/>
                    </a:lnTo>
                    <a:lnTo>
                      <a:pt x="311098" y="215943"/>
                    </a:lnTo>
                    <a:lnTo>
                      <a:pt x="300118" y="168362"/>
                    </a:lnTo>
                    <a:lnTo>
                      <a:pt x="358678" y="168362"/>
                    </a:lnTo>
                    <a:lnTo>
                      <a:pt x="376978" y="219603"/>
                    </a:lnTo>
                    <a:lnTo>
                      <a:pt x="435537" y="226923"/>
                    </a:lnTo>
                    <a:lnTo>
                      <a:pt x="475797" y="197643"/>
                    </a:lnTo>
                    <a:lnTo>
                      <a:pt x="475797" y="197643"/>
                    </a:lnTo>
                    <a:lnTo>
                      <a:pt x="472137" y="259863"/>
                    </a:lnTo>
                    <a:lnTo>
                      <a:pt x="527037" y="303784"/>
                    </a:lnTo>
                    <a:lnTo>
                      <a:pt x="578277" y="270843"/>
                    </a:lnTo>
                    <a:lnTo>
                      <a:pt x="622196" y="270843"/>
                    </a:lnTo>
                    <a:lnTo>
                      <a:pt x="728336" y="183002"/>
                    </a:lnTo>
                    <a:lnTo>
                      <a:pt x="629516" y="3660"/>
                    </a:lnTo>
                    <a:lnTo>
                      <a:pt x="717356" y="0"/>
                    </a:lnTo>
                    <a:lnTo>
                      <a:pt x="761276" y="76861"/>
                    </a:lnTo>
                    <a:lnTo>
                      <a:pt x="761276" y="168362"/>
                    </a:lnTo>
                    <a:lnTo>
                      <a:pt x="801535" y="230583"/>
                    </a:lnTo>
                    <a:lnTo>
                      <a:pt x="823495" y="296464"/>
                    </a:lnTo>
                    <a:lnTo>
                      <a:pt x="845455" y="409925"/>
                    </a:lnTo>
                    <a:lnTo>
                      <a:pt x="925975" y="391625"/>
                    </a:lnTo>
                    <a:lnTo>
                      <a:pt x="988194" y="406265"/>
                    </a:lnTo>
                    <a:lnTo>
                      <a:pt x="1028454" y="450185"/>
                    </a:lnTo>
                    <a:lnTo>
                      <a:pt x="1021134" y="501426"/>
                    </a:lnTo>
                    <a:lnTo>
                      <a:pt x="951594" y="541686"/>
                    </a:lnTo>
                    <a:lnTo>
                      <a:pt x="863755" y="574627"/>
                    </a:lnTo>
                    <a:lnTo>
                      <a:pt x="724676" y="406265"/>
                    </a:lnTo>
                    <a:lnTo>
                      <a:pt x="658796" y="409925"/>
                    </a:lnTo>
                    <a:lnTo>
                      <a:pt x="625856" y="472146"/>
                    </a:lnTo>
                    <a:lnTo>
                      <a:pt x="556317" y="505086"/>
                    </a:lnTo>
                    <a:lnTo>
                      <a:pt x="530697" y="625867"/>
                    </a:lnTo>
                    <a:lnTo>
                      <a:pt x="464817" y="629527"/>
                    </a:lnTo>
                    <a:lnTo>
                      <a:pt x="413578" y="673448"/>
                    </a:lnTo>
                    <a:lnTo>
                      <a:pt x="373318" y="742989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1" name="Forma libre 11"/>
              <p:cNvSpPr/>
              <p:nvPr/>
            </p:nvSpPr>
            <p:spPr>
              <a:xfrm>
                <a:off x="1022516" y="6119565"/>
                <a:ext cx="127012" cy="198969"/>
              </a:xfrm>
              <a:custGeom>
                <a:avLst/>
                <a:gdLst>
                  <a:gd name="connsiteX0" fmla="*/ 3660 w 849115"/>
                  <a:gd name="connsiteY0" fmla="*/ 0 h 1259054"/>
                  <a:gd name="connsiteX1" fmla="*/ 65879 w 849115"/>
                  <a:gd name="connsiteY1" fmla="*/ 14640 h 1259054"/>
                  <a:gd name="connsiteX2" fmla="*/ 106139 w 849115"/>
                  <a:gd name="connsiteY2" fmla="*/ 62221 h 1259054"/>
                  <a:gd name="connsiteX3" fmla="*/ 344038 w 849115"/>
                  <a:gd name="connsiteY3" fmla="*/ 128102 h 1259054"/>
                  <a:gd name="connsiteX4" fmla="*/ 380638 w 849115"/>
                  <a:gd name="connsiteY4" fmla="*/ 226923 h 1259054"/>
                  <a:gd name="connsiteX5" fmla="*/ 453837 w 849115"/>
                  <a:gd name="connsiteY5" fmla="*/ 234243 h 1259054"/>
                  <a:gd name="connsiteX6" fmla="*/ 501417 w 849115"/>
                  <a:gd name="connsiteY6" fmla="*/ 215942 h 1259054"/>
                  <a:gd name="connsiteX7" fmla="*/ 592916 w 849115"/>
                  <a:gd name="connsiteY7" fmla="*/ 292803 h 1259054"/>
                  <a:gd name="connsiteX8" fmla="*/ 658796 w 849115"/>
                  <a:gd name="connsiteY8" fmla="*/ 263523 h 1259054"/>
                  <a:gd name="connsiteX9" fmla="*/ 761275 w 849115"/>
                  <a:gd name="connsiteY9" fmla="*/ 263523 h 1259054"/>
                  <a:gd name="connsiteX10" fmla="*/ 812515 w 849115"/>
                  <a:gd name="connsiteY10" fmla="*/ 219603 h 1259054"/>
                  <a:gd name="connsiteX11" fmla="*/ 849115 w 849115"/>
                  <a:gd name="connsiteY11" fmla="*/ 289143 h 1259054"/>
                  <a:gd name="connsiteX12" fmla="*/ 805195 w 849115"/>
                  <a:gd name="connsiteY12" fmla="*/ 322084 h 1259054"/>
                  <a:gd name="connsiteX13" fmla="*/ 830815 w 849115"/>
                  <a:gd name="connsiteY13" fmla="*/ 486785 h 1259054"/>
                  <a:gd name="connsiteX14" fmla="*/ 746636 w 849115"/>
                  <a:gd name="connsiteY14" fmla="*/ 519726 h 1259054"/>
                  <a:gd name="connsiteX15" fmla="*/ 684416 w 849115"/>
                  <a:gd name="connsiteY15" fmla="*/ 472145 h 1259054"/>
                  <a:gd name="connsiteX16" fmla="*/ 581936 w 849115"/>
                  <a:gd name="connsiteY16" fmla="*/ 490445 h 1259054"/>
                  <a:gd name="connsiteX17" fmla="*/ 636836 w 849115"/>
                  <a:gd name="connsiteY17" fmla="*/ 556326 h 1259054"/>
                  <a:gd name="connsiteX18" fmla="*/ 611216 w 849115"/>
                  <a:gd name="connsiteY18" fmla="*/ 647827 h 1259054"/>
                  <a:gd name="connsiteX19" fmla="*/ 567297 w 849115"/>
                  <a:gd name="connsiteY19" fmla="*/ 677108 h 1259054"/>
                  <a:gd name="connsiteX20" fmla="*/ 548997 w 849115"/>
                  <a:gd name="connsiteY20" fmla="*/ 746648 h 1259054"/>
                  <a:gd name="connsiteX21" fmla="*/ 600236 w 849115"/>
                  <a:gd name="connsiteY21" fmla="*/ 801549 h 1259054"/>
                  <a:gd name="connsiteX22" fmla="*/ 607556 w 849115"/>
                  <a:gd name="connsiteY22" fmla="*/ 856450 h 1259054"/>
                  <a:gd name="connsiteX23" fmla="*/ 647816 w 849115"/>
                  <a:gd name="connsiteY23" fmla="*/ 936970 h 1259054"/>
                  <a:gd name="connsiteX24" fmla="*/ 699056 w 849115"/>
                  <a:gd name="connsiteY24" fmla="*/ 944290 h 1259054"/>
                  <a:gd name="connsiteX25" fmla="*/ 662456 w 849115"/>
                  <a:gd name="connsiteY25" fmla="*/ 991871 h 1259054"/>
                  <a:gd name="connsiteX26" fmla="*/ 680756 w 849115"/>
                  <a:gd name="connsiteY26" fmla="*/ 1076052 h 1259054"/>
                  <a:gd name="connsiteX27" fmla="*/ 625856 w 849115"/>
                  <a:gd name="connsiteY27" fmla="*/ 1083372 h 1259054"/>
                  <a:gd name="connsiteX28" fmla="*/ 611216 w 849115"/>
                  <a:gd name="connsiteY28" fmla="*/ 1215133 h 1259054"/>
                  <a:gd name="connsiteX29" fmla="*/ 563637 w 849115"/>
                  <a:gd name="connsiteY29" fmla="*/ 1259054 h 1259054"/>
                  <a:gd name="connsiteX30" fmla="*/ 530697 w 849115"/>
                  <a:gd name="connsiteY30" fmla="*/ 1112652 h 1259054"/>
                  <a:gd name="connsiteX31" fmla="*/ 483117 w 849115"/>
                  <a:gd name="connsiteY31" fmla="*/ 1127292 h 1259054"/>
                  <a:gd name="connsiteX32" fmla="*/ 475797 w 849115"/>
                  <a:gd name="connsiteY32" fmla="*/ 1174873 h 1259054"/>
                  <a:gd name="connsiteX33" fmla="*/ 442857 w 849115"/>
                  <a:gd name="connsiteY33" fmla="*/ 1141933 h 1259054"/>
                  <a:gd name="connsiteX34" fmla="*/ 325738 w 849115"/>
                  <a:gd name="connsiteY34" fmla="*/ 1152913 h 1259054"/>
                  <a:gd name="connsiteX35" fmla="*/ 325738 w 849115"/>
                  <a:gd name="connsiteY35" fmla="*/ 1152913 h 1259054"/>
                  <a:gd name="connsiteX36" fmla="*/ 256198 w 849115"/>
                  <a:gd name="connsiteY36" fmla="*/ 1163893 h 1259054"/>
                  <a:gd name="connsiteX37" fmla="*/ 230578 w 849115"/>
                  <a:gd name="connsiteY37" fmla="*/ 1134613 h 1259054"/>
                  <a:gd name="connsiteX38" fmla="*/ 314758 w 849115"/>
                  <a:gd name="connsiteY38" fmla="*/ 1105332 h 1259054"/>
                  <a:gd name="connsiteX39" fmla="*/ 322078 w 849115"/>
                  <a:gd name="connsiteY39" fmla="*/ 1028471 h 1259054"/>
                  <a:gd name="connsiteX40" fmla="*/ 292798 w 849115"/>
                  <a:gd name="connsiteY40" fmla="*/ 977231 h 1259054"/>
                  <a:gd name="connsiteX41" fmla="*/ 212279 w 849115"/>
                  <a:gd name="connsiteY41" fmla="*/ 955271 h 1259054"/>
                  <a:gd name="connsiteX42" fmla="*/ 135419 w 849115"/>
                  <a:gd name="connsiteY42" fmla="*/ 966251 h 1259054"/>
                  <a:gd name="connsiteX43" fmla="*/ 117119 w 849115"/>
                  <a:gd name="connsiteY43" fmla="*/ 823509 h 1259054"/>
                  <a:gd name="connsiteX44" fmla="*/ 62219 w 849115"/>
                  <a:gd name="connsiteY44" fmla="*/ 732008 h 1259054"/>
                  <a:gd name="connsiteX45" fmla="*/ 65879 w 849115"/>
                  <a:gd name="connsiteY45" fmla="*/ 644167 h 1259054"/>
                  <a:gd name="connsiteX46" fmla="*/ 14640 w 849115"/>
                  <a:gd name="connsiteY46" fmla="*/ 559986 h 1259054"/>
                  <a:gd name="connsiteX47" fmla="*/ 18300 w 849115"/>
                  <a:gd name="connsiteY47" fmla="*/ 475805 h 1259054"/>
                  <a:gd name="connsiteX48" fmla="*/ 54899 w 849115"/>
                  <a:gd name="connsiteY48" fmla="*/ 461165 h 1259054"/>
                  <a:gd name="connsiteX49" fmla="*/ 150059 w 849115"/>
                  <a:gd name="connsiteY49" fmla="*/ 497766 h 1259054"/>
                  <a:gd name="connsiteX50" fmla="*/ 157379 w 849115"/>
                  <a:gd name="connsiteY50" fmla="*/ 424565 h 1259054"/>
                  <a:gd name="connsiteX51" fmla="*/ 201299 w 849115"/>
                  <a:gd name="connsiteY51" fmla="*/ 340384 h 1259054"/>
                  <a:gd name="connsiteX52" fmla="*/ 278158 w 849115"/>
                  <a:gd name="connsiteY52" fmla="*/ 333064 h 1259054"/>
                  <a:gd name="connsiteX53" fmla="*/ 146399 w 849115"/>
                  <a:gd name="connsiteY53" fmla="*/ 212282 h 1259054"/>
                  <a:gd name="connsiteX54" fmla="*/ 54899 w 849115"/>
                  <a:gd name="connsiteY54" fmla="*/ 201302 h 1259054"/>
                  <a:gd name="connsiteX55" fmla="*/ 0 w 849115"/>
                  <a:gd name="connsiteY55" fmla="*/ 128102 h 1259054"/>
                  <a:gd name="connsiteX56" fmla="*/ 3660 w 849115"/>
                  <a:gd name="connsiteY56" fmla="*/ 0 h 1259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849115" h="1259054">
                    <a:moveTo>
                      <a:pt x="3660" y="0"/>
                    </a:moveTo>
                    <a:lnTo>
                      <a:pt x="65879" y="14640"/>
                    </a:lnTo>
                    <a:lnTo>
                      <a:pt x="106139" y="62221"/>
                    </a:lnTo>
                    <a:lnTo>
                      <a:pt x="344038" y="128102"/>
                    </a:lnTo>
                    <a:lnTo>
                      <a:pt x="380638" y="226923"/>
                    </a:lnTo>
                    <a:lnTo>
                      <a:pt x="453837" y="234243"/>
                    </a:lnTo>
                    <a:lnTo>
                      <a:pt x="501417" y="215942"/>
                    </a:lnTo>
                    <a:lnTo>
                      <a:pt x="592916" y="292803"/>
                    </a:lnTo>
                    <a:lnTo>
                      <a:pt x="658796" y="263523"/>
                    </a:lnTo>
                    <a:lnTo>
                      <a:pt x="761275" y="263523"/>
                    </a:lnTo>
                    <a:lnTo>
                      <a:pt x="812515" y="219603"/>
                    </a:lnTo>
                    <a:lnTo>
                      <a:pt x="849115" y="289143"/>
                    </a:lnTo>
                    <a:lnTo>
                      <a:pt x="805195" y="322084"/>
                    </a:lnTo>
                    <a:lnTo>
                      <a:pt x="830815" y="486785"/>
                    </a:lnTo>
                    <a:lnTo>
                      <a:pt x="746636" y="519726"/>
                    </a:lnTo>
                    <a:lnTo>
                      <a:pt x="684416" y="472145"/>
                    </a:lnTo>
                    <a:lnTo>
                      <a:pt x="581936" y="490445"/>
                    </a:lnTo>
                    <a:lnTo>
                      <a:pt x="636836" y="556326"/>
                    </a:lnTo>
                    <a:lnTo>
                      <a:pt x="611216" y="647827"/>
                    </a:lnTo>
                    <a:lnTo>
                      <a:pt x="567297" y="677108"/>
                    </a:lnTo>
                    <a:lnTo>
                      <a:pt x="548997" y="746648"/>
                    </a:lnTo>
                    <a:lnTo>
                      <a:pt x="600236" y="801549"/>
                    </a:lnTo>
                    <a:lnTo>
                      <a:pt x="607556" y="856450"/>
                    </a:lnTo>
                    <a:lnTo>
                      <a:pt x="647816" y="936970"/>
                    </a:lnTo>
                    <a:lnTo>
                      <a:pt x="699056" y="944290"/>
                    </a:lnTo>
                    <a:lnTo>
                      <a:pt x="662456" y="991871"/>
                    </a:lnTo>
                    <a:lnTo>
                      <a:pt x="680756" y="1076052"/>
                    </a:lnTo>
                    <a:lnTo>
                      <a:pt x="625856" y="1083372"/>
                    </a:lnTo>
                    <a:lnTo>
                      <a:pt x="611216" y="1215133"/>
                    </a:lnTo>
                    <a:lnTo>
                      <a:pt x="563637" y="1259054"/>
                    </a:lnTo>
                    <a:lnTo>
                      <a:pt x="530697" y="1112652"/>
                    </a:lnTo>
                    <a:lnTo>
                      <a:pt x="483117" y="1127292"/>
                    </a:lnTo>
                    <a:lnTo>
                      <a:pt x="475797" y="1174873"/>
                    </a:lnTo>
                    <a:lnTo>
                      <a:pt x="442857" y="1141933"/>
                    </a:lnTo>
                    <a:lnTo>
                      <a:pt x="325738" y="1152913"/>
                    </a:lnTo>
                    <a:lnTo>
                      <a:pt x="325738" y="1152913"/>
                    </a:lnTo>
                    <a:lnTo>
                      <a:pt x="256198" y="1163893"/>
                    </a:lnTo>
                    <a:lnTo>
                      <a:pt x="230578" y="1134613"/>
                    </a:lnTo>
                    <a:lnTo>
                      <a:pt x="314758" y="1105332"/>
                    </a:lnTo>
                    <a:lnTo>
                      <a:pt x="322078" y="1028471"/>
                    </a:lnTo>
                    <a:lnTo>
                      <a:pt x="292798" y="977231"/>
                    </a:lnTo>
                    <a:lnTo>
                      <a:pt x="212279" y="955271"/>
                    </a:lnTo>
                    <a:lnTo>
                      <a:pt x="135419" y="966251"/>
                    </a:lnTo>
                    <a:lnTo>
                      <a:pt x="117119" y="823509"/>
                    </a:lnTo>
                    <a:lnTo>
                      <a:pt x="62219" y="732008"/>
                    </a:lnTo>
                    <a:lnTo>
                      <a:pt x="65879" y="644167"/>
                    </a:lnTo>
                    <a:lnTo>
                      <a:pt x="14640" y="559986"/>
                    </a:lnTo>
                    <a:lnTo>
                      <a:pt x="18300" y="475805"/>
                    </a:lnTo>
                    <a:lnTo>
                      <a:pt x="54899" y="461165"/>
                    </a:lnTo>
                    <a:lnTo>
                      <a:pt x="150059" y="497766"/>
                    </a:lnTo>
                    <a:lnTo>
                      <a:pt x="157379" y="424565"/>
                    </a:lnTo>
                    <a:lnTo>
                      <a:pt x="201299" y="340384"/>
                    </a:lnTo>
                    <a:lnTo>
                      <a:pt x="278158" y="333064"/>
                    </a:lnTo>
                    <a:lnTo>
                      <a:pt x="146399" y="212282"/>
                    </a:lnTo>
                    <a:lnTo>
                      <a:pt x="54899" y="201302"/>
                    </a:lnTo>
                    <a:lnTo>
                      <a:pt x="0" y="128102"/>
                    </a:lnTo>
                    <a:lnTo>
                      <a:pt x="3660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2" name="Forma libre 12"/>
              <p:cNvSpPr/>
              <p:nvPr/>
            </p:nvSpPr>
            <p:spPr>
              <a:xfrm>
                <a:off x="971972" y="6276059"/>
                <a:ext cx="108514" cy="158734"/>
              </a:xfrm>
              <a:custGeom>
                <a:avLst/>
                <a:gdLst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32940 w 713696"/>
                  <a:gd name="connsiteY8" fmla="*/ 281823 h 988211"/>
                  <a:gd name="connsiteX9" fmla="*/ 87839 w 713696"/>
                  <a:gd name="connsiteY9" fmla="*/ 219603 h 988211"/>
                  <a:gd name="connsiteX10" fmla="*/ 172019 w 713696"/>
                  <a:gd name="connsiteY10" fmla="*/ 215943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32940 w 713696"/>
                  <a:gd name="connsiteY8" fmla="*/ 281823 h 988211"/>
                  <a:gd name="connsiteX9" fmla="*/ 87839 w 713696"/>
                  <a:gd name="connsiteY9" fmla="*/ 219603 h 988211"/>
                  <a:gd name="connsiteX10" fmla="*/ 162275 w 713696"/>
                  <a:gd name="connsiteY10" fmla="*/ 206199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32940 w 713696"/>
                  <a:gd name="connsiteY8" fmla="*/ 281823 h 988211"/>
                  <a:gd name="connsiteX9" fmla="*/ 81343 w 713696"/>
                  <a:gd name="connsiteY9" fmla="*/ 206610 h 988211"/>
                  <a:gd name="connsiteX10" fmla="*/ 162275 w 713696"/>
                  <a:gd name="connsiteY10" fmla="*/ 206199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23196 w 713696"/>
                  <a:gd name="connsiteY8" fmla="*/ 272078 h 988211"/>
                  <a:gd name="connsiteX9" fmla="*/ 81343 w 713696"/>
                  <a:gd name="connsiteY9" fmla="*/ 206610 h 988211"/>
                  <a:gd name="connsiteX10" fmla="*/ 162275 w 713696"/>
                  <a:gd name="connsiteY10" fmla="*/ 206199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01424 w 722204"/>
                  <a:gd name="connsiteY24" fmla="*/ 559986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400125 w 722204"/>
                  <a:gd name="connsiteY37" fmla="*/ 834489 h 988211"/>
                  <a:gd name="connsiteX38" fmla="*/ 330586 w 722204"/>
                  <a:gd name="connsiteY38" fmla="*/ 819849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01424 w 722204"/>
                  <a:gd name="connsiteY24" fmla="*/ 559986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400125 w 722204"/>
                  <a:gd name="connsiteY37" fmla="*/ 834489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01424 w 722204"/>
                  <a:gd name="connsiteY24" fmla="*/ 559986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14416 w 722204"/>
                  <a:gd name="connsiteY24" fmla="*/ 572978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14416 w 722204"/>
                  <a:gd name="connsiteY24" fmla="*/ 572978 h 988211"/>
                  <a:gd name="connsiteX25" fmla="*/ 616064 w 722204"/>
                  <a:gd name="connsiteY25" fmla="*/ 611227 h 988211"/>
                  <a:gd name="connsiteX26" fmla="*/ 658337 w 722204"/>
                  <a:gd name="connsiteY26" fmla="*/ 632728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14416 w 722204"/>
                  <a:gd name="connsiteY24" fmla="*/ 572978 h 988211"/>
                  <a:gd name="connsiteX25" fmla="*/ 635552 w 722204"/>
                  <a:gd name="connsiteY25" fmla="*/ 598234 h 988211"/>
                  <a:gd name="connsiteX26" fmla="*/ 658337 w 722204"/>
                  <a:gd name="connsiteY26" fmla="*/ 632728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35196"/>
                  <a:gd name="connsiteY0" fmla="*/ 925990 h 988211"/>
                  <a:gd name="connsiteX1" fmla="*/ 198827 w 735196"/>
                  <a:gd name="connsiteY1" fmla="*/ 779589 h 988211"/>
                  <a:gd name="connsiteX2" fmla="*/ 143927 w 735196"/>
                  <a:gd name="connsiteY2" fmla="*/ 640507 h 988211"/>
                  <a:gd name="connsiteX3" fmla="*/ 143927 w 735196"/>
                  <a:gd name="connsiteY3" fmla="*/ 640507 h 988211"/>
                  <a:gd name="connsiteX4" fmla="*/ 125627 w 735196"/>
                  <a:gd name="connsiteY4" fmla="*/ 592927 h 988211"/>
                  <a:gd name="connsiteX5" fmla="*/ 48767 w 735196"/>
                  <a:gd name="connsiteY5" fmla="*/ 391624 h 988211"/>
                  <a:gd name="connsiteX6" fmla="*/ 8508 w 735196"/>
                  <a:gd name="connsiteY6" fmla="*/ 398945 h 988211"/>
                  <a:gd name="connsiteX7" fmla="*/ 0 w 735196"/>
                  <a:gd name="connsiteY7" fmla="*/ 318471 h 988211"/>
                  <a:gd name="connsiteX8" fmla="*/ 31704 w 735196"/>
                  <a:gd name="connsiteY8" fmla="*/ 272078 h 988211"/>
                  <a:gd name="connsiteX9" fmla="*/ 89851 w 735196"/>
                  <a:gd name="connsiteY9" fmla="*/ 206610 h 988211"/>
                  <a:gd name="connsiteX10" fmla="*/ 170783 w 735196"/>
                  <a:gd name="connsiteY10" fmla="*/ 206199 h 988211"/>
                  <a:gd name="connsiteX11" fmla="*/ 198827 w 735196"/>
                  <a:gd name="connsiteY11" fmla="*/ 102481 h 988211"/>
                  <a:gd name="connsiteX12" fmla="*/ 268366 w 735196"/>
                  <a:gd name="connsiteY12" fmla="*/ 58561 h 988211"/>
                  <a:gd name="connsiteX13" fmla="*/ 301306 w 735196"/>
                  <a:gd name="connsiteY13" fmla="*/ 0 h 988211"/>
                  <a:gd name="connsiteX14" fmla="*/ 341566 w 735196"/>
                  <a:gd name="connsiteY14" fmla="*/ 0 h 988211"/>
                  <a:gd name="connsiteX15" fmla="*/ 491625 w 735196"/>
                  <a:gd name="connsiteY15" fmla="*/ 164702 h 988211"/>
                  <a:gd name="connsiteX16" fmla="*/ 561165 w 735196"/>
                  <a:gd name="connsiteY16" fmla="*/ 307444 h 988211"/>
                  <a:gd name="connsiteX17" fmla="*/ 692924 w 735196"/>
                  <a:gd name="connsiteY17" fmla="*/ 391624 h 988211"/>
                  <a:gd name="connsiteX18" fmla="*/ 735196 w 735196"/>
                  <a:gd name="connsiteY18" fmla="*/ 422964 h 988211"/>
                  <a:gd name="connsiteX19" fmla="*/ 711224 w 735196"/>
                  <a:gd name="connsiteY19" fmla="*/ 475805 h 988211"/>
                  <a:gd name="connsiteX20" fmla="*/ 667304 w 735196"/>
                  <a:gd name="connsiteY20" fmla="*/ 424565 h 988211"/>
                  <a:gd name="connsiteX21" fmla="*/ 627044 w 735196"/>
                  <a:gd name="connsiteY21" fmla="*/ 490446 h 988211"/>
                  <a:gd name="connsiteX22" fmla="*/ 627044 w 735196"/>
                  <a:gd name="connsiteY22" fmla="*/ 490446 h 988211"/>
                  <a:gd name="connsiteX23" fmla="*/ 641684 w 735196"/>
                  <a:gd name="connsiteY23" fmla="*/ 545346 h 988211"/>
                  <a:gd name="connsiteX24" fmla="*/ 614416 w 735196"/>
                  <a:gd name="connsiteY24" fmla="*/ 572978 h 988211"/>
                  <a:gd name="connsiteX25" fmla="*/ 635552 w 735196"/>
                  <a:gd name="connsiteY25" fmla="*/ 598234 h 988211"/>
                  <a:gd name="connsiteX26" fmla="*/ 658337 w 735196"/>
                  <a:gd name="connsiteY26" fmla="*/ 632728 h 988211"/>
                  <a:gd name="connsiteX27" fmla="*/ 696584 w 735196"/>
                  <a:gd name="connsiteY27" fmla="*/ 728348 h 988211"/>
                  <a:gd name="connsiteX28" fmla="*/ 641684 w 735196"/>
                  <a:gd name="connsiteY28" fmla="*/ 746648 h 988211"/>
                  <a:gd name="connsiteX29" fmla="*/ 641684 w 735196"/>
                  <a:gd name="connsiteY29" fmla="*/ 808869 h 988211"/>
                  <a:gd name="connsiteX30" fmla="*/ 583124 w 735196"/>
                  <a:gd name="connsiteY30" fmla="*/ 827169 h 988211"/>
                  <a:gd name="connsiteX31" fmla="*/ 535545 w 735196"/>
                  <a:gd name="connsiteY31" fmla="*/ 904030 h 988211"/>
                  <a:gd name="connsiteX32" fmla="*/ 535545 w 735196"/>
                  <a:gd name="connsiteY32" fmla="*/ 904030 h 988211"/>
                  <a:gd name="connsiteX33" fmla="*/ 455025 w 735196"/>
                  <a:gd name="connsiteY33" fmla="*/ 973571 h 988211"/>
                  <a:gd name="connsiteX34" fmla="*/ 389146 w 735196"/>
                  <a:gd name="connsiteY34" fmla="*/ 988211 h 988211"/>
                  <a:gd name="connsiteX35" fmla="*/ 400125 w 735196"/>
                  <a:gd name="connsiteY35" fmla="*/ 925990 h 988211"/>
                  <a:gd name="connsiteX36" fmla="*/ 356206 w 735196"/>
                  <a:gd name="connsiteY36" fmla="*/ 904030 h 988211"/>
                  <a:gd name="connsiteX37" fmla="*/ 374140 w 735196"/>
                  <a:gd name="connsiteY37" fmla="*/ 847482 h 988211"/>
                  <a:gd name="connsiteX38" fmla="*/ 327338 w 735196"/>
                  <a:gd name="connsiteY38" fmla="*/ 849082 h 988211"/>
                  <a:gd name="connsiteX39" fmla="*/ 275686 w 735196"/>
                  <a:gd name="connsiteY39" fmla="*/ 925990 h 988211"/>
                  <a:gd name="connsiteX0" fmla="*/ 275686 w 735196"/>
                  <a:gd name="connsiteY0" fmla="*/ 925990 h 988211"/>
                  <a:gd name="connsiteX1" fmla="*/ 198827 w 735196"/>
                  <a:gd name="connsiteY1" fmla="*/ 779589 h 988211"/>
                  <a:gd name="connsiteX2" fmla="*/ 143927 w 735196"/>
                  <a:gd name="connsiteY2" fmla="*/ 640507 h 988211"/>
                  <a:gd name="connsiteX3" fmla="*/ 143927 w 735196"/>
                  <a:gd name="connsiteY3" fmla="*/ 640507 h 988211"/>
                  <a:gd name="connsiteX4" fmla="*/ 125627 w 735196"/>
                  <a:gd name="connsiteY4" fmla="*/ 592927 h 988211"/>
                  <a:gd name="connsiteX5" fmla="*/ 48767 w 735196"/>
                  <a:gd name="connsiteY5" fmla="*/ 391624 h 988211"/>
                  <a:gd name="connsiteX6" fmla="*/ 8508 w 735196"/>
                  <a:gd name="connsiteY6" fmla="*/ 398945 h 988211"/>
                  <a:gd name="connsiteX7" fmla="*/ 0 w 735196"/>
                  <a:gd name="connsiteY7" fmla="*/ 318471 h 988211"/>
                  <a:gd name="connsiteX8" fmla="*/ 31704 w 735196"/>
                  <a:gd name="connsiteY8" fmla="*/ 272078 h 988211"/>
                  <a:gd name="connsiteX9" fmla="*/ 89851 w 735196"/>
                  <a:gd name="connsiteY9" fmla="*/ 206610 h 988211"/>
                  <a:gd name="connsiteX10" fmla="*/ 170783 w 735196"/>
                  <a:gd name="connsiteY10" fmla="*/ 206199 h 988211"/>
                  <a:gd name="connsiteX11" fmla="*/ 198827 w 735196"/>
                  <a:gd name="connsiteY11" fmla="*/ 102481 h 988211"/>
                  <a:gd name="connsiteX12" fmla="*/ 268366 w 735196"/>
                  <a:gd name="connsiteY12" fmla="*/ 58561 h 988211"/>
                  <a:gd name="connsiteX13" fmla="*/ 301306 w 735196"/>
                  <a:gd name="connsiteY13" fmla="*/ 0 h 988211"/>
                  <a:gd name="connsiteX14" fmla="*/ 341566 w 735196"/>
                  <a:gd name="connsiteY14" fmla="*/ 0 h 988211"/>
                  <a:gd name="connsiteX15" fmla="*/ 491625 w 735196"/>
                  <a:gd name="connsiteY15" fmla="*/ 164702 h 988211"/>
                  <a:gd name="connsiteX16" fmla="*/ 561165 w 735196"/>
                  <a:gd name="connsiteY16" fmla="*/ 307444 h 988211"/>
                  <a:gd name="connsiteX17" fmla="*/ 647451 w 735196"/>
                  <a:gd name="connsiteY17" fmla="*/ 339654 h 988211"/>
                  <a:gd name="connsiteX18" fmla="*/ 735196 w 735196"/>
                  <a:gd name="connsiteY18" fmla="*/ 422964 h 988211"/>
                  <a:gd name="connsiteX19" fmla="*/ 711224 w 735196"/>
                  <a:gd name="connsiteY19" fmla="*/ 475805 h 988211"/>
                  <a:gd name="connsiteX20" fmla="*/ 667304 w 735196"/>
                  <a:gd name="connsiteY20" fmla="*/ 424565 h 988211"/>
                  <a:gd name="connsiteX21" fmla="*/ 627044 w 735196"/>
                  <a:gd name="connsiteY21" fmla="*/ 490446 h 988211"/>
                  <a:gd name="connsiteX22" fmla="*/ 627044 w 735196"/>
                  <a:gd name="connsiteY22" fmla="*/ 490446 h 988211"/>
                  <a:gd name="connsiteX23" fmla="*/ 641684 w 735196"/>
                  <a:gd name="connsiteY23" fmla="*/ 545346 h 988211"/>
                  <a:gd name="connsiteX24" fmla="*/ 614416 w 735196"/>
                  <a:gd name="connsiteY24" fmla="*/ 572978 h 988211"/>
                  <a:gd name="connsiteX25" fmla="*/ 635552 w 735196"/>
                  <a:gd name="connsiteY25" fmla="*/ 598234 h 988211"/>
                  <a:gd name="connsiteX26" fmla="*/ 658337 w 735196"/>
                  <a:gd name="connsiteY26" fmla="*/ 632728 h 988211"/>
                  <a:gd name="connsiteX27" fmla="*/ 696584 w 735196"/>
                  <a:gd name="connsiteY27" fmla="*/ 728348 h 988211"/>
                  <a:gd name="connsiteX28" fmla="*/ 641684 w 735196"/>
                  <a:gd name="connsiteY28" fmla="*/ 746648 h 988211"/>
                  <a:gd name="connsiteX29" fmla="*/ 641684 w 735196"/>
                  <a:gd name="connsiteY29" fmla="*/ 808869 h 988211"/>
                  <a:gd name="connsiteX30" fmla="*/ 583124 w 735196"/>
                  <a:gd name="connsiteY30" fmla="*/ 827169 h 988211"/>
                  <a:gd name="connsiteX31" fmla="*/ 535545 w 735196"/>
                  <a:gd name="connsiteY31" fmla="*/ 904030 h 988211"/>
                  <a:gd name="connsiteX32" fmla="*/ 535545 w 735196"/>
                  <a:gd name="connsiteY32" fmla="*/ 904030 h 988211"/>
                  <a:gd name="connsiteX33" fmla="*/ 455025 w 735196"/>
                  <a:gd name="connsiteY33" fmla="*/ 973571 h 988211"/>
                  <a:gd name="connsiteX34" fmla="*/ 389146 w 735196"/>
                  <a:gd name="connsiteY34" fmla="*/ 988211 h 988211"/>
                  <a:gd name="connsiteX35" fmla="*/ 400125 w 735196"/>
                  <a:gd name="connsiteY35" fmla="*/ 925990 h 988211"/>
                  <a:gd name="connsiteX36" fmla="*/ 356206 w 735196"/>
                  <a:gd name="connsiteY36" fmla="*/ 904030 h 988211"/>
                  <a:gd name="connsiteX37" fmla="*/ 374140 w 735196"/>
                  <a:gd name="connsiteY37" fmla="*/ 847482 h 988211"/>
                  <a:gd name="connsiteX38" fmla="*/ 327338 w 735196"/>
                  <a:gd name="connsiteY38" fmla="*/ 849082 h 988211"/>
                  <a:gd name="connsiteX39" fmla="*/ 275686 w 735196"/>
                  <a:gd name="connsiteY39" fmla="*/ 925990 h 988211"/>
                  <a:gd name="connsiteX0" fmla="*/ 275686 w 735196"/>
                  <a:gd name="connsiteY0" fmla="*/ 925990 h 988211"/>
                  <a:gd name="connsiteX1" fmla="*/ 198827 w 735196"/>
                  <a:gd name="connsiteY1" fmla="*/ 779589 h 988211"/>
                  <a:gd name="connsiteX2" fmla="*/ 143927 w 735196"/>
                  <a:gd name="connsiteY2" fmla="*/ 640507 h 988211"/>
                  <a:gd name="connsiteX3" fmla="*/ 143927 w 735196"/>
                  <a:gd name="connsiteY3" fmla="*/ 640507 h 988211"/>
                  <a:gd name="connsiteX4" fmla="*/ 125627 w 735196"/>
                  <a:gd name="connsiteY4" fmla="*/ 592927 h 988211"/>
                  <a:gd name="connsiteX5" fmla="*/ 48767 w 735196"/>
                  <a:gd name="connsiteY5" fmla="*/ 391624 h 988211"/>
                  <a:gd name="connsiteX6" fmla="*/ 8508 w 735196"/>
                  <a:gd name="connsiteY6" fmla="*/ 398945 h 988211"/>
                  <a:gd name="connsiteX7" fmla="*/ 0 w 735196"/>
                  <a:gd name="connsiteY7" fmla="*/ 318471 h 988211"/>
                  <a:gd name="connsiteX8" fmla="*/ 31704 w 735196"/>
                  <a:gd name="connsiteY8" fmla="*/ 272078 h 988211"/>
                  <a:gd name="connsiteX9" fmla="*/ 89851 w 735196"/>
                  <a:gd name="connsiteY9" fmla="*/ 206610 h 988211"/>
                  <a:gd name="connsiteX10" fmla="*/ 170783 w 735196"/>
                  <a:gd name="connsiteY10" fmla="*/ 206199 h 988211"/>
                  <a:gd name="connsiteX11" fmla="*/ 198827 w 735196"/>
                  <a:gd name="connsiteY11" fmla="*/ 102481 h 988211"/>
                  <a:gd name="connsiteX12" fmla="*/ 268366 w 735196"/>
                  <a:gd name="connsiteY12" fmla="*/ 58561 h 988211"/>
                  <a:gd name="connsiteX13" fmla="*/ 301306 w 735196"/>
                  <a:gd name="connsiteY13" fmla="*/ 0 h 988211"/>
                  <a:gd name="connsiteX14" fmla="*/ 341566 w 735196"/>
                  <a:gd name="connsiteY14" fmla="*/ 0 h 988211"/>
                  <a:gd name="connsiteX15" fmla="*/ 491625 w 735196"/>
                  <a:gd name="connsiteY15" fmla="*/ 164702 h 988211"/>
                  <a:gd name="connsiteX16" fmla="*/ 561165 w 735196"/>
                  <a:gd name="connsiteY16" fmla="*/ 307444 h 988211"/>
                  <a:gd name="connsiteX17" fmla="*/ 634459 w 735196"/>
                  <a:gd name="connsiteY17" fmla="*/ 359142 h 988211"/>
                  <a:gd name="connsiteX18" fmla="*/ 735196 w 735196"/>
                  <a:gd name="connsiteY18" fmla="*/ 422964 h 988211"/>
                  <a:gd name="connsiteX19" fmla="*/ 711224 w 735196"/>
                  <a:gd name="connsiteY19" fmla="*/ 475805 h 988211"/>
                  <a:gd name="connsiteX20" fmla="*/ 667304 w 735196"/>
                  <a:gd name="connsiteY20" fmla="*/ 424565 h 988211"/>
                  <a:gd name="connsiteX21" fmla="*/ 627044 w 735196"/>
                  <a:gd name="connsiteY21" fmla="*/ 490446 h 988211"/>
                  <a:gd name="connsiteX22" fmla="*/ 627044 w 735196"/>
                  <a:gd name="connsiteY22" fmla="*/ 490446 h 988211"/>
                  <a:gd name="connsiteX23" fmla="*/ 641684 w 735196"/>
                  <a:gd name="connsiteY23" fmla="*/ 545346 h 988211"/>
                  <a:gd name="connsiteX24" fmla="*/ 614416 w 735196"/>
                  <a:gd name="connsiteY24" fmla="*/ 572978 h 988211"/>
                  <a:gd name="connsiteX25" fmla="*/ 635552 w 735196"/>
                  <a:gd name="connsiteY25" fmla="*/ 598234 h 988211"/>
                  <a:gd name="connsiteX26" fmla="*/ 658337 w 735196"/>
                  <a:gd name="connsiteY26" fmla="*/ 632728 h 988211"/>
                  <a:gd name="connsiteX27" fmla="*/ 696584 w 735196"/>
                  <a:gd name="connsiteY27" fmla="*/ 728348 h 988211"/>
                  <a:gd name="connsiteX28" fmla="*/ 641684 w 735196"/>
                  <a:gd name="connsiteY28" fmla="*/ 746648 h 988211"/>
                  <a:gd name="connsiteX29" fmla="*/ 641684 w 735196"/>
                  <a:gd name="connsiteY29" fmla="*/ 808869 h 988211"/>
                  <a:gd name="connsiteX30" fmla="*/ 583124 w 735196"/>
                  <a:gd name="connsiteY30" fmla="*/ 827169 h 988211"/>
                  <a:gd name="connsiteX31" fmla="*/ 535545 w 735196"/>
                  <a:gd name="connsiteY31" fmla="*/ 904030 h 988211"/>
                  <a:gd name="connsiteX32" fmla="*/ 535545 w 735196"/>
                  <a:gd name="connsiteY32" fmla="*/ 904030 h 988211"/>
                  <a:gd name="connsiteX33" fmla="*/ 455025 w 735196"/>
                  <a:gd name="connsiteY33" fmla="*/ 973571 h 988211"/>
                  <a:gd name="connsiteX34" fmla="*/ 389146 w 735196"/>
                  <a:gd name="connsiteY34" fmla="*/ 988211 h 988211"/>
                  <a:gd name="connsiteX35" fmla="*/ 400125 w 735196"/>
                  <a:gd name="connsiteY35" fmla="*/ 925990 h 988211"/>
                  <a:gd name="connsiteX36" fmla="*/ 356206 w 735196"/>
                  <a:gd name="connsiteY36" fmla="*/ 904030 h 988211"/>
                  <a:gd name="connsiteX37" fmla="*/ 374140 w 735196"/>
                  <a:gd name="connsiteY37" fmla="*/ 847482 h 988211"/>
                  <a:gd name="connsiteX38" fmla="*/ 327338 w 735196"/>
                  <a:gd name="connsiteY38" fmla="*/ 849082 h 988211"/>
                  <a:gd name="connsiteX39" fmla="*/ 275686 w 735196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491625 w 725452"/>
                  <a:gd name="connsiteY15" fmla="*/ 164702 h 988211"/>
                  <a:gd name="connsiteX16" fmla="*/ 561165 w 725452"/>
                  <a:gd name="connsiteY16" fmla="*/ 307444 h 988211"/>
                  <a:gd name="connsiteX17" fmla="*/ 634459 w 725452"/>
                  <a:gd name="connsiteY17" fmla="*/ 359142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491625 w 725452"/>
                  <a:gd name="connsiteY15" fmla="*/ 164702 h 988211"/>
                  <a:gd name="connsiteX16" fmla="*/ 561165 w 725452"/>
                  <a:gd name="connsiteY16" fmla="*/ 307444 h 988211"/>
                  <a:gd name="connsiteX17" fmla="*/ 637707 w 725452"/>
                  <a:gd name="connsiteY17" fmla="*/ 346149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491625 w 725452"/>
                  <a:gd name="connsiteY15" fmla="*/ 164702 h 988211"/>
                  <a:gd name="connsiteX16" fmla="*/ 570909 w 725452"/>
                  <a:gd name="connsiteY16" fmla="*/ 294451 h 988211"/>
                  <a:gd name="connsiteX17" fmla="*/ 637707 w 725452"/>
                  <a:gd name="connsiteY17" fmla="*/ 346149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501369 w 725452"/>
                  <a:gd name="connsiteY15" fmla="*/ 164702 h 988211"/>
                  <a:gd name="connsiteX16" fmla="*/ 570909 w 725452"/>
                  <a:gd name="connsiteY16" fmla="*/ 294451 h 988211"/>
                  <a:gd name="connsiteX17" fmla="*/ 637707 w 725452"/>
                  <a:gd name="connsiteY17" fmla="*/ 346149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32486 h 994707"/>
                  <a:gd name="connsiteX1" fmla="*/ 198827 w 725452"/>
                  <a:gd name="connsiteY1" fmla="*/ 786085 h 994707"/>
                  <a:gd name="connsiteX2" fmla="*/ 143927 w 725452"/>
                  <a:gd name="connsiteY2" fmla="*/ 647003 h 994707"/>
                  <a:gd name="connsiteX3" fmla="*/ 143927 w 725452"/>
                  <a:gd name="connsiteY3" fmla="*/ 647003 h 994707"/>
                  <a:gd name="connsiteX4" fmla="*/ 125627 w 725452"/>
                  <a:gd name="connsiteY4" fmla="*/ 599423 h 994707"/>
                  <a:gd name="connsiteX5" fmla="*/ 48767 w 725452"/>
                  <a:gd name="connsiteY5" fmla="*/ 398120 h 994707"/>
                  <a:gd name="connsiteX6" fmla="*/ 8508 w 725452"/>
                  <a:gd name="connsiteY6" fmla="*/ 405441 h 994707"/>
                  <a:gd name="connsiteX7" fmla="*/ 0 w 725452"/>
                  <a:gd name="connsiteY7" fmla="*/ 324967 h 994707"/>
                  <a:gd name="connsiteX8" fmla="*/ 31704 w 725452"/>
                  <a:gd name="connsiteY8" fmla="*/ 278574 h 994707"/>
                  <a:gd name="connsiteX9" fmla="*/ 89851 w 725452"/>
                  <a:gd name="connsiteY9" fmla="*/ 213106 h 994707"/>
                  <a:gd name="connsiteX10" fmla="*/ 170783 w 725452"/>
                  <a:gd name="connsiteY10" fmla="*/ 212695 h 994707"/>
                  <a:gd name="connsiteX11" fmla="*/ 198827 w 725452"/>
                  <a:gd name="connsiteY11" fmla="*/ 108977 h 994707"/>
                  <a:gd name="connsiteX12" fmla="*/ 268366 w 725452"/>
                  <a:gd name="connsiteY12" fmla="*/ 65057 h 994707"/>
                  <a:gd name="connsiteX13" fmla="*/ 301306 w 725452"/>
                  <a:gd name="connsiteY13" fmla="*/ 6496 h 994707"/>
                  <a:gd name="connsiteX14" fmla="*/ 357806 w 725452"/>
                  <a:gd name="connsiteY14" fmla="*/ 0 h 994707"/>
                  <a:gd name="connsiteX15" fmla="*/ 501369 w 725452"/>
                  <a:gd name="connsiteY15" fmla="*/ 171198 h 994707"/>
                  <a:gd name="connsiteX16" fmla="*/ 570909 w 725452"/>
                  <a:gd name="connsiteY16" fmla="*/ 300947 h 994707"/>
                  <a:gd name="connsiteX17" fmla="*/ 637707 w 725452"/>
                  <a:gd name="connsiteY17" fmla="*/ 352645 h 994707"/>
                  <a:gd name="connsiteX18" fmla="*/ 725452 w 725452"/>
                  <a:gd name="connsiteY18" fmla="*/ 432708 h 994707"/>
                  <a:gd name="connsiteX19" fmla="*/ 711224 w 725452"/>
                  <a:gd name="connsiteY19" fmla="*/ 482301 h 994707"/>
                  <a:gd name="connsiteX20" fmla="*/ 667304 w 725452"/>
                  <a:gd name="connsiteY20" fmla="*/ 431061 h 994707"/>
                  <a:gd name="connsiteX21" fmla="*/ 627044 w 725452"/>
                  <a:gd name="connsiteY21" fmla="*/ 496942 h 994707"/>
                  <a:gd name="connsiteX22" fmla="*/ 627044 w 725452"/>
                  <a:gd name="connsiteY22" fmla="*/ 496942 h 994707"/>
                  <a:gd name="connsiteX23" fmla="*/ 641684 w 725452"/>
                  <a:gd name="connsiteY23" fmla="*/ 551842 h 994707"/>
                  <a:gd name="connsiteX24" fmla="*/ 614416 w 725452"/>
                  <a:gd name="connsiteY24" fmla="*/ 579474 h 994707"/>
                  <a:gd name="connsiteX25" fmla="*/ 635552 w 725452"/>
                  <a:gd name="connsiteY25" fmla="*/ 604730 h 994707"/>
                  <a:gd name="connsiteX26" fmla="*/ 658337 w 725452"/>
                  <a:gd name="connsiteY26" fmla="*/ 639224 h 994707"/>
                  <a:gd name="connsiteX27" fmla="*/ 696584 w 725452"/>
                  <a:gd name="connsiteY27" fmla="*/ 734844 h 994707"/>
                  <a:gd name="connsiteX28" fmla="*/ 641684 w 725452"/>
                  <a:gd name="connsiteY28" fmla="*/ 753144 h 994707"/>
                  <a:gd name="connsiteX29" fmla="*/ 641684 w 725452"/>
                  <a:gd name="connsiteY29" fmla="*/ 815365 h 994707"/>
                  <a:gd name="connsiteX30" fmla="*/ 583124 w 725452"/>
                  <a:gd name="connsiteY30" fmla="*/ 833665 h 994707"/>
                  <a:gd name="connsiteX31" fmla="*/ 535545 w 725452"/>
                  <a:gd name="connsiteY31" fmla="*/ 910526 h 994707"/>
                  <a:gd name="connsiteX32" fmla="*/ 535545 w 725452"/>
                  <a:gd name="connsiteY32" fmla="*/ 910526 h 994707"/>
                  <a:gd name="connsiteX33" fmla="*/ 455025 w 725452"/>
                  <a:gd name="connsiteY33" fmla="*/ 980067 h 994707"/>
                  <a:gd name="connsiteX34" fmla="*/ 389146 w 725452"/>
                  <a:gd name="connsiteY34" fmla="*/ 994707 h 994707"/>
                  <a:gd name="connsiteX35" fmla="*/ 400125 w 725452"/>
                  <a:gd name="connsiteY35" fmla="*/ 932486 h 994707"/>
                  <a:gd name="connsiteX36" fmla="*/ 356206 w 725452"/>
                  <a:gd name="connsiteY36" fmla="*/ 910526 h 994707"/>
                  <a:gd name="connsiteX37" fmla="*/ 374140 w 725452"/>
                  <a:gd name="connsiteY37" fmla="*/ 853978 h 994707"/>
                  <a:gd name="connsiteX38" fmla="*/ 327338 w 725452"/>
                  <a:gd name="connsiteY38" fmla="*/ 855578 h 994707"/>
                  <a:gd name="connsiteX39" fmla="*/ 275686 w 725452"/>
                  <a:gd name="connsiteY39" fmla="*/ 932486 h 994707"/>
                  <a:gd name="connsiteX0" fmla="*/ 275686 w 725452"/>
                  <a:gd name="connsiteY0" fmla="*/ 942230 h 1004451"/>
                  <a:gd name="connsiteX1" fmla="*/ 198827 w 725452"/>
                  <a:gd name="connsiteY1" fmla="*/ 795829 h 1004451"/>
                  <a:gd name="connsiteX2" fmla="*/ 143927 w 725452"/>
                  <a:gd name="connsiteY2" fmla="*/ 656747 h 1004451"/>
                  <a:gd name="connsiteX3" fmla="*/ 143927 w 725452"/>
                  <a:gd name="connsiteY3" fmla="*/ 656747 h 1004451"/>
                  <a:gd name="connsiteX4" fmla="*/ 125627 w 725452"/>
                  <a:gd name="connsiteY4" fmla="*/ 609167 h 1004451"/>
                  <a:gd name="connsiteX5" fmla="*/ 48767 w 725452"/>
                  <a:gd name="connsiteY5" fmla="*/ 407864 h 1004451"/>
                  <a:gd name="connsiteX6" fmla="*/ 8508 w 725452"/>
                  <a:gd name="connsiteY6" fmla="*/ 415185 h 1004451"/>
                  <a:gd name="connsiteX7" fmla="*/ 0 w 725452"/>
                  <a:gd name="connsiteY7" fmla="*/ 334711 h 1004451"/>
                  <a:gd name="connsiteX8" fmla="*/ 31704 w 725452"/>
                  <a:gd name="connsiteY8" fmla="*/ 288318 h 1004451"/>
                  <a:gd name="connsiteX9" fmla="*/ 89851 w 725452"/>
                  <a:gd name="connsiteY9" fmla="*/ 222850 h 1004451"/>
                  <a:gd name="connsiteX10" fmla="*/ 170783 w 725452"/>
                  <a:gd name="connsiteY10" fmla="*/ 222439 h 1004451"/>
                  <a:gd name="connsiteX11" fmla="*/ 198827 w 725452"/>
                  <a:gd name="connsiteY11" fmla="*/ 118721 h 1004451"/>
                  <a:gd name="connsiteX12" fmla="*/ 268366 w 725452"/>
                  <a:gd name="connsiteY12" fmla="*/ 74801 h 1004451"/>
                  <a:gd name="connsiteX13" fmla="*/ 288314 w 725452"/>
                  <a:gd name="connsiteY13" fmla="*/ 0 h 1004451"/>
                  <a:gd name="connsiteX14" fmla="*/ 357806 w 725452"/>
                  <a:gd name="connsiteY14" fmla="*/ 9744 h 1004451"/>
                  <a:gd name="connsiteX15" fmla="*/ 501369 w 725452"/>
                  <a:gd name="connsiteY15" fmla="*/ 180942 h 1004451"/>
                  <a:gd name="connsiteX16" fmla="*/ 570909 w 725452"/>
                  <a:gd name="connsiteY16" fmla="*/ 310691 h 1004451"/>
                  <a:gd name="connsiteX17" fmla="*/ 637707 w 725452"/>
                  <a:gd name="connsiteY17" fmla="*/ 362389 h 1004451"/>
                  <a:gd name="connsiteX18" fmla="*/ 725452 w 725452"/>
                  <a:gd name="connsiteY18" fmla="*/ 442452 h 1004451"/>
                  <a:gd name="connsiteX19" fmla="*/ 711224 w 725452"/>
                  <a:gd name="connsiteY19" fmla="*/ 492045 h 1004451"/>
                  <a:gd name="connsiteX20" fmla="*/ 667304 w 725452"/>
                  <a:gd name="connsiteY20" fmla="*/ 440805 h 1004451"/>
                  <a:gd name="connsiteX21" fmla="*/ 627044 w 725452"/>
                  <a:gd name="connsiteY21" fmla="*/ 506686 h 1004451"/>
                  <a:gd name="connsiteX22" fmla="*/ 627044 w 725452"/>
                  <a:gd name="connsiteY22" fmla="*/ 506686 h 1004451"/>
                  <a:gd name="connsiteX23" fmla="*/ 641684 w 725452"/>
                  <a:gd name="connsiteY23" fmla="*/ 561586 h 1004451"/>
                  <a:gd name="connsiteX24" fmla="*/ 614416 w 725452"/>
                  <a:gd name="connsiteY24" fmla="*/ 589218 h 1004451"/>
                  <a:gd name="connsiteX25" fmla="*/ 635552 w 725452"/>
                  <a:gd name="connsiteY25" fmla="*/ 614474 h 1004451"/>
                  <a:gd name="connsiteX26" fmla="*/ 658337 w 725452"/>
                  <a:gd name="connsiteY26" fmla="*/ 648968 h 1004451"/>
                  <a:gd name="connsiteX27" fmla="*/ 696584 w 725452"/>
                  <a:gd name="connsiteY27" fmla="*/ 744588 h 1004451"/>
                  <a:gd name="connsiteX28" fmla="*/ 641684 w 725452"/>
                  <a:gd name="connsiteY28" fmla="*/ 762888 h 1004451"/>
                  <a:gd name="connsiteX29" fmla="*/ 641684 w 725452"/>
                  <a:gd name="connsiteY29" fmla="*/ 825109 h 1004451"/>
                  <a:gd name="connsiteX30" fmla="*/ 583124 w 725452"/>
                  <a:gd name="connsiteY30" fmla="*/ 843409 h 1004451"/>
                  <a:gd name="connsiteX31" fmla="*/ 535545 w 725452"/>
                  <a:gd name="connsiteY31" fmla="*/ 920270 h 1004451"/>
                  <a:gd name="connsiteX32" fmla="*/ 535545 w 725452"/>
                  <a:gd name="connsiteY32" fmla="*/ 920270 h 1004451"/>
                  <a:gd name="connsiteX33" fmla="*/ 455025 w 725452"/>
                  <a:gd name="connsiteY33" fmla="*/ 989811 h 1004451"/>
                  <a:gd name="connsiteX34" fmla="*/ 389146 w 725452"/>
                  <a:gd name="connsiteY34" fmla="*/ 1004451 h 1004451"/>
                  <a:gd name="connsiteX35" fmla="*/ 400125 w 725452"/>
                  <a:gd name="connsiteY35" fmla="*/ 942230 h 1004451"/>
                  <a:gd name="connsiteX36" fmla="*/ 356206 w 725452"/>
                  <a:gd name="connsiteY36" fmla="*/ 920270 h 1004451"/>
                  <a:gd name="connsiteX37" fmla="*/ 374140 w 725452"/>
                  <a:gd name="connsiteY37" fmla="*/ 863722 h 1004451"/>
                  <a:gd name="connsiteX38" fmla="*/ 327338 w 725452"/>
                  <a:gd name="connsiteY38" fmla="*/ 865322 h 1004451"/>
                  <a:gd name="connsiteX39" fmla="*/ 275686 w 725452"/>
                  <a:gd name="connsiteY39" fmla="*/ 942230 h 1004451"/>
                  <a:gd name="connsiteX0" fmla="*/ 275686 w 725452"/>
                  <a:gd name="connsiteY0" fmla="*/ 942230 h 1004451"/>
                  <a:gd name="connsiteX1" fmla="*/ 198827 w 725452"/>
                  <a:gd name="connsiteY1" fmla="*/ 795829 h 1004451"/>
                  <a:gd name="connsiteX2" fmla="*/ 143927 w 725452"/>
                  <a:gd name="connsiteY2" fmla="*/ 656747 h 1004451"/>
                  <a:gd name="connsiteX3" fmla="*/ 143927 w 725452"/>
                  <a:gd name="connsiteY3" fmla="*/ 656747 h 1004451"/>
                  <a:gd name="connsiteX4" fmla="*/ 125627 w 725452"/>
                  <a:gd name="connsiteY4" fmla="*/ 609167 h 1004451"/>
                  <a:gd name="connsiteX5" fmla="*/ 48767 w 725452"/>
                  <a:gd name="connsiteY5" fmla="*/ 407864 h 1004451"/>
                  <a:gd name="connsiteX6" fmla="*/ 8508 w 725452"/>
                  <a:gd name="connsiteY6" fmla="*/ 415185 h 1004451"/>
                  <a:gd name="connsiteX7" fmla="*/ 0 w 725452"/>
                  <a:gd name="connsiteY7" fmla="*/ 334711 h 1004451"/>
                  <a:gd name="connsiteX8" fmla="*/ 31704 w 725452"/>
                  <a:gd name="connsiteY8" fmla="*/ 288318 h 1004451"/>
                  <a:gd name="connsiteX9" fmla="*/ 89851 w 725452"/>
                  <a:gd name="connsiteY9" fmla="*/ 222850 h 1004451"/>
                  <a:gd name="connsiteX10" fmla="*/ 170783 w 725452"/>
                  <a:gd name="connsiteY10" fmla="*/ 222439 h 1004451"/>
                  <a:gd name="connsiteX11" fmla="*/ 198827 w 725452"/>
                  <a:gd name="connsiteY11" fmla="*/ 118721 h 1004451"/>
                  <a:gd name="connsiteX12" fmla="*/ 268366 w 725452"/>
                  <a:gd name="connsiteY12" fmla="*/ 58561 h 1004451"/>
                  <a:gd name="connsiteX13" fmla="*/ 288314 w 725452"/>
                  <a:gd name="connsiteY13" fmla="*/ 0 h 1004451"/>
                  <a:gd name="connsiteX14" fmla="*/ 357806 w 725452"/>
                  <a:gd name="connsiteY14" fmla="*/ 9744 h 1004451"/>
                  <a:gd name="connsiteX15" fmla="*/ 501369 w 725452"/>
                  <a:gd name="connsiteY15" fmla="*/ 180942 h 1004451"/>
                  <a:gd name="connsiteX16" fmla="*/ 570909 w 725452"/>
                  <a:gd name="connsiteY16" fmla="*/ 310691 h 1004451"/>
                  <a:gd name="connsiteX17" fmla="*/ 637707 w 725452"/>
                  <a:gd name="connsiteY17" fmla="*/ 362389 h 1004451"/>
                  <a:gd name="connsiteX18" fmla="*/ 725452 w 725452"/>
                  <a:gd name="connsiteY18" fmla="*/ 442452 h 1004451"/>
                  <a:gd name="connsiteX19" fmla="*/ 711224 w 725452"/>
                  <a:gd name="connsiteY19" fmla="*/ 492045 h 1004451"/>
                  <a:gd name="connsiteX20" fmla="*/ 667304 w 725452"/>
                  <a:gd name="connsiteY20" fmla="*/ 440805 h 1004451"/>
                  <a:gd name="connsiteX21" fmla="*/ 627044 w 725452"/>
                  <a:gd name="connsiteY21" fmla="*/ 506686 h 1004451"/>
                  <a:gd name="connsiteX22" fmla="*/ 627044 w 725452"/>
                  <a:gd name="connsiteY22" fmla="*/ 506686 h 1004451"/>
                  <a:gd name="connsiteX23" fmla="*/ 641684 w 725452"/>
                  <a:gd name="connsiteY23" fmla="*/ 561586 h 1004451"/>
                  <a:gd name="connsiteX24" fmla="*/ 614416 w 725452"/>
                  <a:gd name="connsiteY24" fmla="*/ 589218 h 1004451"/>
                  <a:gd name="connsiteX25" fmla="*/ 635552 w 725452"/>
                  <a:gd name="connsiteY25" fmla="*/ 614474 h 1004451"/>
                  <a:gd name="connsiteX26" fmla="*/ 658337 w 725452"/>
                  <a:gd name="connsiteY26" fmla="*/ 648968 h 1004451"/>
                  <a:gd name="connsiteX27" fmla="*/ 696584 w 725452"/>
                  <a:gd name="connsiteY27" fmla="*/ 744588 h 1004451"/>
                  <a:gd name="connsiteX28" fmla="*/ 641684 w 725452"/>
                  <a:gd name="connsiteY28" fmla="*/ 762888 h 1004451"/>
                  <a:gd name="connsiteX29" fmla="*/ 641684 w 725452"/>
                  <a:gd name="connsiteY29" fmla="*/ 825109 h 1004451"/>
                  <a:gd name="connsiteX30" fmla="*/ 583124 w 725452"/>
                  <a:gd name="connsiteY30" fmla="*/ 843409 h 1004451"/>
                  <a:gd name="connsiteX31" fmla="*/ 535545 w 725452"/>
                  <a:gd name="connsiteY31" fmla="*/ 920270 h 1004451"/>
                  <a:gd name="connsiteX32" fmla="*/ 535545 w 725452"/>
                  <a:gd name="connsiteY32" fmla="*/ 920270 h 1004451"/>
                  <a:gd name="connsiteX33" fmla="*/ 455025 w 725452"/>
                  <a:gd name="connsiteY33" fmla="*/ 989811 h 1004451"/>
                  <a:gd name="connsiteX34" fmla="*/ 389146 w 725452"/>
                  <a:gd name="connsiteY34" fmla="*/ 1004451 h 1004451"/>
                  <a:gd name="connsiteX35" fmla="*/ 400125 w 725452"/>
                  <a:gd name="connsiteY35" fmla="*/ 942230 h 1004451"/>
                  <a:gd name="connsiteX36" fmla="*/ 356206 w 725452"/>
                  <a:gd name="connsiteY36" fmla="*/ 920270 h 1004451"/>
                  <a:gd name="connsiteX37" fmla="*/ 374140 w 725452"/>
                  <a:gd name="connsiteY37" fmla="*/ 863722 h 1004451"/>
                  <a:gd name="connsiteX38" fmla="*/ 327338 w 725452"/>
                  <a:gd name="connsiteY38" fmla="*/ 865322 h 1004451"/>
                  <a:gd name="connsiteX39" fmla="*/ 275686 w 725452"/>
                  <a:gd name="connsiteY39" fmla="*/ 942230 h 1004451"/>
                  <a:gd name="connsiteX0" fmla="*/ 275686 w 725452"/>
                  <a:gd name="connsiteY0" fmla="*/ 942230 h 1004451"/>
                  <a:gd name="connsiteX1" fmla="*/ 198827 w 725452"/>
                  <a:gd name="connsiteY1" fmla="*/ 795829 h 1004451"/>
                  <a:gd name="connsiteX2" fmla="*/ 143927 w 725452"/>
                  <a:gd name="connsiteY2" fmla="*/ 656747 h 1004451"/>
                  <a:gd name="connsiteX3" fmla="*/ 143927 w 725452"/>
                  <a:gd name="connsiteY3" fmla="*/ 656747 h 1004451"/>
                  <a:gd name="connsiteX4" fmla="*/ 125627 w 725452"/>
                  <a:gd name="connsiteY4" fmla="*/ 609167 h 1004451"/>
                  <a:gd name="connsiteX5" fmla="*/ 48767 w 725452"/>
                  <a:gd name="connsiteY5" fmla="*/ 407864 h 1004451"/>
                  <a:gd name="connsiteX6" fmla="*/ 8508 w 725452"/>
                  <a:gd name="connsiteY6" fmla="*/ 415185 h 1004451"/>
                  <a:gd name="connsiteX7" fmla="*/ 0 w 725452"/>
                  <a:gd name="connsiteY7" fmla="*/ 334711 h 1004451"/>
                  <a:gd name="connsiteX8" fmla="*/ 31704 w 725452"/>
                  <a:gd name="connsiteY8" fmla="*/ 288318 h 1004451"/>
                  <a:gd name="connsiteX9" fmla="*/ 89851 w 725452"/>
                  <a:gd name="connsiteY9" fmla="*/ 222850 h 1004451"/>
                  <a:gd name="connsiteX10" fmla="*/ 170783 w 725452"/>
                  <a:gd name="connsiteY10" fmla="*/ 222439 h 1004451"/>
                  <a:gd name="connsiteX11" fmla="*/ 195579 w 725452"/>
                  <a:gd name="connsiteY11" fmla="*/ 92736 h 1004451"/>
                  <a:gd name="connsiteX12" fmla="*/ 268366 w 725452"/>
                  <a:gd name="connsiteY12" fmla="*/ 58561 h 1004451"/>
                  <a:gd name="connsiteX13" fmla="*/ 288314 w 725452"/>
                  <a:gd name="connsiteY13" fmla="*/ 0 h 1004451"/>
                  <a:gd name="connsiteX14" fmla="*/ 357806 w 725452"/>
                  <a:gd name="connsiteY14" fmla="*/ 9744 h 1004451"/>
                  <a:gd name="connsiteX15" fmla="*/ 501369 w 725452"/>
                  <a:gd name="connsiteY15" fmla="*/ 180942 h 1004451"/>
                  <a:gd name="connsiteX16" fmla="*/ 570909 w 725452"/>
                  <a:gd name="connsiteY16" fmla="*/ 310691 h 1004451"/>
                  <a:gd name="connsiteX17" fmla="*/ 637707 w 725452"/>
                  <a:gd name="connsiteY17" fmla="*/ 362389 h 1004451"/>
                  <a:gd name="connsiteX18" fmla="*/ 725452 w 725452"/>
                  <a:gd name="connsiteY18" fmla="*/ 442452 h 1004451"/>
                  <a:gd name="connsiteX19" fmla="*/ 711224 w 725452"/>
                  <a:gd name="connsiteY19" fmla="*/ 492045 h 1004451"/>
                  <a:gd name="connsiteX20" fmla="*/ 667304 w 725452"/>
                  <a:gd name="connsiteY20" fmla="*/ 440805 h 1004451"/>
                  <a:gd name="connsiteX21" fmla="*/ 627044 w 725452"/>
                  <a:gd name="connsiteY21" fmla="*/ 506686 h 1004451"/>
                  <a:gd name="connsiteX22" fmla="*/ 627044 w 725452"/>
                  <a:gd name="connsiteY22" fmla="*/ 506686 h 1004451"/>
                  <a:gd name="connsiteX23" fmla="*/ 641684 w 725452"/>
                  <a:gd name="connsiteY23" fmla="*/ 561586 h 1004451"/>
                  <a:gd name="connsiteX24" fmla="*/ 614416 w 725452"/>
                  <a:gd name="connsiteY24" fmla="*/ 589218 h 1004451"/>
                  <a:gd name="connsiteX25" fmla="*/ 635552 w 725452"/>
                  <a:gd name="connsiteY25" fmla="*/ 614474 h 1004451"/>
                  <a:gd name="connsiteX26" fmla="*/ 658337 w 725452"/>
                  <a:gd name="connsiteY26" fmla="*/ 648968 h 1004451"/>
                  <a:gd name="connsiteX27" fmla="*/ 696584 w 725452"/>
                  <a:gd name="connsiteY27" fmla="*/ 744588 h 1004451"/>
                  <a:gd name="connsiteX28" fmla="*/ 641684 w 725452"/>
                  <a:gd name="connsiteY28" fmla="*/ 762888 h 1004451"/>
                  <a:gd name="connsiteX29" fmla="*/ 641684 w 725452"/>
                  <a:gd name="connsiteY29" fmla="*/ 825109 h 1004451"/>
                  <a:gd name="connsiteX30" fmla="*/ 583124 w 725452"/>
                  <a:gd name="connsiteY30" fmla="*/ 843409 h 1004451"/>
                  <a:gd name="connsiteX31" fmla="*/ 535545 w 725452"/>
                  <a:gd name="connsiteY31" fmla="*/ 920270 h 1004451"/>
                  <a:gd name="connsiteX32" fmla="*/ 535545 w 725452"/>
                  <a:gd name="connsiteY32" fmla="*/ 920270 h 1004451"/>
                  <a:gd name="connsiteX33" fmla="*/ 455025 w 725452"/>
                  <a:gd name="connsiteY33" fmla="*/ 989811 h 1004451"/>
                  <a:gd name="connsiteX34" fmla="*/ 389146 w 725452"/>
                  <a:gd name="connsiteY34" fmla="*/ 1004451 h 1004451"/>
                  <a:gd name="connsiteX35" fmla="*/ 400125 w 725452"/>
                  <a:gd name="connsiteY35" fmla="*/ 942230 h 1004451"/>
                  <a:gd name="connsiteX36" fmla="*/ 356206 w 725452"/>
                  <a:gd name="connsiteY36" fmla="*/ 920270 h 1004451"/>
                  <a:gd name="connsiteX37" fmla="*/ 374140 w 725452"/>
                  <a:gd name="connsiteY37" fmla="*/ 863722 h 1004451"/>
                  <a:gd name="connsiteX38" fmla="*/ 327338 w 725452"/>
                  <a:gd name="connsiteY38" fmla="*/ 865322 h 1004451"/>
                  <a:gd name="connsiteX39" fmla="*/ 275686 w 725452"/>
                  <a:gd name="connsiteY39" fmla="*/ 942230 h 100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25452" h="1004451">
                    <a:moveTo>
                      <a:pt x="275686" y="942230"/>
                    </a:moveTo>
                    <a:lnTo>
                      <a:pt x="198827" y="795829"/>
                    </a:lnTo>
                    <a:lnTo>
                      <a:pt x="143927" y="656747"/>
                    </a:lnTo>
                    <a:lnTo>
                      <a:pt x="143927" y="656747"/>
                    </a:lnTo>
                    <a:lnTo>
                      <a:pt x="125627" y="609167"/>
                    </a:lnTo>
                    <a:lnTo>
                      <a:pt x="48767" y="407864"/>
                    </a:lnTo>
                    <a:lnTo>
                      <a:pt x="8508" y="415185"/>
                    </a:lnTo>
                    <a:lnTo>
                      <a:pt x="0" y="334711"/>
                    </a:lnTo>
                    <a:lnTo>
                      <a:pt x="31704" y="288318"/>
                    </a:lnTo>
                    <a:lnTo>
                      <a:pt x="89851" y="222850"/>
                    </a:lnTo>
                    <a:lnTo>
                      <a:pt x="170783" y="222439"/>
                    </a:lnTo>
                    <a:lnTo>
                      <a:pt x="195579" y="92736"/>
                    </a:lnTo>
                    <a:lnTo>
                      <a:pt x="268366" y="58561"/>
                    </a:lnTo>
                    <a:lnTo>
                      <a:pt x="288314" y="0"/>
                    </a:lnTo>
                    <a:lnTo>
                      <a:pt x="357806" y="9744"/>
                    </a:lnTo>
                    <a:lnTo>
                      <a:pt x="501369" y="180942"/>
                    </a:lnTo>
                    <a:lnTo>
                      <a:pt x="570909" y="310691"/>
                    </a:lnTo>
                    <a:lnTo>
                      <a:pt x="637707" y="362389"/>
                    </a:lnTo>
                    <a:lnTo>
                      <a:pt x="725452" y="442452"/>
                    </a:lnTo>
                    <a:lnTo>
                      <a:pt x="711224" y="492045"/>
                    </a:lnTo>
                    <a:lnTo>
                      <a:pt x="667304" y="440805"/>
                    </a:lnTo>
                    <a:lnTo>
                      <a:pt x="627044" y="506686"/>
                    </a:lnTo>
                    <a:lnTo>
                      <a:pt x="627044" y="506686"/>
                    </a:lnTo>
                    <a:lnTo>
                      <a:pt x="641684" y="561586"/>
                    </a:lnTo>
                    <a:lnTo>
                      <a:pt x="614416" y="589218"/>
                    </a:lnTo>
                    <a:cubicBezTo>
                      <a:pt x="614965" y="601968"/>
                      <a:pt x="635003" y="601724"/>
                      <a:pt x="635552" y="614474"/>
                    </a:cubicBezTo>
                    <a:lnTo>
                      <a:pt x="658337" y="648968"/>
                    </a:lnTo>
                    <a:lnTo>
                      <a:pt x="696584" y="744588"/>
                    </a:lnTo>
                    <a:lnTo>
                      <a:pt x="641684" y="762888"/>
                    </a:lnTo>
                    <a:lnTo>
                      <a:pt x="641684" y="825109"/>
                    </a:lnTo>
                    <a:lnTo>
                      <a:pt x="583124" y="843409"/>
                    </a:lnTo>
                    <a:lnTo>
                      <a:pt x="535545" y="920270"/>
                    </a:lnTo>
                    <a:lnTo>
                      <a:pt x="535545" y="920270"/>
                    </a:lnTo>
                    <a:lnTo>
                      <a:pt x="455025" y="989811"/>
                    </a:lnTo>
                    <a:lnTo>
                      <a:pt x="389146" y="1004451"/>
                    </a:lnTo>
                    <a:lnTo>
                      <a:pt x="400125" y="942230"/>
                    </a:lnTo>
                    <a:lnTo>
                      <a:pt x="356206" y="920270"/>
                    </a:lnTo>
                    <a:lnTo>
                      <a:pt x="374140" y="863722"/>
                    </a:lnTo>
                    <a:lnTo>
                      <a:pt x="327338" y="865322"/>
                    </a:lnTo>
                    <a:lnTo>
                      <a:pt x="275686" y="94223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3" name="Forma libre 13"/>
              <p:cNvSpPr/>
              <p:nvPr/>
            </p:nvSpPr>
            <p:spPr>
              <a:xfrm>
                <a:off x="1048247" y="6289036"/>
                <a:ext cx="154932" cy="127826"/>
              </a:xfrm>
              <a:custGeom>
                <a:avLst/>
                <a:gdLst>
                  <a:gd name="connsiteX0" fmla="*/ 1013814 w 1035774"/>
                  <a:gd name="connsiteY0" fmla="*/ 91501 h 808869"/>
                  <a:gd name="connsiteX1" fmla="*/ 1035774 w 1035774"/>
                  <a:gd name="connsiteY1" fmla="*/ 168362 h 808869"/>
                  <a:gd name="connsiteX2" fmla="*/ 973554 w 1035774"/>
                  <a:gd name="connsiteY2" fmla="*/ 234242 h 808869"/>
                  <a:gd name="connsiteX3" fmla="*/ 973554 w 1035774"/>
                  <a:gd name="connsiteY3" fmla="*/ 300123 h 808869"/>
                  <a:gd name="connsiteX4" fmla="*/ 1006494 w 1035774"/>
                  <a:gd name="connsiteY4" fmla="*/ 362344 h 808869"/>
                  <a:gd name="connsiteX5" fmla="*/ 969894 w 1035774"/>
                  <a:gd name="connsiteY5" fmla="*/ 424565 h 808869"/>
                  <a:gd name="connsiteX6" fmla="*/ 936954 w 1035774"/>
                  <a:gd name="connsiteY6" fmla="*/ 442865 h 808869"/>
                  <a:gd name="connsiteX7" fmla="*/ 925975 w 1035774"/>
                  <a:gd name="connsiteY7" fmla="*/ 530706 h 808869"/>
                  <a:gd name="connsiteX8" fmla="*/ 889375 w 1035774"/>
                  <a:gd name="connsiteY8" fmla="*/ 530706 h 808869"/>
                  <a:gd name="connsiteX9" fmla="*/ 849115 w 1035774"/>
                  <a:gd name="connsiteY9" fmla="*/ 559986 h 808869"/>
                  <a:gd name="connsiteX10" fmla="*/ 761275 w 1035774"/>
                  <a:gd name="connsiteY10" fmla="*/ 567306 h 808869"/>
                  <a:gd name="connsiteX11" fmla="*/ 735656 w 1035774"/>
                  <a:gd name="connsiteY11" fmla="*/ 538026 h 808869"/>
                  <a:gd name="connsiteX12" fmla="*/ 721016 w 1035774"/>
                  <a:gd name="connsiteY12" fmla="*/ 581946 h 808869"/>
                  <a:gd name="connsiteX13" fmla="*/ 658796 w 1035774"/>
                  <a:gd name="connsiteY13" fmla="*/ 629527 h 808869"/>
                  <a:gd name="connsiteX14" fmla="*/ 625856 w 1035774"/>
                  <a:gd name="connsiteY14" fmla="*/ 607567 h 808869"/>
                  <a:gd name="connsiteX15" fmla="*/ 589256 w 1035774"/>
                  <a:gd name="connsiteY15" fmla="*/ 655147 h 808869"/>
                  <a:gd name="connsiteX16" fmla="*/ 589256 w 1035774"/>
                  <a:gd name="connsiteY16" fmla="*/ 724688 h 808869"/>
                  <a:gd name="connsiteX17" fmla="*/ 527037 w 1035774"/>
                  <a:gd name="connsiteY17" fmla="*/ 739328 h 808869"/>
                  <a:gd name="connsiteX18" fmla="*/ 486777 w 1035774"/>
                  <a:gd name="connsiteY18" fmla="*/ 775928 h 808869"/>
                  <a:gd name="connsiteX19" fmla="*/ 486777 w 1035774"/>
                  <a:gd name="connsiteY19" fmla="*/ 808869 h 808869"/>
                  <a:gd name="connsiteX20" fmla="*/ 380638 w 1035774"/>
                  <a:gd name="connsiteY20" fmla="*/ 783248 h 808869"/>
                  <a:gd name="connsiteX21" fmla="*/ 344038 w 1035774"/>
                  <a:gd name="connsiteY21" fmla="*/ 786908 h 808869"/>
                  <a:gd name="connsiteX22" fmla="*/ 344038 w 1035774"/>
                  <a:gd name="connsiteY22" fmla="*/ 742988 h 808869"/>
                  <a:gd name="connsiteX23" fmla="*/ 274498 w 1035774"/>
                  <a:gd name="connsiteY23" fmla="*/ 750308 h 808869"/>
                  <a:gd name="connsiteX24" fmla="*/ 252538 w 1035774"/>
                  <a:gd name="connsiteY24" fmla="*/ 783248 h 808869"/>
                  <a:gd name="connsiteX25" fmla="*/ 197639 w 1035774"/>
                  <a:gd name="connsiteY25" fmla="*/ 794229 h 808869"/>
                  <a:gd name="connsiteX26" fmla="*/ 146399 w 1035774"/>
                  <a:gd name="connsiteY26" fmla="*/ 746648 h 808869"/>
                  <a:gd name="connsiteX27" fmla="*/ 161039 w 1035774"/>
                  <a:gd name="connsiteY27" fmla="*/ 684427 h 808869"/>
                  <a:gd name="connsiteX28" fmla="*/ 208619 w 1035774"/>
                  <a:gd name="connsiteY28" fmla="*/ 666127 h 808869"/>
                  <a:gd name="connsiteX29" fmla="*/ 131759 w 1035774"/>
                  <a:gd name="connsiteY29" fmla="*/ 508745 h 808869"/>
                  <a:gd name="connsiteX30" fmla="*/ 131759 w 1035774"/>
                  <a:gd name="connsiteY30" fmla="*/ 508745 h 808869"/>
                  <a:gd name="connsiteX31" fmla="*/ 153719 w 1035774"/>
                  <a:gd name="connsiteY31" fmla="*/ 472145 h 808869"/>
                  <a:gd name="connsiteX32" fmla="*/ 124439 w 1035774"/>
                  <a:gd name="connsiteY32" fmla="*/ 420904 h 808869"/>
                  <a:gd name="connsiteX33" fmla="*/ 168359 w 1035774"/>
                  <a:gd name="connsiteY33" fmla="*/ 387964 h 808869"/>
                  <a:gd name="connsiteX34" fmla="*/ 208619 w 1035774"/>
                  <a:gd name="connsiteY34" fmla="*/ 435545 h 808869"/>
                  <a:gd name="connsiteX35" fmla="*/ 234238 w 1035774"/>
                  <a:gd name="connsiteY35" fmla="*/ 355024 h 808869"/>
                  <a:gd name="connsiteX36" fmla="*/ 150059 w 1035774"/>
                  <a:gd name="connsiteY36" fmla="*/ 278163 h 808869"/>
                  <a:gd name="connsiteX37" fmla="*/ 65879 w 1035774"/>
                  <a:gd name="connsiteY37" fmla="*/ 226922 h 808869"/>
                  <a:gd name="connsiteX38" fmla="*/ 0 w 1035774"/>
                  <a:gd name="connsiteY38" fmla="*/ 84181 h 808869"/>
                  <a:gd name="connsiteX39" fmla="*/ 47580 w 1035774"/>
                  <a:gd name="connsiteY39" fmla="*/ 65881 h 808869"/>
                  <a:gd name="connsiteX40" fmla="*/ 76859 w 1035774"/>
                  <a:gd name="connsiteY40" fmla="*/ 109801 h 808869"/>
                  <a:gd name="connsiteX41" fmla="*/ 256198 w 1035774"/>
                  <a:gd name="connsiteY41" fmla="*/ 87841 h 808869"/>
                  <a:gd name="connsiteX42" fmla="*/ 307438 w 1035774"/>
                  <a:gd name="connsiteY42" fmla="*/ 131761 h 808869"/>
                  <a:gd name="connsiteX43" fmla="*/ 325738 w 1035774"/>
                  <a:gd name="connsiteY43" fmla="*/ 65881 h 808869"/>
                  <a:gd name="connsiteX44" fmla="*/ 325738 w 1035774"/>
                  <a:gd name="connsiteY44" fmla="*/ 65881 h 808869"/>
                  <a:gd name="connsiteX45" fmla="*/ 325738 w 1035774"/>
                  <a:gd name="connsiteY45" fmla="*/ 65881 h 808869"/>
                  <a:gd name="connsiteX46" fmla="*/ 358678 w 1035774"/>
                  <a:gd name="connsiteY46" fmla="*/ 51240 h 808869"/>
                  <a:gd name="connsiteX47" fmla="*/ 380638 w 1035774"/>
                  <a:gd name="connsiteY47" fmla="*/ 208622 h 808869"/>
                  <a:gd name="connsiteX48" fmla="*/ 446517 w 1035774"/>
                  <a:gd name="connsiteY48" fmla="*/ 157382 h 808869"/>
                  <a:gd name="connsiteX49" fmla="*/ 472137 w 1035774"/>
                  <a:gd name="connsiteY49" fmla="*/ 7320 h 808869"/>
                  <a:gd name="connsiteX50" fmla="*/ 512397 w 1035774"/>
                  <a:gd name="connsiteY50" fmla="*/ 0 h 808869"/>
                  <a:gd name="connsiteX51" fmla="*/ 486777 w 1035774"/>
                  <a:gd name="connsiteY51" fmla="*/ 179342 h 808869"/>
                  <a:gd name="connsiteX52" fmla="*/ 589256 w 1035774"/>
                  <a:gd name="connsiteY52" fmla="*/ 398944 h 808869"/>
                  <a:gd name="connsiteX53" fmla="*/ 677096 w 1035774"/>
                  <a:gd name="connsiteY53" fmla="*/ 402604 h 808869"/>
                  <a:gd name="connsiteX54" fmla="*/ 786895 w 1035774"/>
                  <a:gd name="connsiteY54" fmla="*/ 351364 h 808869"/>
                  <a:gd name="connsiteX55" fmla="*/ 761275 w 1035774"/>
                  <a:gd name="connsiteY55" fmla="*/ 307443 h 808869"/>
                  <a:gd name="connsiteX56" fmla="*/ 801535 w 1035774"/>
                  <a:gd name="connsiteY56" fmla="*/ 274503 h 808869"/>
                  <a:gd name="connsiteX57" fmla="*/ 801535 w 1035774"/>
                  <a:gd name="connsiteY57" fmla="*/ 230582 h 808869"/>
                  <a:gd name="connsiteX58" fmla="*/ 838135 w 1035774"/>
                  <a:gd name="connsiteY58" fmla="*/ 212282 h 808869"/>
                  <a:gd name="connsiteX59" fmla="*/ 863755 w 1035774"/>
                  <a:gd name="connsiteY59" fmla="*/ 245223 h 808869"/>
                  <a:gd name="connsiteX60" fmla="*/ 863755 w 1035774"/>
                  <a:gd name="connsiteY60" fmla="*/ 245223 h 808869"/>
                  <a:gd name="connsiteX61" fmla="*/ 882055 w 1035774"/>
                  <a:gd name="connsiteY61" fmla="*/ 204962 h 808869"/>
                  <a:gd name="connsiteX62" fmla="*/ 914995 w 1035774"/>
                  <a:gd name="connsiteY62" fmla="*/ 131761 h 808869"/>
                  <a:gd name="connsiteX63" fmla="*/ 1013814 w 1035774"/>
                  <a:gd name="connsiteY63" fmla="*/ 91501 h 80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1035774" h="808869">
                    <a:moveTo>
                      <a:pt x="1013814" y="91501"/>
                    </a:moveTo>
                    <a:lnTo>
                      <a:pt x="1035774" y="168362"/>
                    </a:lnTo>
                    <a:lnTo>
                      <a:pt x="973554" y="234242"/>
                    </a:lnTo>
                    <a:lnTo>
                      <a:pt x="973554" y="300123"/>
                    </a:lnTo>
                    <a:lnTo>
                      <a:pt x="1006494" y="362344"/>
                    </a:lnTo>
                    <a:lnTo>
                      <a:pt x="969894" y="424565"/>
                    </a:lnTo>
                    <a:lnTo>
                      <a:pt x="936954" y="442865"/>
                    </a:lnTo>
                    <a:lnTo>
                      <a:pt x="925975" y="530706"/>
                    </a:lnTo>
                    <a:lnTo>
                      <a:pt x="889375" y="530706"/>
                    </a:lnTo>
                    <a:lnTo>
                      <a:pt x="849115" y="559986"/>
                    </a:lnTo>
                    <a:lnTo>
                      <a:pt x="761275" y="567306"/>
                    </a:lnTo>
                    <a:lnTo>
                      <a:pt x="735656" y="538026"/>
                    </a:lnTo>
                    <a:lnTo>
                      <a:pt x="721016" y="581946"/>
                    </a:lnTo>
                    <a:lnTo>
                      <a:pt x="658796" y="629527"/>
                    </a:lnTo>
                    <a:lnTo>
                      <a:pt x="625856" y="607567"/>
                    </a:lnTo>
                    <a:lnTo>
                      <a:pt x="589256" y="655147"/>
                    </a:lnTo>
                    <a:lnTo>
                      <a:pt x="589256" y="724688"/>
                    </a:lnTo>
                    <a:lnTo>
                      <a:pt x="527037" y="739328"/>
                    </a:lnTo>
                    <a:lnTo>
                      <a:pt x="486777" y="775928"/>
                    </a:lnTo>
                    <a:lnTo>
                      <a:pt x="486777" y="808869"/>
                    </a:lnTo>
                    <a:lnTo>
                      <a:pt x="380638" y="783248"/>
                    </a:lnTo>
                    <a:lnTo>
                      <a:pt x="344038" y="786908"/>
                    </a:lnTo>
                    <a:lnTo>
                      <a:pt x="344038" y="742988"/>
                    </a:lnTo>
                    <a:lnTo>
                      <a:pt x="274498" y="750308"/>
                    </a:lnTo>
                    <a:lnTo>
                      <a:pt x="252538" y="783248"/>
                    </a:lnTo>
                    <a:lnTo>
                      <a:pt x="197639" y="794229"/>
                    </a:lnTo>
                    <a:lnTo>
                      <a:pt x="146399" y="746648"/>
                    </a:lnTo>
                    <a:lnTo>
                      <a:pt x="161039" y="684427"/>
                    </a:lnTo>
                    <a:lnTo>
                      <a:pt x="208619" y="666127"/>
                    </a:lnTo>
                    <a:lnTo>
                      <a:pt x="131759" y="508745"/>
                    </a:lnTo>
                    <a:lnTo>
                      <a:pt x="131759" y="508745"/>
                    </a:lnTo>
                    <a:lnTo>
                      <a:pt x="153719" y="472145"/>
                    </a:lnTo>
                    <a:lnTo>
                      <a:pt x="124439" y="420904"/>
                    </a:lnTo>
                    <a:lnTo>
                      <a:pt x="168359" y="387964"/>
                    </a:lnTo>
                    <a:lnTo>
                      <a:pt x="208619" y="435545"/>
                    </a:lnTo>
                    <a:lnTo>
                      <a:pt x="234238" y="355024"/>
                    </a:lnTo>
                    <a:lnTo>
                      <a:pt x="150059" y="278163"/>
                    </a:lnTo>
                    <a:lnTo>
                      <a:pt x="65879" y="226922"/>
                    </a:lnTo>
                    <a:lnTo>
                      <a:pt x="0" y="84181"/>
                    </a:lnTo>
                    <a:lnTo>
                      <a:pt x="47580" y="65881"/>
                    </a:lnTo>
                    <a:lnTo>
                      <a:pt x="76859" y="109801"/>
                    </a:lnTo>
                    <a:lnTo>
                      <a:pt x="256198" y="87841"/>
                    </a:lnTo>
                    <a:lnTo>
                      <a:pt x="307438" y="131761"/>
                    </a:lnTo>
                    <a:lnTo>
                      <a:pt x="325738" y="65881"/>
                    </a:lnTo>
                    <a:lnTo>
                      <a:pt x="325738" y="65881"/>
                    </a:lnTo>
                    <a:lnTo>
                      <a:pt x="325738" y="65881"/>
                    </a:lnTo>
                    <a:lnTo>
                      <a:pt x="358678" y="51240"/>
                    </a:lnTo>
                    <a:lnTo>
                      <a:pt x="380638" y="208622"/>
                    </a:lnTo>
                    <a:lnTo>
                      <a:pt x="446517" y="157382"/>
                    </a:lnTo>
                    <a:lnTo>
                      <a:pt x="472137" y="7320"/>
                    </a:lnTo>
                    <a:lnTo>
                      <a:pt x="512397" y="0"/>
                    </a:lnTo>
                    <a:lnTo>
                      <a:pt x="486777" y="179342"/>
                    </a:lnTo>
                    <a:lnTo>
                      <a:pt x="589256" y="398944"/>
                    </a:lnTo>
                    <a:lnTo>
                      <a:pt x="677096" y="402604"/>
                    </a:lnTo>
                    <a:lnTo>
                      <a:pt x="786895" y="351364"/>
                    </a:lnTo>
                    <a:lnTo>
                      <a:pt x="761275" y="307443"/>
                    </a:lnTo>
                    <a:lnTo>
                      <a:pt x="801535" y="274503"/>
                    </a:lnTo>
                    <a:lnTo>
                      <a:pt x="801535" y="230582"/>
                    </a:lnTo>
                    <a:lnTo>
                      <a:pt x="838135" y="212282"/>
                    </a:lnTo>
                    <a:lnTo>
                      <a:pt x="863755" y="245223"/>
                    </a:lnTo>
                    <a:lnTo>
                      <a:pt x="863755" y="245223"/>
                    </a:lnTo>
                    <a:lnTo>
                      <a:pt x="882055" y="204962"/>
                    </a:lnTo>
                    <a:lnTo>
                      <a:pt x="914995" y="131761"/>
                    </a:lnTo>
                    <a:lnTo>
                      <a:pt x="1013814" y="91501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4" name="Forma libre 14"/>
              <p:cNvSpPr/>
              <p:nvPr/>
            </p:nvSpPr>
            <p:spPr>
              <a:xfrm>
                <a:off x="1122702" y="6229461"/>
                <a:ext cx="304937" cy="243506"/>
              </a:xfrm>
              <a:custGeom>
                <a:avLst/>
                <a:gdLst>
                  <a:gd name="connsiteX0" fmla="*/ 552657 w 2038608"/>
                  <a:gd name="connsiteY0" fmla="*/ 0 h 1540877"/>
                  <a:gd name="connsiteX1" fmla="*/ 761276 w 2038608"/>
                  <a:gd name="connsiteY1" fmla="*/ 120781 h 1540877"/>
                  <a:gd name="connsiteX2" fmla="*/ 845455 w 2038608"/>
                  <a:gd name="connsiteY2" fmla="*/ 175682 h 1540877"/>
                  <a:gd name="connsiteX3" fmla="*/ 845455 w 2038608"/>
                  <a:gd name="connsiteY3" fmla="*/ 175682 h 1540877"/>
                  <a:gd name="connsiteX4" fmla="*/ 819835 w 2038608"/>
                  <a:gd name="connsiteY4" fmla="*/ 230582 h 1540877"/>
                  <a:gd name="connsiteX5" fmla="*/ 882055 w 2038608"/>
                  <a:gd name="connsiteY5" fmla="*/ 289143 h 1540877"/>
                  <a:gd name="connsiteX6" fmla="*/ 889375 w 2038608"/>
                  <a:gd name="connsiteY6" fmla="*/ 340383 h 1540877"/>
                  <a:gd name="connsiteX7" fmla="*/ 911335 w 2038608"/>
                  <a:gd name="connsiteY7" fmla="*/ 376984 h 1540877"/>
                  <a:gd name="connsiteX8" fmla="*/ 911335 w 2038608"/>
                  <a:gd name="connsiteY8" fmla="*/ 376984 h 1540877"/>
                  <a:gd name="connsiteX9" fmla="*/ 988194 w 2038608"/>
                  <a:gd name="connsiteY9" fmla="*/ 450185 h 1540877"/>
                  <a:gd name="connsiteX10" fmla="*/ 977214 w 2038608"/>
                  <a:gd name="connsiteY10" fmla="*/ 501425 h 1540877"/>
                  <a:gd name="connsiteX11" fmla="*/ 1046754 w 2038608"/>
                  <a:gd name="connsiteY11" fmla="*/ 538026 h 1540877"/>
                  <a:gd name="connsiteX12" fmla="*/ 1134593 w 2038608"/>
                  <a:gd name="connsiteY12" fmla="*/ 655147 h 1540877"/>
                  <a:gd name="connsiteX13" fmla="*/ 1119954 w 2038608"/>
                  <a:gd name="connsiteY13" fmla="*/ 710048 h 1540877"/>
                  <a:gd name="connsiteX14" fmla="*/ 1028454 w 2038608"/>
                  <a:gd name="connsiteY14" fmla="*/ 790568 h 1540877"/>
                  <a:gd name="connsiteX15" fmla="*/ 1237073 w 2038608"/>
                  <a:gd name="connsiteY15" fmla="*/ 794228 h 1540877"/>
                  <a:gd name="connsiteX16" fmla="*/ 1354192 w 2038608"/>
                  <a:gd name="connsiteY16" fmla="*/ 830829 h 1540877"/>
                  <a:gd name="connsiteX17" fmla="*/ 1405432 w 2038608"/>
                  <a:gd name="connsiteY17" fmla="*/ 918670 h 1540877"/>
                  <a:gd name="connsiteX18" fmla="*/ 1420072 w 2038608"/>
                  <a:gd name="connsiteY18" fmla="*/ 1006511 h 1540877"/>
                  <a:gd name="connsiteX19" fmla="*/ 1716530 w 2038608"/>
                  <a:gd name="connsiteY19" fmla="*/ 1010171 h 1540877"/>
                  <a:gd name="connsiteX20" fmla="*/ 1804370 w 2038608"/>
                  <a:gd name="connsiteY20" fmla="*/ 955270 h 1540877"/>
                  <a:gd name="connsiteX21" fmla="*/ 1917829 w 2038608"/>
                  <a:gd name="connsiteY21" fmla="*/ 871089 h 1540877"/>
                  <a:gd name="connsiteX22" fmla="*/ 2038608 w 2038608"/>
                  <a:gd name="connsiteY22" fmla="*/ 790568 h 1540877"/>
                  <a:gd name="connsiteX23" fmla="*/ 2012988 w 2038608"/>
                  <a:gd name="connsiteY23" fmla="*/ 867429 h 1540877"/>
                  <a:gd name="connsiteX24" fmla="*/ 2038608 w 2038608"/>
                  <a:gd name="connsiteY24" fmla="*/ 904030 h 1540877"/>
                  <a:gd name="connsiteX25" fmla="*/ 1991029 w 2038608"/>
                  <a:gd name="connsiteY25" fmla="*/ 958930 h 1540877"/>
                  <a:gd name="connsiteX26" fmla="*/ 1980049 w 2038608"/>
                  <a:gd name="connsiteY26" fmla="*/ 1050431 h 1540877"/>
                  <a:gd name="connsiteX27" fmla="*/ 1903189 w 2038608"/>
                  <a:gd name="connsiteY27" fmla="*/ 1108992 h 1540877"/>
                  <a:gd name="connsiteX28" fmla="*/ 1804370 w 2038608"/>
                  <a:gd name="connsiteY28" fmla="*/ 1207813 h 1540877"/>
                  <a:gd name="connsiteX29" fmla="*/ 1767770 w 2038608"/>
                  <a:gd name="connsiteY29" fmla="*/ 1248073 h 1540877"/>
                  <a:gd name="connsiteX30" fmla="*/ 1764110 w 2038608"/>
                  <a:gd name="connsiteY30" fmla="*/ 1310294 h 1540877"/>
                  <a:gd name="connsiteX31" fmla="*/ 1716530 w 2038608"/>
                  <a:gd name="connsiteY31" fmla="*/ 1372515 h 1540877"/>
                  <a:gd name="connsiteX32" fmla="*/ 1420072 w 2038608"/>
                  <a:gd name="connsiteY32" fmla="*/ 1387155 h 1540877"/>
                  <a:gd name="connsiteX33" fmla="*/ 1398112 w 2038608"/>
                  <a:gd name="connsiteY33" fmla="*/ 1507936 h 1540877"/>
                  <a:gd name="connsiteX34" fmla="*/ 1343212 w 2038608"/>
                  <a:gd name="connsiteY34" fmla="*/ 1504276 h 1540877"/>
                  <a:gd name="connsiteX35" fmla="*/ 1259033 w 2038608"/>
                  <a:gd name="connsiteY35" fmla="*/ 1540877 h 1540877"/>
                  <a:gd name="connsiteX36" fmla="*/ 1189493 w 2038608"/>
                  <a:gd name="connsiteY36" fmla="*/ 1518916 h 1540877"/>
                  <a:gd name="connsiteX37" fmla="*/ 1145573 w 2038608"/>
                  <a:gd name="connsiteY37" fmla="*/ 1522576 h 1540877"/>
                  <a:gd name="connsiteX38" fmla="*/ 1101654 w 2038608"/>
                  <a:gd name="connsiteY38" fmla="*/ 1467676 h 1540877"/>
                  <a:gd name="connsiteX39" fmla="*/ 1057734 w 2038608"/>
                  <a:gd name="connsiteY39" fmla="*/ 1500616 h 1540877"/>
                  <a:gd name="connsiteX40" fmla="*/ 980874 w 2038608"/>
                  <a:gd name="connsiteY40" fmla="*/ 1504276 h 1540877"/>
                  <a:gd name="connsiteX41" fmla="*/ 936955 w 2038608"/>
                  <a:gd name="connsiteY41" fmla="*/ 1529896 h 1540877"/>
                  <a:gd name="connsiteX42" fmla="*/ 936955 w 2038608"/>
                  <a:gd name="connsiteY42" fmla="*/ 1529896 h 1540877"/>
                  <a:gd name="connsiteX43" fmla="*/ 922315 w 2038608"/>
                  <a:gd name="connsiteY43" fmla="*/ 1412775 h 1540877"/>
                  <a:gd name="connsiteX44" fmla="*/ 889375 w 2038608"/>
                  <a:gd name="connsiteY44" fmla="*/ 1398135 h 1540877"/>
                  <a:gd name="connsiteX45" fmla="*/ 889375 w 2038608"/>
                  <a:gd name="connsiteY45" fmla="*/ 1332254 h 1540877"/>
                  <a:gd name="connsiteX46" fmla="*/ 823495 w 2038608"/>
                  <a:gd name="connsiteY46" fmla="*/ 1284674 h 1540877"/>
                  <a:gd name="connsiteX47" fmla="*/ 786895 w 2038608"/>
                  <a:gd name="connsiteY47" fmla="*/ 1302974 h 1540877"/>
                  <a:gd name="connsiteX48" fmla="*/ 775916 w 2038608"/>
                  <a:gd name="connsiteY48" fmla="*/ 1449376 h 1540877"/>
                  <a:gd name="connsiteX49" fmla="*/ 735656 w 2038608"/>
                  <a:gd name="connsiteY49" fmla="*/ 1438395 h 1540877"/>
                  <a:gd name="connsiteX50" fmla="*/ 731996 w 2038608"/>
                  <a:gd name="connsiteY50" fmla="*/ 1383495 h 1540877"/>
                  <a:gd name="connsiteX51" fmla="*/ 647816 w 2038608"/>
                  <a:gd name="connsiteY51" fmla="*/ 1383495 h 1540877"/>
                  <a:gd name="connsiteX52" fmla="*/ 581937 w 2038608"/>
                  <a:gd name="connsiteY52" fmla="*/ 1405455 h 1540877"/>
                  <a:gd name="connsiteX53" fmla="*/ 508737 w 2038608"/>
                  <a:gd name="connsiteY53" fmla="*/ 1354215 h 1540877"/>
                  <a:gd name="connsiteX54" fmla="*/ 592917 w 2038608"/>
                  <a:gd name="connsiteY54" fmla="*/ 1295654 h 1540877"/>
                  <a:gd name="connsiteX55" fmla="*/ 673436 w 2038608"/>
                  <a:gd name="connsiteY55" fmla="*/ 1237093 h 1540877"/>
                  <a:gd name="connsiteX56" fmla="*/ 636836 w 2038608"/>
                  <a:gd name="connsiteY56" fmla="*/ 1171213 h 1540877"/>
                  <a:gd name="connsiteX57" fmla="*/ 636836 w 2038608"/>
                  <a:gd name="connsiteY57" fmla="*/ 1171213 h 1540877"/>
                  <a:gd name="connsiteX58" fmla="*/ 636836 w 2038608"/>
                  <a:gd name="connsiteY58" fmla="*/ 1083372 h 1540877"/>
                  <a:gd name="connsiteX59" fmla="*/ 567297 w 2038608"/>
                  <a:gd name="connsiteY59" fmla="*/ 1028471 h 1540877"/>
                  <a:gd name="connsiteX60" fmla="*/ 556317 w 2038608"/>
                  <a:gd name="connsiteY60" fmla="*/ 944290 h 1540877"/>
                  <a:gd name="connsiteX61" fmla="*/ 545337 w 2038608"/>
                  <a:gd name="connsiteY61" fmla="*/ 863769 h 1540877"/>
                  <a:gd name="connsiteX62" fmla="*/ 486777 w 2038608"/>
                  <a:gd name="connsiteY62" fmla="*/ 808869 h 1540877"/>
                  <a:gd name="connsiteX63" fmla="*/ 519717 w 2038608"/>
                  <a:gd name="connsiteY63" fmla="*/ 746648 h 1540877"/>
                  <a:gd name="connsiteX64" fmla="*/ 497757 w 2038608"/>
                  <a:gd name="connsiteY64" fmla="*/ 673447 h 1540877"/>
                  <a:gd name="connsiteX65" fmla="*/ 497757 w 2038608"/>
                  <a:gd name="connsiteY65" fmla="*/ 618547 h 1540877"/>
                  <a:gd name="connsiteX66" fmla="*/ 559977 w 2038608"/>
                  <a:gd name="connsiteY66" fmla="*/ 545346 h 1540877"/>
                  <a:gd name="connsiteX67" fmla="*/ 527037 w 2038608"/>
                  <a:gd name="connsiteY67" fmla="*/ 446525 h 1540877"/>
                  <a:gd name="connsiteX68" fmla="*/ 402598 w 2038608"/>
                  <a:gd name="connsiteY68" fmla="*/ 494105 h 1540877"/>
                  <a:gd name="connsiteX69" fmla="*/ 365998 w 2038608"/>
                  <a:gd name="connsiteY69" fmla="*/ 603906 h 1540877"/>
                  <a:gd name="connsiteX70" fmla="*/ 351358 w 2038608"/>
                  <a:gd name="connsiteY70" fmla="*/ 563646 h 1540877"/>
                  <a:gd name="connsiteX71" fmla="*/ 281818 w 2038608"/>
                  <a:gd name="connsiteY71" fmla="*/ 603906 h 1540877"/>
                  <a:gd name="connsiteX72" fmla="*/ 281818 w 2038608"/>
                  <a:gd name="connsiteY72" fmla="*/ 644167 h 1540877"/>
                  <a:gd name="connsiteX73" fmla="*/ 241559 w 2038608"/>
                  <a:gd name="connsiteY73" fmla="*/ 684427 h 1540877"/>
                  <a:gd name="connsiteX74" fmla="*/ 274498 w 2038608"/>
                  <a:gd name="connsiteY74" fmla="*/ 721028 h 1540877"/>
                  <a:gd name="connsiteX75" fmla="*/ 172019 w 2038608"/>
                  <a:gd name="connsiteY75" fmla="*/ 764948 h 1540877"/>
                  <a:gd name="connsiteX76" fmla="*/ 91499 w 2038608"/>
                  <a:gd name="connsiteY76" fmla="*/ 764948 h 1540877"/>
                  <a:gd name="connsiteX77" fmla="*/ 0 w 2038608"/>
                  <a:gd name="connsiteY77" fmla="*/ 556326 h 1540877"/>
                  <a:gd name="connsiteX78" fmla="*/ 109799 w 2038608"/>
                  <a:gd name="connsiteY78" fmla="*/ 424564 h 1540877"/>
                  <a:gd name="connsiteX79" fmla="*/ 215939 w 2038608"/>
                  <a:gd name="connsiteY79" fmla="*/ 439205 h 1540877"/>
                  <a:gd name="connsiteX80" fmla="*/ 193979 w 2038608"/>
                  <a:gd name="connsiteY80" fmla="*/ 369664 h 1540877"/>
                  <a:gd name="connsiteX81" fmla="*/ 256198 w 2038608"/>
                  <a:gd name="connsiteY81" fmla="*/ 329403 h 1540877"/>
                  <a:gd name="connsiteX82" fmla="*/ 303778 w 2038608"/>
                  <a:gd name="connsiteY82" fmla="*/ 362344 h 1540877"/>
                  <a:gd name="connsiteX83" fmla="*/ 325738 w 2038608"/>
                  <a:gd name="connsiteY83" fmla="*/ 281823 h 1540877"/>
                  <a:gd name="connsiteX84" fmla="*/ 395278 w 2038608"/>
                  <a:gd name="connsiteY84" fmla="*/ 322083 h 1540877"/>
                  <a:gd name="connsiteX85" fmla="*/ 538017 w 2038608"/>
                  <a:gd name="connsiteY85" fmla="*/ 212282 h 1540877"/>
                  <a:gd name="connsiteX86" fmla="*/ 501417 w 2038608"/>
                  <a:gd name="connsiteY86" fmla="*/ 91501 h 1540877"/>
                  <a:gd name="connsiteX87" fmla="*/ 552657 w 2038608"/>
                  <a:gd name="connsiteY87" fmla="*/ 0 h 1540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2038608" h="1540877">
                    <a:moveTo>
                      <a:pt x="552657" y="0"/>
                    </a:moveTo>
                    <a:lnTo>
                      <a:pt x="761276" y="120781"/>
                    </a:lnTo>
                    <a:lnTo>
                      <a:pt x="845455" y="175682"/>
                    </a:lnTo>
                    <a:lnTo>
                      <a:pt x="845455" y="175682"/>
                    </a:lnTo>
                    <a:lnTo>
                      <a:pt x="819835" y="230582"/>
                    </a:lnTo>
                    <a:lnTo>
                      <a:pt x="882055" y="289143"/>
                    </a:lnTo>
                    <a:lnTo>
                      <a:pt x="889375" y="340383"/>
                    </a:lnTo>
                    <a:lnTo>
                      <a:pt x="911335" y="376984"/>
                    </a:lnTo>
                    <a:lnTo>
                      <a:pt x="911335" y="376984"/>
                    </a:lnTo>
                    <a:lnTo>
                      <a:pt x="988194" y="450185"/>
                    </a:lnTo>
                    <a:lnTo>
                      <a:pt x="977214" y="501425"/>
                    </a:lnTo>
                    <a:lnTo>
                      <a:pt x="1046754" y="538026"/>
                    </a:lnTo>
                    <a:lnTo>
                      <a:pt x="1134593" y="655147"/>
                    </a:lnTo>
                    <a:lnTo>
                      <a:pt x="1119954" y="710048"/>
                    </a:lnTo>
                    <a:lnTo>
                      <a:pt x="1028454" y="790568"/>
                    </a:lnTo>
                    <a:lnTo>
                      <a:pt x="1237073" y="794228"/>
                    </a:lnTo>
                    <a:lnTo>
                      <a:pt x="1354192" y="830829"/>
                    </a:lnTo>
                    <a:lnTo>
                      <a:pt x="1405432" y="918670"/>
                    </a:lnTo>
                    <a:lnTo>
                      <a:pt x="1420072" y="1006511"/>
                    </a:lnTo>
                    <a:lnTo>
                      <a:pt x="1716530" y="1010171"/>
                    </a:lnTo>
                    <a:lnTo>
                      <a:pt x="1804370" y="955270"/>
                    </a:lnTo>
                    <a:lnTo>
                      <a:pt x="1917829" y="871089"/>
                    </a:lnTo>
                    <a:lnTo>
                      <a:pt x="2038608" y="790568"/>
                    </a:lnTo>
                    <a:lnTo>
                      <a:pt x="2012988" y="867429"/>
                    </a:lnTo>
                    <a:lnTo>
                      <a:pt x="2038608" y="904030"/>
                    </a:lnTo>
                    <a:lnTo>
                      <a:pt x="1991029" y="958930"/>
                    </a:lnTo>
                    <a:lnTo>
                      <a:pt x="1980049" y="1050431"/>
                    </a:lnTo>
                    <a:lnTo>
                      <a:pt x="1903189" y="1108992"/>
                    </a:lnTo>
                    <a:lnTo>
                      <a:pt x="1804370" y="1207813"/>
                    </a:lnTo>
                    <a:lnTo>
                      <a:pt x="1767770" y="1248073"/>
                    </a:lnTo>
                    <a:lnTo>
                      <a:pt x="1764110" y="1310294"/>
                    </a:lnTo>
                    <a:lnTo>
                      <a:pt x="1716530" y="1372515"/>
                    </a:lnTo>
                    <a:lnTo>
                      <a:pt x="1420072" y="1387155"/>
                    </a:lnTo>
                    <a:lnTo>
                      <a:pt x="1398112" y="1507936"/>
                    </a:lnTo>
                    <a:lnTo>
                      <a:pt x="1343212" y="1504276"/>
                    </a:lnTo>
                    <a:lnTo>
                      <a:pt x="1259033" y="1540877"/>
                    </a:lnTo>
                    <a:lnTo>
                      <a:pt x="1189493" y="1518916"/>
                    </a:lnTo>
                    <a:lnTo>
                      <a:pt x="1145573" y="1522576"/>
                    </a:lnTo>
                    <a:lnTo>
                      <a:pt x="1101654" y="1467676"/>
                    </a:lnTo>
                    <a:lnTo>
                      <a:pt x="1057734" y="1500616"/>
                    </a:lnTo>
                    <a:lnTo>
                      <a:pt x="980874" y="1504276"/>
                    </a:lnTo>
                    <a:lnTo>
                      <a:pt x="936955" y="1529896"/>
                    </a:lnTo>
                    <a:lnTo>
                      <a:pt x="936955" y="1529896"/>
                    </a:lnTo>
                    <a:lnTo>
                      <a:pt x="922315" y="1412775"/>
                    </a:lnTo>
                    <a:lnTo>
                      <a:pt x="889375" y="1398135"/>
                    </a:lnTo>
                    <a:lnTo>
                      <a:pt x="889375" y="1332254"/>
                    </a:lnTo>
                    <a:lnTo>
                      <a:pt x="823495" y="1284674"/>
                    </a:lnTo>
                    <a:lnTo>
                      <a:pt x="786895" y="1302974"/>
                    </a:lnTo>
                    <a:lnTo>
                      <a:pt x="775916" y="1449376"/>
                    </a:lnTo>
                    <a:lnTo>
                      <a:pt x="735656" y="1438395"/>
                    </a:lnTo>
                    <a:lnTo>
                      <a:pt x="731996" y="1383495"/>
                    </a:lnTo>
                    <a:lnTo>
                      <a:pt x="647816" y="1383495"/>
                    </a:lnTo>
                    <a:lnTo>
                      <a:pt x="581937" y="1405455"/>
                    </a:lnTo>
                    <a:lnTo>
                      <a:pt x="508737" y="1354215"/>
                    </a:lnTo>
                    <a:lnTo>
                      <a:pt x="592917" y="1295654"/>
                    </a:lnTo>
                    <a:lnTo>
                      <a:pt x="673436" y="1237093"/>
                    </a:lnTo>
                    <a:lnTo>
                      <a:pt x="636836" y="1171213"/>
                    </a:lnTo>
                    <a:lnTo>
                      <a:pt x="636836" y="1171213"/>
                    </a:lnTo>
                    <a:lnTo>
                      <a:pt x="636836" y="1083372"/>
                    </a:lnTo>
                    <a:lnTo>
                      <a:pt x="567297" y="1028471"/>
                    </a:lnTo>
                    <a:lnTo>
                      <a:pt x="556317" y="944290"/>
                    </a:lnTo>
                    <a:lnTo>
                      <a:pt x="545337" y="863769"/>
                    </a:lnTo>
                    <a:lnTo>
                      <a:pt x="486777" y="808869"/>
                    </a:lnTo>
                    <a:lnTo>
                      <a:pt x="519717" y="746648"/>
                    </a:lnTo>
                    <a:lnTo>
                      <a:pt x="497757" y="673447"/>
                    </a:lnTo>
                    <a:lnTo>
                      <a:pt x="497757" y="618547"/>
                    </a:lnTo>
                    <a:lnTo>
                      <a:pt x="559977" y="545346"/>
                    </a:lnTo>
                    <a:lnTo>
                      <a:pt x="527037" y="446525"/>
                    </a:lnTo>
                    <a:lnTo>
                      <a:pt x="402598" y="494105"/>
                    </a:lnTo>
                    <a:lnTo>
                      <a:pt x="365998" y="603906"/>
                    </a:lnTo>
                    <a:lnTo>
                      <a:pt x="351358" y="563646"/>
                    </a:lnTo>
                    <a:lnTo>
                      <a:pt x="281818" y="603906"/>
                    </a:lnTo>
                    <a:lnTo>
                      <a:pt x="281818" y="644167"/>
                    </a:lnTo>
                    <a:lnTo>
                      <a:pt x="241559" y="684427"/>
                    </a:lnTo>
                    <a:lnTo>
                      <a:pt x="274498" y="721028"/>
                    </a:lnTo>
                    <a:lnTo>
                      <a:pt x="172019" y="764948"/>
                    </a:lnTo>
                    <a:lnTo>
                      <a:pt x="91499" y="764948"/>
                    </a:lnTo>
                    <a:lnTo>
                      <a:pt x="0" y="556326"/>
                    </a:lnTo>
                    <a:lnTo>
                      <a:pt x="109799" y="424564"/>
                    </a:lnTo>
                    <a:lnTo>
                      <a:pt x="215939" y="439205"/>
                    </a:lnTo>
                    <a:lnTo>
                      <a:pt x="193979" y="369664"/>
                    </a:lnTo>
                    <a:lnTo>
                      <a:pt x="256198" y="329403"/>
                    </a:lnTo>
                    <a:lnTo>
                      <a:pt x="303778" y="362344"/>
                    </a:lnTo>
                    <a:lnTo>
                      <a:pt x="325738" y="281823"/>
                    </a:lnTo>
                    <a:lnTo>
                      <a:pt x="395278" y="322083"/>
                    </a:lnTo>
                    <a:lnTo>
                      <a:pt x="538017" y="212282"/>
                    </a:lnTo>
                    <a:lnTo>
                      <a:pt x="501417" y="91501"/>
                    </a:lnTo>
                    <a:lnTo>
                      <a:pt x="552657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5" name="Forma libre 16"/>
              <p:cNvSpPr/>
              <p:nvPr/>
            </p:nvSpPr>
            <p:spPr>
              <a:xfrm>
                <a:off x="1081030" y="6358658"/>
                <a:ext cx="142001" cy="95834"/>
              </a:xfrm>
              <a:custGeom>
                <a:avLst/>
                <a:gdLst>
                  <a:gd name="connsiteX0" fmla="*/ 758825 w 949325"/>
                  <a:gd name="connsiteY0" fmla="*/ 0 h 606425"/>
                  <a:gd name="connsiteX1" fmla="*/ 809625 w 949325"/>
                  <a:gd name="connsiteY1" fmla="*/ 41275 h 606425"/>
                  <a:gd name="connsiteX2" fmla="*/ 831850 w 949325"/>
                  <a:gd name="connsiteY2" fmla="*/ 215900 h 606425"/>
                  <a:gd name="connsiteX3" fmla="*/ 904875 w 949325"/>
                  <a:gd name="connsiteY3" fmla="*/ 269875 h 606425"/>
                  <a:gd name="connsiteX4" fmla="*/ 908050 w 949325"/>
                  <a:gd name="connsiteY4" fmla="*/ 349250 h 606425"/>
                  <a:gd name="connsiteX5" fmla="*/ 949325 w 949325"/>
                  <a:gd name="connsiteY5" fmla="*/ 419100 h 606425"/>
                  <a:gd name="connsiteX6" fmla="*/ 866775 w 949325"/>
                  <a:gd name="connsiteY6" fmla="*/ 479425 h 606425"/>
                  <a:gd name="connsiteX7" fmla="*/ 781050 w 949325"/>
                  <a:gd name="connsiteY7" fmla="*/ 527050 h 606425"/>
                  <a:gd name="connsiteX8" fmla="*/ 720725 w 949325"/>
                  <a:gd name="connsiteY8" fmla="*/ 511175 h 606425"/>
                  <a:gd name="connsiteX9" fmla="*/ 676275 w 949325"/>
                  <a:gd name="connsiteY9" fmla="*/ 454025 h 606425"/>
                  <a:gd name="connsiteX10" fmla="*/ 660400 w 949325"/>
                  <a:gd name="connsiteY10" fmla="*/ 476250 h 606425"/>
                  <a:gd name="connsiteX11" fmla="*/ 635000 w 949325"/>
                  <a:gd name="connsiteY11" fmla="*/ 466725 h 606425"/>
                  <a:gd name="connsiteX12" fmla="*/ 600075 w 949325"/>
                  <a:gd name="connsiteY12" fmla="*/ 434975 h 606425"/>
                  <a:gd name="connsiteX13" fmla="*/ 558800 w 949325"/>
                  <a:gd name="connsiteY13" fmla="*/ 466725 h 606425"/>
                  <a:gd name="connsiteX14" fmla="*/ 523875 w 949325"/>
                  <a:gd name="connsiteY14" fmla="*/ 520700 h 606425"/>
                  <a:gd name="connsiteX15" fmla="*/ 450850 w 949325"/>
                  <a:gd name="connsiteY15" fmla="*/ 520700 h 606425"/>
                  <a:gd name="connsiteX16" fmla="*/ 460375 w 949325"/>
                  <a:gd name="connsiteY16" fmla="*/ 469900 h 606425"/>
                  <a:gd name="connsiteX17" fmla="*/ 415925 w 949325"/>
                  <a:gd name="connsiteY17" fmla="*/ 466725 h 606425"/>
                  <a:gd name="connsiteX18" fmla="*/ 415925 w 949325"/>
                  <a:gd name="connsiteY18" fmla="*/ 466725 h 606425"/>
                  <a:gd name="connsiteX19" fmla="*/ 409575 w 949325"/>
                  <a:gd name="connsiteY19" fmla="*/ 508000 h 606425"/>
                  <a:gd name="connsiteX20" fmla="*/ 346075 w 949325"/>
                  <a:gd name="connsiteY20" fmla="*/ 495300 h 606425"/>
                  <a:gd name="connsiteX21" fmla="*/ 314325 w 949325"/>
                  <a:gd name="connsiteY21" fmla="*/ 517525 h 606425"/>
                  <a:gd name="connsiteX22" fmla="*/ 260350 w 949325"/>
                  <a:gd name="connsiteY22" fmla="*/ 501650 h 606425"/>
                  <a:gd name="connsiteX23" fmla="*/ 225425 w 949325"/>
                  <a:gd name="connsiteY23" fmla="*/ 536575 h 606425"/>
                  <a:gd name="connsiteX24" fmla="*/ 250825 w 949325"/>
                  <a:gd name="connsiteY24" fmla="*/ 577850 h 606425"/>
                  <a:gd name="connsiteX25" fmla="*/ 234950 w 949325"/>
                  <a:gd name="connsiteY25" fmla="*/ 606425 h 606425"/>
                  <a:gd name="connsiteX26" fmla="*/ 200025 w 949325"/>
                  <a:gd name="connsiteY26" fmla="*/ 593725 h 606425"/>
                  <a:gd name="connsiteX27" fmla="*/ 152400 w 949325"/>
                  <a:gd name="connsiteY27" fmla="*/ 533400 h 606425"/>
                  <a:gd name="connsiteX28" fmla="*/ 161925 w 949325"/>
                  <a:gd name="connsiteY28" fmla="*/ 600075 h 606425"/>
                  <a:gd name="connsiteX29" fmla="*/ 161925 w 949325"/>
                  <a:gd name="connsiteY29" fmla="*/ 600075 h 606425"/>
                  <a:gd name="connsiteX30" fmla="*/ 120650 w 949325"/>
                  <a:gd name="connsiteY30" fmla="*/ 596900 h 606425"/>
                  <a:gd name="connsiteX31" fmla="*/ 79375 w 949325"/>
                  <a:gd name="connsiteY31" fmla="*/ 600075 h 606425"/>
                  <a:gd name="connsiteX32" fmla="*/ 31750 w 949325"/>
                  <a:gd name="connsiteY32" fmla="*/ 495300 h 606425"/>
                  <a:gd name="connsiteX33" fmla="*/ 0 w 949325"/>
                  <a:gd name="connsiteY33" fmla="*/ 358775 h 606425"/>
                  <a:gd name="connsiteX34" fmla="*/ 73025 w 949325"/>
                  <a:gd name="connsiteY34" fmla="*/ 317500 h 606425"/>
                  <a:gd name="connsiteX35" fmla="*/ 123825 w 949325"/>
                  <a:gd name="connsiteY35" fmla="*/ 311150 h 606425"/>
                  <a:gd name="connsiteX36" fmla="*/ 133350 w 949325"/>
                  <a:gd name="connsiteY36" fmla="*/ 346075 h 606425"/>
                  <a:gd name="connsiteX37" fmla="*/ 209550 w 949325"/>
                  <a:gd name="connsiteY37" fmla="*/ 346075 h 606425"/>
                  <a:gd name="connsiteX38" fmla="*/ 269875 w 949325"/>
                  <a:gd name="connsiteY38" fmla="*/ 384175 h 606425"/>
                  <a:gd name="connsiteX39" fmla="*/ 279400 w 949325"/>
                  <a:gd name="connsiteY39" fmla="*/ 352425 h 606425"/>
                  <a:gd name="connsiteX40" fmla="*/ 279400 w 949325"/>
                  <a:gd name="connsiteY40" fmla="*/ 352425 h 606425"/>
                  <a:gd name="connsiteX41" fmla="*/ 307975 w 949325"/>
                  <a:gd name="connsiteY41" fmla="*/ 301625 h 606425"/>
                  <a:gd name="connsiteX42" fmla="*/ 374650 w 949325"/>
                  <a:gd name="connsiteY42" fmla="*/ 282575 h 606425"/>
                  <a:gd name="connsiteX43" fmla="*/ 371475 w 949325"/>
                  <a:gd name="connsiteY43" fmla="*/ 209550 h 606425"/>
                  <a:gd name="connsiteX44" fmla="*/ 409575 w 949325"/>
                  <a:gd name="connsiteY44" fmla="*/ 161925 h 606425"/>
                  <a:gd name="connsiteX45" fmla="*/ 447675 w 949325"/>
                  <a:gd name="connsiteY45" fmla="*/ 203200 h 606425"/>
                  <a:gd name="connsiteX46" fmla="*/ 511175 w 949325"/>
                  <a:gd name="connsiteY46" fmla="*/ 149225 h 606425"/>
                  <a:gd name="connsiteX47" fmla="*/ 520700 w 949325"/>
                  <a:gd name="connsiteY47" fmla="*/ 107950 h 606425"/>
                  <a:gd name="connsiteX48" fmla="*/ 549275 w 949325"/>
                  <a:gd name="connsiteY48" fmla="*/ 136525 h 606425"/>
                  <a:gd name="connsiteX49" fmla="*/ 654050 w 949325"/>
                  <a:gd name="connsiteY49" fmla="*/ 120650 h 606425"/>
                  <a:gd name="connsiteX50" fmla="*/ 679450 w 949325"/>
                  <a:gd name="connsiteY50" fmla="*/ 107950 h 606425"/>
                  <a:gd name="connsiteX51" fmla="*/ 720725 w 949325"/>
                  <a:gd name="connsiteY51" fmla="*/ 95250 h 606425"/>
                  <a:gd name="connsiteX52" fmla="*/ 758825 w 949325"/>
                  <a:gd name="connsiteY52" fmla="*/ 0 h 606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49325" h="606425">
                    <a:moveTo>
                      <a:pt x="758825" y="0"/>
                    </a:moveTo>
                    <a:lnTo>
                      <a:pt x="809625" y="41275"/>
                    </a:lnTo>
                    <a:lnTo>
                      <a:pt x="831850" y="215900"/>
                    </a:lnTo>
                    <a:lnTo>
                      <a:pt x="904875" y="269875"/>
                    </a:lnTo>
                    <a:lnTo>
                      <a:pt x="908050" y="349250"/>
                    </a:lnTo>
                    <a:lnTo>
                      <a:pt x="949325" y="419100"/>
                    </a:lnTo>
                    <a:lnTo>
                      <a:pt x="866775" y="479425"/>
                    </a:lnTo>
                    <a:lnTo>
                      <a:pt x="781050" y="527050"/>
                    </a:lnTo>
                    <a:lnTo>
                      <a:pt x="720725" y="511175"/>
                    </a:lnTo>
                    <a:lnTo>
                      <a:pt x="676275" y="454025"/>
                    </a:lnTo>
                    <a:lnTo>
                      <a:pt x="660400" y="476250"/>
                    </a:lnTo>
                    <a:lnTo>
                      <a:pt x="635000" y="466725"/>
                    </a:lnTo>
                    <a:lnTo>
                      <a:pt x="600075" y="434975"/>
                    </a:lnTo>
                    <a:lnTo>
                      <a:pt x="558800" y="466725"/>
                    </a:lnTo>
                    <a:lnTo>
                      <a:pt x="523875" y="520700"/>
                    </a:lnTo>
                    <a:lnTo>
                      <a:pt x="450850" y="520700"/>
                    </a:lnTo>
                    <a:lnTo>
                      <a:pt x="460375" y="469900"/>
                    </a:lnTo>
                    <a:lnTo>
                      <a:pt x="415925" y="466725"/>
                    </a:lnTo>
                    <a:lnTo>
                      <a:pt x="415925" y="466725"/>
                    </a:lnTo>
                    <a:lnTo>
                      <a:pt x="409575" y="508000"/>
                    </a:lnTo>
                    <a:lnTo>
                      <a:pt x="346075" y="495300"/>
                    </a:lnTo>
                    <a:lnTo>
                      <a:pt x="314325" y="517525"/>
                    </a:lnTo>
                    <a:lnTo>
                      <a:pt x="260350" y="501650"/>
                    </a:lnTo>
                    <a:lnTo>
                      <a:pt x="225425" y="536575"/>
                    </a:lnTo>
                    <a:lnTo>
                      <a:pt x="250825" y="577850"/>
                    </a:lnTo>
                    <a:lnTo>
                      <a:pt x="234950" y="606425"/>
                    </a:lnTo>
                    <a:lnTo>
                      <a:pt x="200025" y="593725"/>
                    </a:lnTo>
                    <a:lnTo>
                      <a:pt x="152400" y="533400"/>
                    </a:lnTo>
                    <a:lnTo>
                      <a:pt x="161925" y="600075"/>
                    </a:lnTo>
                    <a:lnTo>
                      <a:pt x="161925" y="600075"/>
                    </a:lnTo>
                    <a:lnTo>
                      <a:pt x="120650" y="596900"/>
                    </a:lnTo>
                    <a:lnTo>
                      <a:pt x="79375" y="600075"/>
                    </a:lnTo>
                    <a:lnTo>
                      <a:pt x="31750" y="495300"/>
                    </a:lnTo>
                    <a:lnTo>
                      <a:pt x="0" y="358775"/>
                    </a:lnTo>
                    <a:lnTo>
                      <a:pt x="73025" y="317500"/>
                    </a:lnTo>
                    <a:lnTo>
                      <a:pt x="123825" y="311150"/>
                    </a:lnTo>
                    <a:lnTo>
                      <a:pt x="133350" y="346075"/>
                    </a:lnTo>
                    <a:lnTo>
                      <a:pt x="209550" y="346075"/>
                    </a:lnTo>
                    <a:lnTo>
                      <a:pt x="269875" y="384175"/>
                    </a:lnTo>
                    <a:lnTo>
                      <a:pt x="279400" y="352425"/>
                    </a:lnTo>
                    <a:lnTo>
                      <a:pt x="279400" y="352425"/>
                    </a:lnTo>
                    <a:lnTo>
                      <a:pt x="307975" y="301625"/>
                    </a:lnTo>
                    <a:lnTo>
                      <a:pt x="374650" y="282575"/>
                    </a:lnTo>
                    <a:lnTo>
                      <a:pt x="371475" y="209550"/>
                    </a:lnTo>
                    <a:lnTo>
                      <a:pt x="409575" y="161925"/>
                    </a:lnTo>
                    <a:lnTo>
                      <a:pt x="447675" y="203200"/>
                    </a:lnTo>
                    <a:lnTo>
                      <a:pt x="511175" y="149225"/>
                    </a:lnTo>
                    <a:lnTo>
                      <a:pt x="520700" y="107950"/>
                    </a:lnTo>
                    <a:lnTo>
                      <a:pt x="549275" y="136525"/>
                    </a:lnTo>
                    <a:lnTo>
                      <a:pt x="654050" y="120650"/>
                    </a:lnTo>
                    <a:lnTo>
                      <a:pt x="679450" y="107950"/>
                    </a:lnTo>
                    <a:lnTo>
                      <a:pt x="720725" y="95250"/>
                    </a:lnTo>
                    <a:lnTo>
                      <a:pt x="758825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Forma libre 17"/>
              <p:cNvSpPr/>
              <p:nvPr/>
            </p:nvSpPr>
            <p:spPr>
              <a:xfrm>
                <a:off x="1092428" y="6430909"/>
                <a:ext cx="174296" cy="115904"/>
              </a:xfrm>
              <a:custGeom>
                <a:avLst/>
                <a:gdLst>
                  <a:gd name="connsiteX0" fmla="*/ 365125 w 1165225"/>
                  <a:gd name="connsiteY0" fmla="*/ 733425 h 733425"/>
                  <a:gd name="connsiteX1" fmla="*/ 473075 w 1165225"/>
                  <a:gd name="connsiteY1" fmla="*/ 650875 h 733425"/>
                  <a:gd name="connsiteX2" fmla="*/ 539750 w 1165225"/>
                  <a:gd name="connsiteY2" fmla="*/ 565150 h 733425"/>
                  <a:gd name="connsiteX3" fmla="*/ 542925 w 1165225"/>
                  <a:gd name="connsiteY3" fmla="*/ 482600 h 733425"/>
                  <a:gd name="connsiteX4" fmla="*/ 596900 w 1165225"/>
                  <a:gd name="connsiteY4" fmla="*/ 492125 h 733425"/>
                  <a:gd name="connsiteX5" fmla="*/ 635000 w 1165225"/>
                  <a:gd name="connsiteY5" fmla="*/ 504825 h 733425"/>
                  <a:gd name="connsiteX6" fmla="*/ 704850 w 1165225"/>
                  <a:gd name="connsiteY6" fmla="*/ 479425 h 733425"/>
                  <a:gd name="connsiteX7" fmla="*/ 781050 w 1165225"/>
                  <a:gd name="connsiteY7" fmla="*/ 504825 h 733425"/>
                  <a:gd name="connsiteX8" fmla="*/ 803275 w 1165225"/>
                  <a:gd name="connsiteY8" fmla="*/ 555625 h 733425"/>
                  <a:gd name="connsiteX9" fmla="*/ 889000 w 1165225"/>
                  <a:gd name="connsiteY9" fmla="*/ 593725 h 733425"/>
                  <a:gd name="connsiteX10" fmla="*/ 952500 w 1165225"/>
                  <a:gd name="connsiteY10" fmla="*/ 561975 h 733425"/>
                  <a:gd name="connsiteX11" fmla="*/ 1028700 w 1165225"/>
                  <a:gd name="connsiteY11" fmla="*/ 561975 h 733425"/>
                  <a:gd name="connsiteX12" fmla="*/ 1066800 w 1165225"/>
                  <a:gd name="connsiteY12" fmla="*/ 619125 h 733425"/>
                  <a:gd name="connsiteX13" fmla="*/ 1092200 w 1165225"/>
                  <a:gd name="connsiteY13" fmla="*/ 568325 h 733425"/>
                  <a:gd name="connsiteX14" fmla="*/ 1130300 w 1165225"/>
                  <a:gd name="connsiteY14" fmla="*/ 552450 h 733425"/>
                  <a:gd name="connsiteX15" fmla="*/ 1165225 w 1165225"/>
                  <a:gd name="connsiteY15" fmla="*/ 523875 h 733425"/>
                  <a:gd name="connsiteX16" fmla="*/ 1111250 w 1165225"/>
                  <a:gd name="connsiteY16" fmla="*/ 428625 h 733425"/>
                  <a:gd name="connsiteX17" fmla="*/ 1079500 w 1165225"/>
                  <a:gd name="connsiteY17" fmla="*/ 425450 h 733425"/>
                  <a:gd name="connsiteX18" fmla="*/ 1079500 w 1165225"/>
                  <a:gd name="connsiteY18" fmla="*/ 371475 h 733425"/>
                  <a:gd name="connsiteX19" fmla="*/ 1079500 w 1165225"/>
                  <a:gd name="connsiteY19" fmla="*/ 371475 h 733425"/>
                  <a:gd name="connsiteX20" fmla="*/ 1127125 w 1165225"/>
                  <a:gd name="connsiteY20" fmla="*/ 301625 h 733425"/>
                  <a:gd name="connsiteX21" fmla="*/ 1133475 w 1165225"/>
                  <a:gd name="connsiteY21" fmla="*/ 244475 h 733425"/>
                  <a:gd name="connsiteX22" fmla="*/ 1108075 w 1165225"/>
                  <a:gd name="connsiteY22" fmla="*/ 146050 h 733425"/>
                  <a:gd name="connsiteX23" fmla="*/ 1076325 w 1165225"/>
                  <a:gd name="connsiteY23" fmla="*/ 123825 h 733425"/>
                  <a:gd name="connsiteX24" fmla="*/ 1079500 w 1165225"/>
                  <a:gd name="connsiteY24" fmla="*/ 57150 h 733425"/>
                  <a:gd name="connsiteX25" fmla="*/ 1022350 w 1165225"/>
                  <a:gd name="connsiteY25" fmla="*/ 15875 h 733425"/>
                  <a:gd name="connsiteX26" fmla="*/ 996950 w 1165225"/>
                  <a:gd name="connsiteY26" fmla="*/ 31750 h 733425"/>
                  <a:gd name="connsiteX27" fmla="*/ 996950 w 1165225"/>
                  <a:gd name="connsiteY27" fmla="*/ 184150 h 733425"/>
                  <a:gd name="connsiteX28" fmla="*/ 939800 w 1165225"/>
                  <a:gd name="connsiteY28" fmla="*/ 180975 h 733425"/>
                  <a:gd name="connsiteX29" fmla="*/ 920750 w 1165225"/>
                  <a:gd name="connsiteY29" fmla="*/ 107950 h 733425"/>
                  <a:gd name="connsiteX30" fmla="*/ 758825 w 1165225"/>
                  <a:gd name="connsiteY30" fmla="*/ 142875 h 733425"/>
                  <a:gd name="connsiteX31" fmla="*/ 708025 w 1165225"/>
                  <a:gd name="connsiteY31" fmla="*/ 85725 h 733425"/>
                  <a:gd name="connsiteX32" fmla="*/ 628650 w 1165225"/>
                  <a:gd name="connsiteY32" fmla="*/ 69850 h 733425"/>
                  <a:gd name="connsiteX33" fmla="*/ 587375 w 1165225"/>
                  <a:gd name="connsiteY33" fmla="*/ 31750 h 733425"/>
                  <a:gd name="connsiteX34" fmla="*/ 555625 w 1165225"/>
                  <a:gd name="connsiteY34" fmla="*/ 38100 h 733425"/>
                  <a:gd name="connsiteX35" fmla="*/ 523875 w 1165225"/>
                  <a:gd name="connsiteY35" fmla="*/ 0 h 733425"/>
                  <a:gd name="connsiteX36" fmla="*/ 457200 w 1165225"/>
                  <a:gd name="connsiteY36" fmla="*/ 76200 h 733425"/>
                  <a:gd name="connsiteX37" fmla="*/ 352425 w 1165225"/>
                  <a:gd name="connsiteY37" fmla="*/ 85725 h 733425"/>
                  <a:gd name="connsiteX38" fmla="*/ 374650 w 1165225"/>
                  <a:gd name="connsiteY38" fmla="*/ 25400 h 733425"/>
                  <a:gd name="connsiteX39" fmla="*/ 374650 w 1165225"/>
                  <a:gd name="connsiteY39" fmla="*/ 25400 h 733425"/>
                  <a:gd name="connsiteX40" fmla="*/ 323850 w 1165225"/>
                  <a:gd name="connsiteY40" fmla="*/ 66675 h 733425"/>
                  <a:gd name="connsiteX41" fmla="*/ 273050 w 1165225"/>
                  <a:gd name="connsiteY41" fmla="*/ 60325 h 733425"/>
                  <a:gd name="connsiteX42" fmla="*/ 273050 w 1165225"/>
                  <a:gd name="connsiteY42" fmla="*/ 60325 h 733425"/>
                  <a:gd name="connsiteX43" fmla="*/ 254000 w 1165225"/>
                  <a:gd name="connsiteY43" fmla="*/ 88900 h 733425"/>
                  <a:gd name="connsiteX44" fmla="*/ 180975 w 1165225"/>
                  <a:gd name="connsiteY44" fmla="*/ 66675 h 733425"/>
                  <a:gd name="connsiteX45" fmla="*/ 180975 w 1165225"/>
                  <a:gd name="connsiteY45" fmla="*/ 66675 h 733425"/>
                  <a:gd name="connsiteX46" fmla="*/ 168275 w 1165225"/>
                  <a:gd name="connsiteY46" fmla="*/ 95250 h 733425"/>
                  <a:gd name="connsiteX47" fmla="*/ 203200 w 1165225"/>
                  <a:gd name="connsiteY47" fmla="*/ 133350 h 733425"/>
                  <a:gd name="connsiteX48" fmla="*/ 152400 w 1165225"/>
                  <a:gd name="connsiteY48" fmla="*/ 171450 h 733425"/>
                  <a:gd name="connsiteX49" fmla="*/ 101600 w 1165225"/>
                  <a:gd name="connsiteY49" fmla="*/ 146050 h 733425"/>
                  <a:gd name="connsiteX50" fmla="*/ 76200 w 1165225"/>
                  <a:gd name="connsiteY50" fmla="*/ 174625 h 733425"/>
                  <a:gd name="connsiteX51" fmla="*/ 0 w 1165225"/>
                  <a:gd name="connsiteY51" fmla="*/ 155575 h 733425"/>
                  <a:gd name="connsiteX52" fmla="*/ 50800 w 1165225"/>
                  <a:gd name="connsiteY52" fmla="*/ 327025 h 733425"/>
                  <a:gd name="connsiteX53" fmla="*/ 117475 w 1165225"/>
                  <a:gd name="connsiteY53" fmla="*/ 317500 h 733425"/>
                  <a:gd name="connsiteX54" fmla="*/ 130175 w 1165225"/>
                  <a:gd name="connsiteY54" fmla="*/ 403225 h 733425"/>
                  <a:gd name="connsiteX55" fmla="*/ 177800 w 1165225"/>
                  <a:gd name="connsiteY55" fmla="*/ 469900 h 733425"/>
                  <a:gd name="connsiteX56" fmla="*/ 295275 w 1165225"/>
                  <a:gd name="connsiteY56" fmla="*/ 485775 h 733425"/>
                  <a:gd name="connsiteX57" fmla="*/ 336550 w 1165225"/>
                  <a:gd name="connsiteY57" fmla="*/ 539750 h 733425"/>
                  <a:gd name="connsiteX58" fmla="*/ 314325 w 1165225"/>
                  <a:gd name="connsiteY58" fmla="*/ 574675 h 733425"/>
                  <a:gd name="connsiteX59" fmla="*/ 371475 w 1165225"/>
                  <a:gd name="connsiteY59" fmla="*/ 625475 h 733425"/>
                  <a:gd name="connsiteX60" fmla="*/ 365125 w 1165225"/>
                  <a:gd name="connsiteY60" fmla="*/ 733425 h 733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165225" h="733425">
                    <a:moveTo>
                      <a:pt x="365125" y="733425"/>
                    </a:moveTo>
                    <a:lnTo>
                      <a:pt x="473075" y="650875"/>
                    </a:lnTo>
                    <a:lnTo>
                      <a:pt x="539750" y="565150"/>
                    </a:lnTo>
                    <a:lnTo>
                      <a:pt x="542925" y="482600"/>
                    </a:lnTo>
                    <a:lnTo>
                      <a:pt x="596900" y="492125"/>
                    </a:lnTo>
                    <a:lnTo>
                      <a:pt x="635000" y="504825"/>
                    </a:lnTo>
                    <a:lnTo>
                      <a:pt x="704850" y="479425"/>
                    </a:lnTo>
                    <a:lnTo>
                      <a:pt x="781050" y="504825"/>
                    </a:lnTo>
                    <a:lnTo>
                      <a:pt x="803275" y="555625"/>
                    </a:lnTo>
                    <a:lnTo>
                      <a:pt x="889000" y="593725"/>
                    </a:lnTo>
                    <a:lnTo>
                      <a:pt x="952500" y="561975"/>
                    </a:lnTo>
                    <a:lnTo>
                      <a:pt x="1028700" y="561975"/>
                    </a:lnTo>
                    <a:lnTo>
                      <a:pt x="1066800" y="619125"/>
                    </a:lnTo>
                    <a:lnTo>
                      <a:pt x="1092200" y="568325"/>
                    </a:lnTo>
                    <a:lnTo>
                      <a:pt x="1130300" y="552450"/>
                    </a:lnTo>
                    <a:lnTo>
                      <a:pt x="1165225" y="523875"/>
                    </a:lnTo>
                    <a:lnTo>
                      <a:pt x="1111250" y="428625"/>
                    </a:lnTo>
                    <a:lnTo>
                      <a:pt x="1079500" y="425450"/>
                    </a:lnTo>
                    <a:lnTo>
                      <a:pt x="1079500" y="371475"/>
                    </a:lnTo>
                    <a:lnTo>
                      <a:pt x="1079500" y="371475"/>
                    </a:lnTo>
                    <a:lnTo>
                      <a:pt x="1127125" y="301625"/>
                    </a:lnTo>
                    <a:lnTo>
                      <a:pt x="1133475" y="244475"/>
                    </a:lnTo>
                    <a:lnTo>
                      <a:pt x="1108075" y="146050"/>
                    </a:lnTo>
                    <a:lnTo>
                      <a:pt x="1076325" y="123825"/>
                    </a:lnTo>
                    <a:lnTo>
                      <a:pt x="1079500" y="57150"/>
                    </a:lnTo>
                    <a:lnTo>
                      <a:pt x="1022350" y="15875"/>
                    </a:lnTo>
                    <a:lnTo>
                      <a:pt x="996950" y="31750"/>
                    </a:lnTo>
                    <a:lnTo>
                      <a:pt x="996950" y="184150"/>
                    </a:lnTo>
                    <a:lnTo>
                      <a:pt x="939800" y="180975"/>
                    </a:lnTo>
                    <a:lnTo>
                      <a:pt x="920750" y="107950"/>
                    </a:lnTo>
                    <a:lnTo>
                      <a:pt x="758825" y="142875"/>
                    </a:lnTo>
                    <a:lnTo>
                      <a:pt x="708025" y="85725"/>
                    </a:lnTo>
                    <a:lnTo>
                      <a:pt x="628650" y="69850"/>
                    </a:lnTo>
                    <a:lnTo>
                      <a:pt x="587375" y="31750"/>
                    </a:lnTo>
                    <a:lnTo>
                      <a:pt x="555625" y="38100"/>
                    </a:lnTo>
                    <a:lnTo>
                      <a:pt x="523875" y="0"/>
                    </a:lnTo>
                    <a:lnTo>
                      <a:pt x="457200" y="76200"/>
                    </a:lnTo>
                    <a:lnTo>
                      <a:pt x="352425" y="85725"/>
                    </a:lnTo>
                    <a:lnTo>
                      <a:pt x="374650" y="25400"/>
                    </a:lnTo>
                    <a:lnTo>
                      <a:pt x="374650" y="25400"/>
                    </a:lnTo>
                    <a:lnTo>
                      <a:pt x="323850" y="66675"/>
                    </a:lnTo>
                    <a:lnTo>
                      <a:pt x="273050" y="60325"/>
                    </a:lnTo>
                    <a:lnTo>
                      <a:pt x="273050" y="60325"/>
                    </a:lnTo>
                    <a:lnTo>
                      <a:pt x="254000" y="88900"/>
                    </a:lnTo>
                    <a:lnTo>
                      <a:pt x="180975" y="66675"/>
                    </a:lnTo>
                    <a:lnTo>
                      <a:pt x="180975" y="66675"/>
                    </a:lnTo>
                    <a:lnTo>
                      <a:pt x="168275" y="95250"/>
                    </a:lnTo>
                    <a:lnTo>
                      <a:pt x="203200" y="133350"/>
                    </a:lnTo>
                    <a:lnTo>
                      <a:pt x="152400" y="171450"/>
                    </a:lnTo>
                    <a:lnTo>
                      <a:pt x="101600" y="146050"/>
                    </a:lnTo>
                    <a:lnTo>
                      <a:pt x="76200" y="174625"/>
                    </a:lnTo>
                    <a:lnTo>
                      <a:pt x="0" y="155575"/>
                    </a:lnTo>
                    <a:lnTo>
                      <a:pt x="50800" y="327025"/>
                    </a:lnTo>
                    <a:lnTo>
                      <a:pt x="117475" y="317500"/>
                    </a:lnTo>
                    <a:lnTo>
                      <a:pt x="130175" y="403225"/>
                    </a:lnTo>
                    <a:lnTo>
                      <a:pt x="177800" y="469900"/>
                    </a:lnTo>
                    <a:lnTo>
                      <a:pt x="295275" y="485775"/>
                    </a:lnTo>
                    <a:lnTo>
                      <a:pt x="336550" y="539750"/>
                    </a:lnTo>
                    <a:lnTo>
                      <a:pt x="314325" y="574675"/>
                    </a:lnTo>
                    <a:lnTo>
                      <a:pt x="371475" y="625475"/>
                    </a:lnTo>
                    <a:lnTo>
                      <a:pt x="365125" y="73342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Forma libre 18"/>
              <p:cNvSpPr/>
              <p:nvPr/>
            </p:nvSpPr>
            <p:spPr>
              <a:xfrm>
                <a:off x="1320390" y="6382742"/>
                <a:ext cx="211339" cy="203710"/>
              </a:xfrm>
              <a:custGeom>
                <a:avLst/>
                <a:gdLst>
                  <a:gd name="connsiteX0" fmla="*/ 1412875 w 1412875"/>
                  <a:gd name="connsiteY0" fmla="*/ 974725 h 1289050"/>
                  <a:gd name="connsiteX1" fmla="*/ 1225550 w 1412875"/>
                  <a:gd name="connsiteY1" fmla="*/ 641350 h 1289050"/>
                  <a:gd name="connsiteX2" fmla="*/ 1057275 w 1412875"/>
                  <a:gd name="connsiteY2" fmla="*/ 384175 h 1289050"/>
                  <a:gd name="connsiteX3" fmla="*/ 1003300 w 1412875"/>
                  <a:gd name="connsiteY3" fmla="*/ 403225 h 1289050"/>
                  <a:gd name="connsiteX4" fmla="*/ 1003300 w 1412875"/>
                  <a:gd name="connsiteY4" fmla="*/ 403225 h 1289050"/>
                  <a:gd name="connsiteX5" fmla="*/ 977900 w 1412875"/>
                  <a:gd name="connsiteY5" fmla="*/ 374650 h 1289050"/>
                  <a:gd name="connsiteX6" fmla="*/ 901700 w 1412875"/>
                  <a:gd name="connsiteY6" fmla="*/ 390525 h 1289050"/>
                  <a:gd name="connsiteX7" fmla="*/ 831850 w 1412875"/>
                  <a:gd name="connsiteY7" fmla="*/ 438150 h 1289050"/>
                  <a:gd name="connsiteX8" fmla="*/ 755650 w 1412875"/>
                  <a:gd name="connsiteY8" fmla="*/ 438150 h 1289050"/>
                  <a:gd name="connsiteX9" fmla="*/ 711200 w 1412875"/>
                  <a:gd name="connsiteY9" fmla="*/ 387350 h 1289050"/>
                  <a:gd name="connsiteX10" fmla="*/ 679450 w 1412875"/>
                  <a:gd name="connsiteY10" fmla="*/ 415925 h 1289050"/>
                  <a:gd name="connsiteX11" fmla="*/ 682625 w 1412875"/>
                  <a:gd name="connsiteY11" fmla="*/ 0 h 1289050"/>
                  <a:gd name="connsiteX12" fmla="*/ 650875 w 1412875"/>
                  <a:gd name="connsiteY12" fmla="*/ 98425 h 1289050"/>
                  <a:gd name="connsiteX13" fmla="*/ 542925 w 1412875"/>
                  <a:gd name="connsiteY13" fmla="*/ 187325 h 1289050"/>
                  <a:gd name="connsiteX14" fmla="*/ 457200 w 1412875"/>
                  <a:gd name="connsiteY14" fmla="*/ 276225 h 1289050"/>
                  <a:gd name="connsiteX15" fmla="*/ 457200 w 1412875"/>
                  <a:gd name="connsiteY15" fmla="*/ 333375 h 1289050"/>
                  <a:gd name="connsiteX16" fmla="*/ 400050 w 1412875"/>
                  <a:gd name="connsiteY16" fmla="*/ 406400 h 1289050"/>
                  <a:gd name="connsiteX17" fmla="*/ 111125 w 1412875"/>
                  <a:gd name="connsiteY17" fmla="*/ 425450 h 1289050"/>
                  <a:gd name="connsiteX18" fmla="*/ 85725 w 1412875"/>
                  <a:gd name="connsiteY18" fmla="*/ 542925 h 1289050"/>
                  <a:gd name="connsiteX19" fmla="*/ 0 w 1412875"/>
                  <a:gd name="connsiteY19" fmla="*/ 688975 h 1289050"/>
                  <a:gd name="connsiteX20" fmla="*/ 31750 w 1412875"/>
                  <a:gd name="connsiteY20" fmla="*/ 765175 h 1289050"/>
                  <a:gd name="connsiteX21" fmla="*/ 66675 w 1412875"/>
                  <a:gd name="connsiteY21" fmla="*/ 809625 h 1289050"/>
                  <a:gd name="connsiteX22" fmla="*/ 120650 w 1412875"/>
                  <a:gd name="connsiteY22" fmla="*/ 809625 h 1289050"/>
                  <a:gd name="connsiteX23" fmla="*/ 123825 w 1412875"/>
                  <a:gd name="connsiteY23" fmla="*/ 882650 h 1289050"/>
                  <a:gd name="connsiteX24" fmla="*/ 177800 w 1412875"/>
                  <a:gd name="connsiteY24" fmla="*/ 920750 h 1289050"/>
                  <a:gd name="connsiteX25" fmla="*/ 136525 w 1412875"/>
                  <a:gd name="connsiteY25" fmla="*/ 968375 h 1289050"/>
                  <a:gd name="connsiteX26" fmla="*/ 180975 w 1412875"/>
                  <a:gd name="connsiteY26" fmla="*/ 1047750 h 1289050"/>
                  <a:gd name="connsiteX27" fmla="*/ 260350 w 1412875"/>
                  <a:gd name="connsiteY27" fmla="*/ 1085850 h 1289050"/>
                  <a:gd name="connsiteX28" fmla="*/ 314325 w 1412875"/>
                  <a:gd name="connsiteY28" fmla="*/ 1047750 h 1289050"/>
                  <a:gd name="connsiteX29" fmla="*/ 377825 w 1412875"/>
                  <a:gd name="connsiteY29" fmla="*/ 1123950 h 1289050"/>
                  <a:gd name="connsiteX30" fmla="*/ 434975 w 1412875"/>
                  <a:gd name="connsiteY30" fmla="*/ 1155700 h 1289050"/>
                  <a:gd name="connsiteX31" fmla="*/ 482600 w 1412875"/>
                  <a:gd name="connsiteY31" fmla="*/ 1155700 h 1289050"/>
                  <a:gd name="connsiteX32" fmla="*/ 482600 w 1412875"/>
                  <a:gd name="connsiteY32" fmla="*/ 1254125 h 1289050"/>
                  <a:gd name="connsiteX33" fmla="*/ 520700 w 1412875"/>
                  <a:gd name="connsiteY33" fmla="*/ 1263650 h 1289050"/>
                  <a:gd name="connsiteX34" fmla="*/ 581025 w 1412875"/>
                  <a:gd name="connsiteY34" fmla="*/ 1187450 h 1289050"/>
                  <a:gd name="connsiteX35" fmla="*/ 638175 w 1412875"/>
                  <a:gd name="connsiteY35" fmla="*/ 1212850 h 1289050"/>
                  <a:gd name="connsiteX36" fmla="*/ 673100 w 1412875"/>
                  <a:gd name="connsiteY36" fmla="*/ 1193800 h 1289050"/>
                  <a:gd name="connsiteX37" fmla="*/ 701675 w 1412875"/>
                  <a:gd name="connsiteY37" fmla="*/ 1225550 h 1289050"/>
                  <a:gd name="connsiteX38" fmla="*/ 755650 w 1412875"/>
                  <a:gd name="connsiteY38" fmla="*/ 1231900 h 1289050"/>
                  <a:gd name="connsiteX39" fmla="*/ 755650 w 1412875"/>
                  <a:gd name="connsiteY39" fmla="*/ 1196975 h 1289050"/>
                  <a:gd name="connsiteX40" fmla="*/ 1044575 w 1412875"/>
                  <a:gd name="connsiteY40" fmla="*/ 1289050 h 1289050"/>
                  <a:gd name="connsiteX41" fmla="*/ 1327150 w 1412875"/>
                  <a:gd name="connsiteY41" fmla="*/ 1155700 h 1289050"/>
                  <a:gd name="connsiteX42" fmla="*/ 1333500 w 1412875"/>
                  <a:gd name="connsiteY42" fmla="*/ 1085850 h 1289050"/>
                  <a:gd name="connsiteX43" fmla="*/ 1384300 w 1412875"/>
                  <a:gd name="connsiteY43" fmla="*/ 1050925 h 1289050"/>
                  <a:gd name="connsiteX44" fmla="*/ 1412875 w 1412875"/>
                  <a:gd name="connsiteY44" fmla="*/ 974725 h 128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412875" h="1289050">
                    <a:moveTo>
                      <a:pt x="1412875" y="974725"/>
                    </a:moveTo>
                    <a:lnTo>
                      <a:pt x="1225550" y="641350"/>
                    </a:lnTo>
                    <a:lnTo>
                      <a:pt x="1057275" y="384175"/>
                    </a:lnTo>
                    <a:lnTo>
                      <a:pt x="1003300" y="403225"/>
                    </a:lnTo>
                    <a:lnTo>
                      <a:pt x="1003300" y="403225"/>
                    </a:lnTo>
                    <a:lnTo>
                      <a:pt x="977900" y="374650"/>
                    </a:lnTo>
                    <a:lnTo>
                      <a:pt x="901700" y="390525"/>
                    </a:lnTo>
                    <a:lnTo>
                      <a:pt x="831850" y="438150"/>
                    </a:lnTo>
                    <a:lnTo>
                      <a:pt x="755650" y="438150"/>
                    </a:lnTo>
                    <a:lnTo>
                      <a:pt x="711200" y="387350"/>
                    </a:lnTo>
                    <a:lnTo>
                      <a:pt x="679450" y="415925"/>
                    </a:lnTo>
                    <a:cubicBezTo>
                      <a:pt x="680508" y="277283"/>
                      <a:pt x="681567" y="138642"/>
                      <a:pt x="682625" y="0"/>
                    </a:cubicBezTo>
                    <a:lnTo>
                      <a:pt x="650875" y="98425"/>
                    </a:lnTo>
                    <a:lnTo>
                      <a:pt x="542925" y="187325"/>
                    </a:lnTo>
                    <a:lnTo>
                      <a:pt x="457200" y="276225"/>
                    </a:lnTo>
                    <a:lnTo>
                      <a:pt x="457200" y="333375"/>
                    </a:lnTo>
                    <a:lnTo>
                      <a:pt x="400050" y="406400"/>
                    </a:lnTo>
                    <a:lnTo>
                      <a:pt x="111125" y="425450"/>
                    </a:lnTo>
                    <a:lnTo>
                      <a:pt x="85725" y="542925"/>
                    </a:lnTo>
                    <a:lnTo>
                      <a:pt x="0" y="688975"/>
                    </a:lnTo>
                    <a:lnTo>
                      <a:pt x="31750" y="765175"/>
                    </a:lnTo>
                    <a:lnTo>
                      <a:pt x="66675" y="809625"/>
                    </a:lnTo>
                    <a:lnTo>
                      <a:pt x="120650" y="809625"/>
                    </a:lnTo>
                    <a:lnTo>
                      <a:pt x="123825" y="882650"/>
                    </a:lnTo>
                    <a:lnTo>
                      <a:pt x="177800" y="920750"/>
                    </a:lnTo>
                    <a:lnTo>
                      <a:pt x="136525" y="968375"/>
                    </a:lnTo>
                    <a:lnTo>
                      <a:pt x="180975" y="1047750"/>
                    </a:lnTo>
                    <a:lnTo>
                      <a:pt x="260350" y="1085850"/>
                    </a:lnTo>
                    <a:lnTo>
                      <a:pt x="314325" y="1047750"/>
                    </a:lnTo>
                    <a:lnTo>
                      <a:pt x="377825" y="1123950"/>
                    </a:lnTo>
                    <a:lnTo>
                      <a:pt x="434975" y="1155700"/>
                    </a:lnTo>
                    <a:lnTo>
                      <a:pt x="482600" y="1155700"/>
                    </a:lnTo>
                    <a:lnTo>
                      <a:pt x="482600" y="1254125"/>
                    </a:lnTo>
                    <a:lnTo>
                      <a:pt x="520700" y="1263650"/>
                    </a:lnTo>
                    <a:lnTo>
                      <a:pt x="581025" y="1187450"/>
                    </a:lnTo>
                    <a:lnTo>
                      <a:pt x="638175" y="1212850"/>
                    </a:lnTo>
                    <a:lnTo>
                      <a:pt x="673100" y="1193800"/>
                    </a:lnTo>
                    <a:lnTo>
                      <a:pt x="701675" y="1225550"/>
                    </a:lnTo>
                    <a:lnTo>
                      <a:pt x="755650" y="1231900"/>
                    </a:lnTo>
                    <a:lnTo>
                      <a:pt x="755650" y="1196975"/>
                    </a:lnTo>
                    <a:lnTo>
                      <a:pt x="1044575" y="1289050"/>
                    </a:lnTo>
                    <a:lnTo>
                      <a:pt x="1327150" y="1155700"/>
                    </a:lnTo>
                    <a:lnTo>
                      <a:pt x="1333500" y="1085850"/>
                    </a:lnTo>
                    <a:lnTo>
                      <a:pt x="1384300" y="1050925"/>
                    </a:lnTo>
                    <a:lnTo>
                      <a:pt x="1412875" y="97472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Forma libre 19"/>
              <p:cNvSpPr/>
              <p:nvPr/>
            </p:nvSpPr>
            <p:spPr>
              <a:xfrm>
                <a:off x="1128522" y="6508179"/>
                <a:ext cx="88335" cy="123430"/>
              </a:xfrm>
              <a:custGeom>
                <a:avLst/>
                <a:gdLst>
                  <a:gd name="connsiteX0" fmla="*/ 530225 w 590550"/>
                  <a:gd name="connsiteY0" fmla="*/ 28575 h 781050"/>
                  <a:gd name="connsiteX1" fmla="*/ 539750 w 590550"/>
                  <a:gd name="connsiteY1" fmla="*/ 76200 h 781050"/>
                  <a:gd name="connsiteX2" fmla="*/ 536575 w 590550"/>
                  <a:gd name="connsiteY2" fmla="*/ 114300 h 781050"/>
                  <a:gd name="connsiteX3" fmla="*/ 476250 w 590550"/>
                  <a:gd name="connsiteY3" fmla="*/ 107950 h 781050"/>
                  <a:gd name="connsiteX4" fmla="*/ 495300 w 590550"/>
                  <a:gd name="connsiteY4" fmla="*/ 168275 h 781050"/>
                  <a:gd name="connsiteX5" fmla="*/ 533400 w 590550"/>
                  <a:gd name="connsiteY5" fmla="*/ 168275 h 781050"/>
                  <a:gd name="connsiteX6" fmla="*/ 590550 w 590550"/>
                  <a:gd name="connsiteY6" fmla="*/ 295275 h 781050"/>
                  <a:gd name="connsiteX7" fmla="*/ 561975 w 590550"/>
                  <a:gd name="connsiteY7" fmla="*/ 333375 h 781050"/>
                  <a:gd name="connsiteX8" fmla="*/ 590550 w 590550"/>
                  <a:gd name="connsiteY8" fmla="*/ 400050 h 781050"/>
                  <a:gd name="connsiteX9" fmla="*/ 533400 w 590550"/>
                  <a:gd name="connsiteY9" fmla="*/ 377825 h 781050"/>
                  <a:gd name="connsiteX10" fmla="*/ 533400 w 590550"/>
                  <a:gd name="connsiteY10" fmla="*/ 434975 h 781050"/>
                  <a:gd name="connsiteX11" fmla="*/ 469900 w 590550"/>
                  <a:gd name="connsiteY11" fmla="*/ 454025 h 781050"/>
                  <a:gd name="connsiteX12" fmla="*/ 415925 w 590550"/>
                  <a:gd name="connsiteY12" fmla="*/ 498475 h 781050"/>
                  <a:gd name="connsiteX13" fmla="*/ 358775 w 590550"/>
                  <a:gd name="connsiteY13" fmla="*/ 501650 h 781050"/>
                  <a:gd name="connsiteX14" fmla="*/ 349250 w 590550"/>
                  <a:gd name="connsiteY14" fmla="*/ 546100 h 781050"/>
                  <a:gd name="connsiteX15" fmla="*/ 403225 w 590550"/>
                  <a:gd name="connsiteY15" fmla="*/ 587375 h 781050"/>
                  <a:gd name="connsiteX16" fmla="*/ 406400 w 590550"/>
                  <a:gd name="connsiteY16" fmla="*/ 774700 h 781050"/>
                  <a:gd name="connsiteX17" fmla="*/ 298450 w 590550"/>
                  <a:gd name="connsiteY17" fmla="*/ 781050 h 781050"/>
                  <a:gd name="connsiteX18" fmla="*/ 254000 w 590550"/>
                  <a:gd name="connsiteY18" fmla="*/ 755650 h 781050"/>
                  <a:gd name="connsiteX19" fmla="*/ 203200 w 590550"/>
                  <a:gd name="connsiteY19" fmla="*/ 755650 h 781050"/>
                  <a:gd name="connsiteX20" fmla="*/ 104775 w 590550"/>
                  <a:gd name="connsiteY20" fmla="*/ 701675 h 781050"/>
                  <a:gd name="connsiteX21" fmla="*/ 98425 w 590550"/>
                  <a:gd name="connsiteY21" fmla="*/ 628650 h 781050"/>
                  <a:gd name="connsiteX22" fmla="*/ 130175 w 590550"/>
                  <a:gd name="connsiteY22" fmla="*/ 609600 h 781050"/>
                  <a:gd name="connsiteX23" fmla="*/ 123825 w 590550"/>
                  <a:gd name="connsiteY23" fmla="*/ 577850 h 781050"/>
                  <a:gd name="connsiteX24" fmla="*/ 142875 w 590550"/>
                  <a:gd name="connsiteY24" fmla="*/ 514350 h 781050"/>
                  <a:gd name="connsiteX25" fmla="*/ 38100 w 590550"/>
                  <a:gd name="connsiteY25" fmla="*/ 530225 h 781050"/>
                  <a:gd name="connsiteX26" fmla="*/ 0 w 590550"/>
                  <a:gd name="connsiteY26" fmla="*/ 517525 h 781050"/>
                  <a:gd name="connsiteX27" fmla="*/ 63500 w 590550"/>
                  <a:gd name="connsiteY27" fmla="*/ 469900 h 781050"/>
                  <a:gd name="connsiteX28" fmla="*/ 60325 w 590550"/>
                  <a:gd name="connsiteY28" fmla="*/ 377825 h 781050"/>
                  <a:gd name="connsiteX29" fmla="*/ 123825 w 590550"/>
                  <a:gd name="connsiteY29" fmla="*/ 295275 h 781050"/>
                  <a:gd name="connsiteX30" fmla="*/ 123825 w 590550"/>
                  <a:gd name="connsiteY30" fmla="*/ 263525 h 781050"/>
                  <a:gd name="connsiteX31" fmla="*/ 238125 w 590550"/>
                  <a:gd name="connsiteY31" fmla="*/ 174625 h 781050"/>
                  <a:gd name="connsiteX32" fmla="*/ 307975 w 590550"/>
                  <a:gd name="connsiteY32" fmla="*/ 85725 h 781050"/>
                  <a:gd name="connsiteX33" fmla="*/ 307975 w 590550"/>
                  <a:gd name="connsiteY33" fmla="*/ 0 h 781050"/>
                  <a:gd name="connsiteX34" fmla="*/ 393700 w 590550"/>
                  <a:gd name="connsiteY34" fmla="*/ 31750 h 781050"/>
                  <a:gd name="connsiteX35" fmla="*/ 463550 w 590550"/>
                  <a:gd name="connsiteY35" fmla="*/ 0 h 781050"/>
                  <a:gd name="connsiteX36" fmla="*/ 530225 w 590550"/>
                  <a:gd name="connsiteY36" fmla="*/ 28575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590550" h="781050">
                    <a:moveTo>
                      <a:pt x="530225" y="28575"/>
                    </a:moveTo>
                    <a:lnTo>
                      <a:pt x="539750" y="76200"/>
                    </a:lnTo>
                    <a:lnTo>
                      <a:pt x="536575" y="114300"/>
                    </a:lnTo>
                    <a:lnTo>
                      <a:pt x="476250" y="107950"/>
                    </a:lnTo>
                    <a:lnTo>
                      <a:pt x="495300" y="168275"/>
                    </a:lnTo>
                    <a:lnTo>
                      <a:pt x="533400" y="168275"/>
                    </a:lnTo>
                    <a:lnTo>
                      <a:pt x="590550" y="295275"/>
                    </a:lnTo>
                    <a:lnTo>
                      <a:pt x="561975" y="333375"/>
                    </a:lnTo>
                    <a:lnTo>
                      <a:pt x="590550" y="400050"/>
                    </a:lnTo>
                    <a:lnTo>
                      <a:pt x="533400" y="377825"/>
                    </a:lnTo>
                    <a:lnTo>
                      <a:pt x="533400" y="434975"/>
                    </a:lnTo>
                    <a:lnTo>
                      <a:pt x="469900" y="454025"/>
                    </a:lnTo>
                    <a:lnTo>
                      <a:pt x="415925" y="498475"/>
                    </a:lnTo>
                    <a:lnTo>
                      <a:pt x="358775" y="501650"/>
                    </a:lnTo>
                    <a:lnTo>
                      <a:pt x="349250" y="546100"/>
                    </a:lnTo>
                    <a:lnTo>
                      <a:pt x="403225" y="587375"/>
                    </a:lnTo>
                    <a:cubicBezTo>
                      <a:pt x="404283" y="649817"/>
                      <a:pt x="405342" y="712258"/>
                      <a:pt x="406400" y="774700"/>
                    </a:cubicBezTo>
                    <a:lnTo>
                      <a:pt x="298450" y="781050"/>
                    </a:lnTo>
                    <a:lnTo>
                      <a:pt x="254000" y="755650"/>
                    </a:lnTo>
                    <a:lnTo>
                      <a:pt x="203200" y="755650"/>
                    </a:lnTo>
                    <a:lnTo>
                      <a:pt x="104775" y="701675"/>
                    </a:lnTo>
                    <a:lnTo>
                      <a:pt x="98425" y="628650"/>
                    </a:lnTo>
                    <a:lnTo>
                      <a:pt x="130175" y="609600"/>
                    </a:lnTo>
                    <a:lnTo>
                      <a:pt x="123825" y="577850"/>
                    </a:lnTo>
                    <a:lnTo>
                      <a:pt x="142875" y="514350"/>
                    </a:lnTo>
                    <a:lnTo>
                      <a:pt x="38100" y="530225"/>
                    </a:lnTo>
                    <a:lnTo>
                      <a:pt x="0" y="517525"/>
                    </a:lnTo>
                    <a:lnTo>
                      <a:pt x="63500" y="469900"/>
                    </a:lnTo>
                    <a:lnTo>
                      <a:pt x="60325" y="377825"/>
                    </a:lnTo>
                    <a:lnTo>
                      <a:pt x="123825" y="295275"/>
                    </a:lnTo>
                    <a:lnTo>
                      <a:pt x="123825" y="263525"/>
                    </a:lnTo>
                    <a:lnTo>
                      <a:pt x="238125" y="174625"/>
                    </a:lnTo>
                    <a:lnTo>
                      <a:pt x="307975" y="85725"/>
                    </a:lnTo>
                    <a:lnTo>
                      <a:pt x="307975" y="0"/>
                    </a:lnTo>
                    <a:lnTo>
                      <a:pt x="393700" y="31750"/>
                    </a:lnTo>
                    <a:lnTo>
                      <a:pt x="463550" y="0"/>
                    </a:lnTo>
                    <a:lnTo>
                      <a:pt x="530225" y="2857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Forma libre 20"/>
              <p:cNvSpPr/>
              <p:nvPr/>
            </p:nvSpPr>
            <p:spPr>
              <a:xfrm>
                <a:off x="1096228" y="6568389"/>
                <a:ext cx="98308" cy="142998"/>
              </a:xfrm>
              <a:custGeom>
                <a:avLst/>
                <a:gdLst>
                  <a:gd name="connsiteX0" fmla="*/ 66675 w 657225"/>
                  <a:gd name="connsiteY0" fmla="*/ 114300 h 904875"/>
                  <a:gd name="connsiteX1" fmla="*/ 92075 w 657225"/>
                  <a:gd name="connsiteY1" fmla="*/ 180975 h 904875"/>
                  <a:gd name="connsiteX2" fmla="*/ 66675 w 657225"/>
                  <a:gd name="connsiteY2" fmla="*/ 301625 h 904875"/>
                  <a:gd name="connsiteX3" fmla="*/ 34925 w 657225"/>
                  <a:gd name="connsiteY3" fmla="*/ 266700 h 904875"/>
                  <a:gd name="connsiteX4" fmla="*/ 0 w 657225"/>
                  <a:gd name="connsiteY4" fmla="*/ 330200 h 904875"/>
                  <a:gd name="connsiteX5" fmla="*/ 50800 w 657225"/>
                  <a:gd name="connsiteY5" fmla="*/ 333375 h 904875"/>
                  <a:gd name="connsiteX6" fmla="*/ 60325 w 657225"/>
                  <a:gd name="connsiteY6" fmla="*/ 415925 h 904875"/>
                  <a:gd name="connsiteX7" fmla="*/ 120650 w 657225"/>
                  <a:gd name="connsiteY7" fmla="*/ 463550 h 904875"/>
                  <a:gd name="connsiteX8" fmla="*/ 85725 w 657225"/>
                  <a:gd name="connsiteY8" fmla="*/ 485775 h 904875"/>
                  <a:gd name="connsiteX9" fmla="*/ 177800 w 657225"/>
                  <a:gd name="connsiteY9" fmla="*/ 561975 h 904875"/>
                  <a:gd name="connsiteX10" fmla="*/ 184150 w 657225"/>
                  <a:gd name="connsiteY10" fmla="*/ 609600 h 904875"/>
                  <a:gd name="connsiteX11" fmla="*/ 349250 w 657225"/>
                  <a:gd name="connsiteY11" fmla="*/ 711200 h 904875"/>
                  <a:gd name="connsiteX12" fmla="*/ 342900 w 657225"/>
                  <a:gd name="connsiteY12" fmla="*/ 742950 h 904875"/>
                  <a:gd name="connsiteX13" fmla="*/ 377825 w 657225"/>
                  <a:gd name="connsiteY13" fmla="*/ 749300 h 904875"/>
                  <a:gd name="connsiteX14" fmla="*/ 400050 w 657225"/>
                  <a:gd name="connsiteY14" fmla="*/ 800100 h 904875"/>
                  <a:gd name="connsiteX15" fmla="*/ 454025 w 657225"/>
                  <a:gd name="connsiteY15" fmla="*/ 812800 h 904875"/>
                  <a:gd name="connsiteX16" fmla="*/ 476250 w 657225"/>
                  <a:gd name="connsiteY16" fmla="*/ 885825 h 904875"/>
                  <a:gd name="connsiteX17" fmla="*/ 511175 w 657225"/>
                  <a:gd name="connsiteY17" fmla="*/ 904875 h 904875"/>
                  <a:gd name="connsiteX18" fmla="*/ 561975 w 657225"/>
                  <a:gd name="connsiteY18" fmla="*/ 800100 h 904875"/>
                  <a:gd name="connsiteX19" fmla="*/ 654050 w 657225"/>
                  <a:gd name="connsiteY19" fmla="*/ 755650 h 904875"/>
                  <a:gd name="connsiteX20" fmla="*/ 657225 w 657225"/>
                  <a:gd name="connsiteY20" fmla="*/ 695325 h 904875"/>
                  <a:gd name="connsiteX21" fmla="*/ 628650 w 657225"/>
                  <a:gd name="connsiteY21" fmla="*/ 666750 h 904875"/>
                  <a:gd name="connsiteX22" fmla="*/ 631825 w 657225"/>
                  <a:gd name="connsiteY22" fmla="*/ 628650 h 904875"/>
                  <a:gd name="connsiteX23" fmla="*/ 596900 w 657225"/>
                  <a:gd name="connsiteY23" fmla="*/ 644525 h 904875"/>
                  <a:gd name="connsiteX24" fmla="*/ 584200 w 657225"/>
                  <a:gd name="connsiteY24" fmla="*/ 606425 h 904875"/>
                  <a:gd name="connsiteX25" fmla="*/ 609600 w 657225"/>
                  <a:gd name="connsiteY25" fmla="*/ 593725 h 904875"/>
                  <a:gd name="connsiteX26" fmla="*/ 577850 w 657225"/>
                  <a:gd name="connsiteY26" fmla="*/ 565150 h 904875"/>
                  <a:gd name="connsiteX27" fmla="*/ 520700 w 657225"/>
                  <a:gd name="connsiteY27" fmla="*/ 596900 h 904875"/>
                  <a:gd name="connsiteX28" fmla="*/ 501650 w 657225"/>
                  <a:gd name="connsiteY28" fmla="*/ 558800 h 904875"/>
                  <a:gd name="connsiteX29" fmla="*/ 504825 w 657225"/>
                  <a:gd name="connsiteY29" fmla="*/ 520700 h 904875"/>
                  <a:gd name="connsiteX30" fmla="*/ 504825 w 657225"/>
                  <a:gd name="connsiteY30" fmla="*/ 520700 h 904875"/>
                  <a:gd name="connsiteX31" fmla="*/ 463550 w 657225"/>
                  <a:gd name="connsiteY31" fmla="*/ 511175 h 904875"/>
                  <a:gd name="connsiteX32" fmla="*/ 527050 w 657225"/>
                  <a:gd name="connsiteY32" fmla="*/ 463550 h 904875"/>
                  <a:gd name="connsiteX33" fmla="*/ 498475 w 657225"/>
                  <a:gd name="connsiteY33" fmla="*/ 454025 h 904875"/>
                  <a:gd name="connsiteX34" fmla="*/ 504825 w 657225"/>
                  <a:gd name="connsiteY34" fmla="*/ 409575 h 904875"/>
                  <a:gd name="connsiteX35" fmla="*/ 460375 w 657225"/>
                  <a:gd name="connsiteY35" fmla="*/ 381000 h 904875"/>
                  <a:gd name="connsiteX36" fmla="*/ 425450 w 657225"/>
                  <a:gd name="connsiteY36" fmla="*/ 396875 h 904875"/>
                  <a:gd name="connsiteX37" fmla="*/ 301625 w 657225"/>
                  <a:gd name="connsiteY37" fmla="*/ 327025 h 904875"/>
                  <a:gd name="connsiteX38" fmla="*/ 295275 w 657225"/>
                  <a:gd name="connsiteY38" fmla="*/ 244475 h 904875"/>
                  <a:gd name="connsiteX39" fmla="*/ 327025 w 657225"/>
                  <a:gd name="connsiteY39" fmla="*/ 225425 h 904875"/>
                  <a:gd name="connsiteX40" fmla="*/ 323850 w 657225"/>
                  <a:gd name="connsiteY40" fmla="*/ 193675 h 904875"/>
                  <a:gd name="connsiteX41" fmla="*/ 352425 w 657225"/>
                  <a:gd name="connsiteY41" fmla="*/ 139700 h 904875"/>
                  <a:gd name="connsiteX42" fmla="*/ 273050 w 657225"/>
                  <a:gd name="connsiteY42" fmla="*/ 171450 h 904875"/>
                  <a:gd name="connsiteX43" fmla="*/ 196850 w 657225"/>
                  <a:gd name="connsiteY43" fmla="*/ 149225 h 904875"/>
                  <a:gd name="connsiteX44" fmla="*/ 266700 w 657225"/>
                  <a:gd name="connsiteY44" fmla="*/ 82550 h 904875"/>
                  <a:gd name="connsiteX45" fmla="*/ 263525 w 657225"/>
                  <a:gd name="connsiteY45" fmla="*/ 9525 h 904875"/>
                  <a:gd name="connsiteX46" fmla="*/ 177800 w 657225"/>
                  <a:gd name="connsiteY46" fmla="*/ 0 h 904875"/>
                  <a:gd name="connsiteX47" fmla="*/ 66675 w 657225"/>
                  <a:gd name="connsiteY47" fmla="*/ 114300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57225" h="904875">
                    <a:moveTo>
                      <a:pt x="66675" y="114300"/>
                    </a:moveTo>
                    <a:lnTo>
                      <a:pt x="92075" y="180975"/>
                    </a:lnTo>
                    <a:lnTo>
                      <a:pt x="66675" y="301625"/>
                    </a:lnTo>
                    <a:lnTo>
                      <a:pt x="34925" y="266700"/>
                    </a:lnTo>
                    <a:lnTo>
                      <a:pt x="0" y="330200"/>
                    </a:lnTo>
                    <a:lnTo>
                      <a:pt x="50800" y="333375"/>
                    </a:lnTo>
                    <a:lnTo>
                      <a:pt x="60325" y="415925"/>
                    </a:lnTo>
                    <a:lnTo>
                      <a:pt x="120650" y="463550"/>
                    </a:lnTo>
                    <a:lnTo>
                      <a:pt x="85725" y="485775"/>
                    </a:lnTo>
                    <a:lnTo>
                      <a:pt x="177800" y="561975"/>
                    </a:lnTo>
                    <a:lnTo>
                      <a:pt x="184150" y="609600"/>
                    </a:lnTo>
                    <a:lnTo>
                      <a:pt x="349250" y="711200"/>
                    </a:lnTo>
                    <a:lnTo>
                      <a:pt x="342900" y="742950"/>
                    </a:lnTo>
                    <a:lnTo>
                      <a:pt x="377825" y="749300"/>
                    </a:lnTo>
                    <a:lnTo>
                      <a:pt x="400050" y="800100"/>
                    </a:lnTo>
                    <a:lnTo>
                      <a:pt x="454025" y="812800"/>
                    </a:lnTo>
                    <a:lnTo>
                      <a:pt x="476250" y="885825"/>
                    </a:lnTo>
                    <a:lnTo>
                      <a:pt x="511175" y="904875"/>
                    </a:lnTo>
                    <a:lnTo>
                      <a:pt x="561975" y="800100"/>
                    </a:lnTo>
                    <a:lnTo>
                      <a:pt x="654050" y="755650"/>
                    </a:lnTo>
                    <a:lnTo>
                      <a:pt x="657225" y="695325"/>
                    </a:lnTo>
                    <a:lnTo>
                      <a:pt x="628650" y="666750"/>
                    </a:lnTo>
                    <a:lnTo>
                      <a:pt x="631825" y="628650"/>
                    </a:lnTo>
                    <a:lnTo>
                      <a:pt x="596900" y="644525"/>
                    </a:lnTo>
                    <a:lnTo>
                      <a:pt x="584200" y="606425"/>
                    </a:lnTo>
                    <a:lnTo>
                      <a:pt x="609600" y="593725"/>
                    </a:lnTo>
                    <a:lnTo>
                      <a:pt x="577850" y="565150"/>
                    </a:lnTo>
                    <a:lnTo>
                      <a:pt x="520700" y="596900"/>
                    </a:lnTo>
                    <a:lnTo>
                      <a:pt x="501650" y="558800"/>
                    </a:lnTo>
                    <a:lnTo>
                      <a:pt x="504825" y="520700"/>
                    </a:lnTo>
                    <a:lnTo>
                      <a:pt x="504825" y="520700"/>
                    </a:lnTo>
                    <a:lnTo>
                      <a:pt x="463550" y="511175"/>
                    </a:lnTo>
                    <a:lnTo>
                      <a:pt x="527050" y="463550"/>
                    </a:lnTo>
                    <a:lnTo>
                      <a:pt x="498475" y="454025"/>
                    </a:lnTo>
                    <a:lnTo>
                      <a:pt x="504825" y="409575"/>
                    </a:lnTo>
                    <a:lnTo>
                      <a:pt x="460375" y="381000"/>
                    </a:lnTo>
                    <a:lnTo>
                      <a:pt x="425450" y="396875"/>
                    </a:lnTo>
                    <a:lnTo>
                      <a:pt x="301625" y="327025"/>
                    </a:lnTo>
                    <a:lnTo>
                      <a:pt x="295275" y="244475"/>
                    </a:lnTo>
                    <a:lnTo>
                      <a:pt x="327025" y="225425"/>
                    </a:lnTo>
                    <a:lnTo>
                      <a:pt x="323850" y="193675"/>
                    </a:lnTo>
                    <a:lnTo>
                      <a:pt x="352425" y="139700"/>
                    </a:lnTo>
                    <a:lnTo>
                      <a:pt x="273050" y="171450"/>
                    </a:lnTo>
                    <a:lnTo>
                      <a:pt x="196850" y="149225"/>
                    </a:lnTo>
                    <a:lnTo>
                      <a:pt x="266700" y="82550"/>
                    </a:lnTo>
                    <a:lnTo>
                      <a:pt x="263525" y="9525"/>
                    </a:lnTo>
                    <a:lnTo>
                      <a:pt x="177800" y="0"/>
                    </a:lnTo>
                    <a:lnTo>
                      <a:pt x="66675" y="11430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Forma libre 21"/>
              <p:cNvSpPr/>
              <p:nvPr/>
            </p:nvSpPr>
            <p:spPr>
              <a:xfrm>
                <a:off x="1168415" y="6519719"/>
                <a:ext cx="128228" cy="199696"/>
              </a:xfrm>
              <a:custGeom>
                <a:avLst/>
                <a:gdLst>
                  <a:gd name="connsiteX0" fmla="*/ 269875 w 844550"/>
                  <a:gd name="connsiteY0" fmla="*/ 0 h 1260475"/>
                  <a:gd name="connsiteX1" fmla="*/ 365125 w 844550"/>
                  <a:gd name="connsiteY1" fmla="*/ 47625 h 1260475"/>
                  <a:gd name="connsiteX2" fmla="*/ 428625 w 844550"/>
                  <a:gd name="connsiteY2" fmla="*/ 12700 h 1260475"/>
                  <a:gd name="connsiteX3" fmla="*/ 425450 w 844550"/>
                  <a:gd name="connsiteY3" fmla="*/ 50800 h 1260475"/>
                  <a:gd name="connsiteX4" fmla="*/ 476250 w 844550"/>
                  <a:gd name="connsiteY4" fmla="*/ 111125 h 1260475"/>
                  <a:gd name="connsiteX5" fmla="*/ 495300 w 844550"/>
                  <a:gd name="connsiteY5" fmla="*/ 168275 h 1260475"/>
                  <a:gd name="connsiteX6" fmla="*/ 523875 w 844550"/>
                  <a:gd name="connsiteY6" fmla="*/ 168275 h 1260475"/>
                  <a:gd name="connsiteX7" fmla="*/ 596900 w 844550"/>
                  <a:gd name="connsiteY7" fmla="*/ 269875 h 1260475"/>
                  <a:gd name="connsiteX8" fmla="*/ 596900 w 844550"/>
                  <a:gd name="connsiteY8" fmla="*/ 301625 h 1260475"/>
                  <a:gd name="connsiteX9" fmla="*/ 679450 w 844550"/>
                  <a:gd name="connsiteY9" fmla="*/ 425450 h 1260475"/>
                  <a:gd name="connsiteX10" fmla="*/ 701675 w 844550"/>
                  <a:gd name="connsiteY10" fmla="*/ 457200 h 1260475"/>
                  <a:gd name="connsiteX11" fmla="*/ 647700 w 844550"/>
                  <a:gd name="connsiteY11" fmla="*/ 463550 h 1260475"/>
                  <a:gd name="connsiteX12" fmla="*/ 606425 w 844550"/>
                  <a:gd name="connsiteY12" fmla="*/ 450850 h 1260475"/>
                  <a:gd name="connsiteX13" fmla="*/ 520700 w 844550"/>
                  <a:gd name="connsiteY13" fmla="*/ 396875 h 1260475"/>
                  <a:gd name="connsiteX14" fmla="*/ 514350 w 844550"/>
                  <a:gd name="connsiteY14" fmla="*/ 346075 h 1260475"/>
                  <a:gd name="connsiteX15" fmla="*/ 460375 w 844550"/>
                  <a:gd name="connsiteY15" fmla="*/ 400050 h 1260475"/>
                  <a:gd name="connsiteX16" fmla="*/ 460375 w 844550"/>
                  <a:gd name="connsiteY16" fmla="*/ 400050 h 1260475"/>
                  <a:gd name="connsiteX17" fmla="*/ 473075 w 844550"/>
                  <a:gd name="connsiteY17" fmla="*/ 479425 h 1260475"/>
                  <a:gd name="connsiteX18" fmla="*/ 495300 w 844550"/>
                  <a:gd name="connsiteY18" fmla="*/ 539750 h 1260475"/>
                  <a:gd name="connsiteX19" fmla="*/ 536575 w 844550"/>
                  <a:gd name="connsiteY19" fmla="*/ 568325 h 1260475"/>
                  <a:gd name="connsiteX20" fmla="*/ 492125 w 844550"/>
                  <a:gd name="connsiteY20" fmla="*/ 577850 h 1260475"/>
                  <a:gd name="connsiteX21" fmla="*/ 549275 w 844550"/>
                  <a:gd name="connsiteY21" fmla="*/ 688975 h 1260475"/>
                  <a:gd name="connsiteX22" fmla="*/ 587375 w 844550"/>
                  <a:gd name="connsiteY22" fmla="*/ 771525 h 1260475"/>
                  <a:gd name="connsiteX23" fmla="*/ 574675 w 844550"/>
                  <a:gd name="connsiteY23" fmla="*/ 835025 h 1260475"/>
                  <a:gd name="connsiteX24" fmla="*/ 587375 w 844550"/>
                  <a:gd name="connsiteY24" fmla="*/ 920750 h 1260475"/>
                  <a:gd name="connsiteX25" fmla="*/ 558800 w 844550"/>
                  <a:gd name="connsiteY25" fmla="*/ 933450 h 1260475"/>
                  <a:gd name="connsiteX26" fmla="*/ 577850 w 844550"/>
                  <a:gd name="connsiteY26" fmla="*/ 974725 h 1260475"/>
                  <a:gd name="connsiteX27" fmla="*/ 619125 w 844550"/>
                  <a:gd name="connsiteY27" fmla="*/ 987425 h 1260475"/>
                  <a:gd name="connsiteX28" fmla="*/ 641350 w 844550"/>
                  <a:gd name="connsiteY28" fmla="*/ 930275 h 1260475"/>
                  <a:gd name="connsiteX29" fmla="*/ 676275 w 844550"/>
                  <a:gd name="connsiteY29" fmla="*/ 955675 h 1260475"/>
                  <a:gd name="connsiteX30" fmla="*/ 787400 w 844550"/>
                  <a:gd name="connsiteY30" fmla="*/ 914400 h 1260475"/>
                  <a:gd name="connsiteX31" fmla="*/ 844550 w 844550"/>
                  <a:gd name="connsiteY31" fmla="*/ 946150 h 1260475"/>
                  <a:gd name="connsiteX32" fmla="*/ 787400 w 844550"/>
                  <a:gd name="connsiteY32" fmla="*/ 968375 h 1260475"/>
                  <a:gd name="connsiteX33" fmla="*/ 768350 w 844550"/>
                  <a:gd name="connsiteY33" fmla="*/ 1000125 h 1260475"/>
                  <a:gd name="connsiteX34" fmla="*/ 790575 w 844550"/>
                  <a:gd name="connsiteY34" fmla="*/ 1038225 h 1260475"/>
                  <a:gd name="connsiteX35" fmla="*/ 774700 w 844550"/>
                  <a:gd name="connsiteY35" fmla="*/ 1092200 h 1260475"/>
                  <a:gd name="connsiteX36" fmla="*/ 736600 w 844550"/>
                  <a:gd name="connsiteY36" fmla="*/ 1120775 h 1260475"/>
                  <a:gd name="connsiteX37" fmla="*/ 717550 w 844550"/>
                  <a:gd name="connsiteY37" fmla="*/ 1152525 h 1260475"/>
                  <a:gd name="connsiteX38" fmla="*/ 679450 w 844550"/>
                  <a:gd name="connsiteY38" fmla="*/ 1146175 h 1260475"/>
                  <a:gd name="connsiteX39" fmla="*/ 676275 w 844550"/>
                  <a:gd name="connsiteY39" fmla="*/ 1196975 h 1260475"/>
                  <a:gd name="connsiteX40" fmla="*/ 615950 w 844550"/>
                  <a:gd name="connsiteY40" fmla="*/ 1181100 h 1260475"/>
                  <a:gd name="connsiteX41" fmla="*/ 530225 w 844550"/>
                  <a:gd name="connsiteY41" fmla="*/ 1206500 h 1260475"/>
                  <a:gd name="connsiteX42" fmla="*/ 473075 w 844550"/>
                  <a:gd name="connsiteY42" fmla="*/ 1165225 h 1260475"/>
                  <a:gd name="connsiteX43" fmla="*/ 473075 w 844550"/>
                  <a:gd name="connsiteY43" fmla="*/ 1165225 h 1260475"/>
                  <a:gd name="connsiteX44" fmla="*/ 454025 w 844550"/>
                  <a:gd name="connsiteY44" fmla="*/ 1196975 h 1260475"/>
                  <a:gd name="connsiteX45" fmla="*/ 387350 w 844550"/>
                  <a:gd name="connsiteY45" fmla="*/ 1260475 h 1260475"/>
                  <a:gd name="connsiteX46" fmla="*/ 403225 w 844550"/>
                  <a:gd name="connsiteY46" fmla="*/ 1203325 h 1260475"/>
                  <a:gd name="connsiteX47" fmla="*/ 381000 w 844550"/>
                  <a:gd name="connsiteY47" fmla="*/ 1187450 h 1260475"/>
                  <a:gd name="connsiteX48" fmla="*/ 346075 w 844550"/>
                  <a:gd name="connsiteY48" fmla="*/ 1216025 h 1260475"/>
                  <a:gd name="connsiteX49" fmla="*/ 298450 w 844550"/>
                  <a:gd name="connsiteY49" fmla="*/ 1219200 h 1260475"/>
                  <a:gd name="connsiteX50" fmla="*/ 288925 w 844550"/>
                  <a:gd name="connsiteY50" fmla="*/ 1184275 h 1260475"/>
                  <a:gd name="connsiteX51" fmla="*/ 298450 w 844550"/>
                  <a:gd name="connsiteY51" fmla="*/ 1171575 h 1260475"/>
                  <a:gd name="connsiteX52" fmla="*/ 260350 w 844550"/>
                  <a:gd name="connsiteY52" fmla="*/ 1162050 h 1260475"/>
                  <a:gd name="connsiteX53" fmla="*/ 260350 w 844550"/>
                  <a:gd name="connsiteY53" fmla="*/ 1111250 h 1260475"/>
                  <a:gd name="connsiteX54" fmla="*/ 133350 w 844550"/>
                  <a:gd name="connsiteY54" fmla="*/ 1092200 h 1260475"/>
                  <a:gd name="connsiteX55" fmla="*/ 177800 w 844550"/>
                  <a:gd name="connsiteY55" fmla="*/ 1054100 h 1260475"/>
                  <a:gd name="connsiteX56" fmla="*/ 165100 w 844550"/>
                  <a:gd name="connsiteY56" fmla="*/ 974725 h 1260475"/>
                  <a:gd name="connsiteX57" fmla="*/ 165100 w 844550"/>
                  <a:gd name="connsiteY57" fmla="*/ 974725 h 1260475"/>
                  <a:gd name="connsiteX58" fmla="*/ 165100 w 844550"/>
                  <a:gd name="connsiteY58" fmla="*/ 974725 h 1260475"/>
                  <a:gd name="connsiteX59" fmla="*/ 142875 w 844550"/>
                  <a:gd name="connsiteY59" fmla="*/ 917575 h 1260475"/>
                  <a:gd name="connsiteX60" fmla="*/ 104775 w 844550"/>
                  <a:gd name="connsiteY60" fmla="*/ 933450 h 1260475"/>
                  <a:gd name="connsiteX61" fmla="*/ 127000 w 844550"/>
                  <a:gd name="connsiteY61" fmla="*/ 892175 h 1260475"/>
                  <a:gd name="connsiteX62" fmla="*/ 85725 w 844550"/>
                  <a:gd name="connsiteY62" fmla="*/ 850900 h 1260475"/>
                  <a:gd name="connsiteX63" fmla="*/ 25400 w 844550"/>
                  <a:gd name="connsiteY63" fmla="*/ 882650 h 1260475"/>
                  <a:gd name="connsiteX64" fmla="*/ 22225 w 844550"/>
                  <a:gd name="connsiteY64" fmla="*/ 828675 h 1260475"/>
                  <a:gd name="connsiteX65" fmla="*/ 0 w 844550"/>
                  <a:gd name="connsiteY65" fmla="*/ 822325 h 1260475"/>
                  <a:gd name="connsiteX66" fmla="*/ 47625 w 844550"/>
                  <a:gd name="connsiteY66" fmla="*/ 765175 h 1260475"/>
                  <a:gd name="connsiteX67" fmla="*/ 22225 w 844550"/>
                  <a:gd name="connsiteY67" fmla="*/ 752475 h 1260475"/>
                  <a:gd name="connsiteX68" fmla="*/ 25400 w 844550"/>
                  <a:gd name="connsiteY68" fmla="*/ 711200 h 1260475"/>
                  <a:gd name="connsiteX69" fmla="*/ 136525 w 844550"/>
                  <a:gd name="connsiteY69" fmla="*/ 711200 h 1260475"/>
                  <a:gd name="connsiteX70" fmla="*/ 139700 w 844550"/>
                  <a:gd name="connsiteY70" fmla="*/ 504825 h 1260475"/>
                  <a:gd name="connsiteX71" fmla="*/ 82550 w 844550"/>
                  <a:gd name="connsiteY71" fmla="*/ 466725 h 1260475"/>
                  <a:gd name="connsiteX72" fmla="*/ 101600 w 844550"/>
                  <a:gd name="connsiteY72" fmla="*/ 441325 h 1260475"/>
                  <a:gd name="connsiteX73" fmla="*/ 161925 w 844550"/>
                  <a:gd name="connsiteY73" fmla="*/ 434975 h 1260475"/>
                  <a:gd name="connsiteX74" fmla="*/ 206375 w 844550"/>
                  <a:gd name="connsiteY74" fmla="*/ 393700 h 1260475"/>
                  <a:gd name="connsiteX75" fmla="*/ 285750 w 844550"/>
                  <a:gd name="connsiteY75" fmla="*/ 371475 h 1260475"/>
                  <a:gd name="connsiteX76" fmla="*/ 279400 w 844550"/>
                  <a:gd name="connsiteY76" fmla="*/ 330200 h 1260475"/>
                  <a:gd name="connsiteX77" fmla="*/ 333375 w 844550"/>
                  <a:gd name="connsiteY77" fmla="*/ 349250 h 1260475"/>
                  <a:gd name="connsiteX78" fmla="*/ 304800 w 844550"/>
                  <a:gd name="connsiteY78" fmla="*/ 263525 h 1260475"/>
                  <a:gd name="connsiteX79" fmla="*/ 330200 w 844550"/>
                  <a:gd name="connsiteY79" fmla="*/ 215900 h 1260475"/>
                  <a:gd name="connsiteX80" fmla="*/ 250825 w 844550"/>
                  <a:gd name="connsiteY80" fmla="*/ 69850 h 1260475"/>
                  <a:gd name="connsiteX81" fmla="*/ 250825 w 844550"/>
                  <a:gd name="connsiteY81" fmla="*/ 69850 h 1260475"/>
                  <a:gd name="connsiteX82" fmla="*/ 212725 w 844550"/>
                  <a:gd name="connsiteY82" fmla="*/ 69850 h 1260475"/>
                  <a:gd name="connsiteX83" fmla="*/ 206375 w 844550"/>
                  <a:gd name="connsiteY83" fmla="*/ 41275 h 1260475"/>
                  <a:gd name="connsiteX84" fmla="*/ 269875 w 844550"/>
                  <a:gd name="connsiteY84" fmla="*/ 0 h 1260475"/>
                  <a:gd name="connsiteX0" fmla="*/ 279400 w 844550"/>
                  <a:gd name="connsiteY0" fmla="*/ 6350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06375 w 844550"/>
                  <a:gd name="connsiteY83" fmla="*/ 28575 h 1247775"/>
                  <a:gd name="connsiteX84" fmla="*/ 279400 w 844550"/>
                  <a:gd name="connsiteY84" fmla="*/ 6350 h 1247775"/>
                  <a:gd name="connsiteX0" fmla="*/ 279400 w 844550"/>
                  <a:gd name="connsiteY0" fmla="*/ 6350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25425 w 844550"/>
                  <a:gd name="connsiteY83" fmla="*/ 28575 h 1247775"/>
                  <a:gd name="connsiteX84" fmla="*/ 279400 w 844550"/>
                  <a:gd name="connsiteY84" fmla="*/ 6350 h 1247775"/>
                  <a:gd name="connsiteX0" fmla="*/ 298450 w 844550"/>
                  <a:gd name="connsiteY0" fmla="*/ 15875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25425 w 844550"/>
                  <a:gd name="connsiteY83" fmla="*/ 28575 h 1247775"/>
                  <a:gd name="connsiteX84" fmla="*/ 298450 w 844550"/>
                  <a:gd name="connsiteY84" fmla="*/ 15875 h 1247775"/>
                  <a:gd name="connsiteX0" fmla="*/ 298450 w 844550"/>
                  <a:gd name="connsiteY0" fmla="*/ 15875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63525 w 844550"/>
                  <a:gd name="connsiteY83" fmla="*/ 28575 h 1247775"/>
                  <a:gd name="connsiteX84" fmla="*/ 298450 w 844550"/>
                  <a:gd name="connsiteY84" fmla="*/ 15875 h 1247775"/>
                  <a:gd name="connsiteX0" fmla="*/ 298450 w 844550"/>
                  <a:gd name="connsiteY0" fmla="*/ 15875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09550 w 844550"/>
                  <a:gd name="connsiteY82" fmla="*/ 41275 h 1247775"/>
                  <a:gd name="connsiteX83" fmla="*/ 263525 w 844550"/>
                  <a:gd name="connsiteY83" fmla="*/ 28575 h 1247775"/>
                  <a:gd name="connsiteX84" fmla="*/ 298450 w 844550"/>
                  <a:gd name="connsiteY84" fmla="*/ 15875 h 1247775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50825 w 844550"/>
                  <a:gd name="connsiteY81" fmla="*/ 7302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66700 w 844550"/>
                  <a:gd name="connsiteY81" fmla="*/ 8572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82575 w 844550"/>
                  <a:gd name="connsiteY81" fmla="*/ 133350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34950 w 844550"/>
                  <a:gd name="connsiteY81" fmla="*/ 101600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6700 w 844550"/>
                  <a:gd name="connsiteY80" fmla="*/ 730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69875 w 844550"/>
                  <a:gd name="connsiteY75" fmla="*/ 371475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177800 w 844550"/>
                  <a:gd name="connsiteY74" fmla="*/ 396875 h 1263650"/>
                  <a:gd name="connsiteX75" fmla="*/ 269875 w 844550"/>
                  <a:gd name="connsiteY75" fmla="*/ 371475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52400 w 844550"/>
                  <a:gd name="connsiteY73" fmla="*/ 438150 h 1263650"/>
                  <a:gd name="connsiteX74" fmla="*/ 177800 w 844550"/>
                  <a:gd name="connsiteY74" fmla="*/ 396875 h 1263650"/>
                  <a:gd name="connsiteX75" fmla="*/ 269875 w 844550"/>
                  <a:gd name="connsiteY75" fmla="*/ 371475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88925 w 857250"/>
                  <a:gd name="connsiteY0" fmla="*/ 0 h 1263650"/>
                  <a:gd name="connsiteX1" fmla="*/ 377825 w 857250"/>
                  <a:gd name="connsiteY1" fmla="*/ 50800 h 1263650"/>
                  <a:gd name="connsiteX2" fmla="*/ 441325 w 857250"/>
                  <a:gd name="connsiteY2" fmla="*/ 15875 h 1263650"/>
                  <a:gd name="connsiteX3" fmla="*/ 438150 w 857250"/>
                  <a:gd name="connsiteY3" fmla="*/ 53975 h 1263650"/>
                  <a:gd name="connsiteX4" fmla="*/ 488950 w 857250"/>
                  <a:gd name="connsiteY4" fmla="*/ 114300 h 1263650"/>
                  <a:gd name="connsiteX5" fmla="*/ 508000 w 857250"/>
                  <a:gd name="connsiteY5" fmla="*/ 171450 h 1263650"/>
                  <a:gd name="connsiteX6" fmla="*/ 536575 w 857250"/>
                  <a:gd name="connsiteY6" fmla="*/ 171450 h 1263650"/>
                  <a:gd name="connsiteX7" fmla="*/ 609600 w 857250"/>
                  <a:gd name="connsiteY7" fmla="*/ 273050 h 1263650"/>
                  <a:gd name="connsiteX8" fmla="*/ 609600 w 857250"/>
                  <a:gd name="connsiteY8" fmla="*/ 304800 h 1263650"/>
                  <a:gd name="connsiteX9" fmla="*/ 692150 w 857250"/>
                  <a:gd name="connsiteY9" fmla="*/ 428625 h 1263650"/>
                  <a:gd name="connsiteX10" fmla="*/ 714375 w 857250"/>
                  <a:gd name="connsiteY10" fmla="*/ 460375 h 1263650"/>
                  <a:gd name="connsiteX11" fmla="*/ 660400 w 857250"/>
                  <a:gd name="connsiteY11" fmla="*/ 466725 h 1263650"/>
                  <a:gd name="connsiteX12" fmla="*/ 619125 w 857250"/>
                  <a:gd name="connsiteY12" fmla="*/ 454025 h 1263650"/>
                  <a:gd name="connsiteX13" fmla="*/ 533400 w 857250"/>
                  <a:gd name="connsiteY13" fmla="*/ 400050 h 1263650"/>
                  <a:gd name="connsiteX14" fmla="*/ 527050 w 857250"/>
                  <a:gd name="connsiteY14" fmla="*/ 349250 h 1263650"/>
                  <a:gd name="connsiteX15" fmla="*/ 473075 w 857250"/>
                  <a:gd name="connsiteY15" fmla="*/ 403225 h 1263650"/>
                  <a:gd name="connsiteX16" fmla="*/ 473075 w 857250"/>
                  <a:gd name="connsiteY16" fmla="*/ 403225 h 1263650"/>
                  <a:gd name="connsiteX17" fmla="*/ 485775 w 857250"/>
                  <a:gd name="connsiteY17" fmla="*/ 482600 h 1263650"/>
                  <a:gd name="connsiteX18" fmla="*/ 508000 w 857250"/>
                  <a:gd name="connsiteY18" fmla="*/ 542925 h 1263650"/>
                  <a:gd name="connsiteX19" fmla="*/ 549275 w 857250"/>
                  <a:gd name="connsiteY19" fmla="*/ 571500 h 1263650"/>
                  <a:gd name="connsiteX20" fmla="*/ 504825 w 857250"/>
                  <a:gd name="connsiteY20" fmla="*/ 581025 h 1263650"/>
                  <a:gd name="connsiteX21" fmla="*/ 561975 w 857250"/>
                  <a:gd name="connsiteY21" fmla="*/ 692150 h 1263650"/>
                  <a:gd name="connsiteX22" fmla="*/ 600075 w 857250"/>
                  <a:gd name="connsiteY22" fmla="*/ 774700 h 1263650"/>
                  <a:gd name="connsiteX23" fmla="*/ 587375 w 857250"/>
                  <a:gd name="connsiteY23" fmla="*/ 838200 h 1263650"/>
                  <a:gd name="connsiteX24" fmla="*/ 600075 w 857250"/>
                  <a:gd name="connsiteY24" fmla="*/ 923925 h 1263650"/>
                  <a:gd name="connsiteX25" fmla="*/ 571500 w 857250"/>
                  <a:gd name="connsiteY25" fmla="*/ 936625 h 1263650"/>
                  <a:gd name="connsiteX26" fmla="*/ 590550 w 857250"/>
                  <a:gd name="connsiteY26" fmla="*/ 977900 h 1263650"/>
                  <a:gd name="connsiteX27" fmla="*/ 631825 w 857250"/>
                  <a:gd name="connsiteY27" fmla="*/ 990600 h 1263650"/>
                  <a:gd name="connsiteX28" fmla="*/ 654050 w 857250"/>
                  <a:gd name="connsiteY28" fmla="*/ 933450 h 1263650"/>
                  <a:gd name="connsiteX29" fmla="*/ 688975 w 857250"/>
                  <a:gd name="connsiteY29" fmla="*/ 958850 h 1263650"/>
                  <a:gd name="connsiteX30" fmla="*/ 800100 w 857250"/>
                  <a:gd name="connsiteY30" fmla="*/ 917575 h 1263650"/>
                  <a:gd name="connsiteX31" fmla="*/ 857250 w 857250"/>
                  <a:gd name="connsiteY31" fmla="*/ 949325 h 1263650"/>
                  <a:gd name="connsiteX32" fmla="*/ 800100 w 857250"/>
                  <a:gd name="connsiteY32" fmla="*/ 971550 h 1263650"/>
                  <a:gd name="connsiteX33" fmla="*/ 781050 w 857250"/>
                  <a:gd name="connsiteY33" fmla="*/ 1003300 h 1263650"/>
                  <a:gd name="connsiteX34" fmla="*/ 803275 w 857250"/>
                  <a:gd name="connsiteY34" fmla="*/ 1041400 h 1263650"/>
                  <a:gd name="connsiteX35" fmla="*/ 787400 w 857250"/>
                  <a:gd name="connsiteY35" fmla="*/ 1095375 h 1263650"/>
                  <a:gd name="connsiteX36" fmla="*/ 749300 w 857250"/>
                  <a:gd name="connsiteY36" fmla="*/ 1123950 h 1263650"/>
                  <a:gd name="connsiteX37" fmla="*/ 730250 w 857250"/>
                  <a:gd name="connsiteY37" fmla="*/ 1155700 h 1263650"/>
                  <a:gd name="connsiteX38" fmla="*/ 692150 w 857250"/>
                  <a:gd name="connsiteY38" fmla="*/ 1149350 h 1263650"/>
                  <a:gd name="connsiteX39" fmla="*/ 688975 w 857250"/>
                  <a:gd name="connsiteY39" fmla="*/ 1200150 h 1263650"/>
                  <a:gd name="connsiteX40" fmla="*/ 628650 w 857250"/>
                  <a:gd name="connsiteY40" fmla="*/ 1184275 h 1263650"/>
                  <a:gd name="connsiteX41" fmla="*/ 542925 w 857250"/>
                  <a:gd name="connsiteY41" fmla="*/ 1209675 h 1263650"/>
                  <a:gd name="connsiteX42" fmla="*/ 485775 w 857250"/>
                  <a:gd name="connsiteY42" fmla="*/ 1168400 h 1263650"/>
                  <a:gd name="connsiteX43" fmla="*/ 485775 w 857250"/>
                  <a:gd name="connsiteY43" fmla="*/ 1168400 h 1263650"/>
                  <a:gd name="connsiteX44" fmla="*/ 466725 w 857250"/>
                  <a:gd name="connsiteY44" fmla="*/ 1200150 h 1263650"/>
                  <a:gd name="connsiteX45" fmla="*/ 400050 w 857250"/>
                  <a:gd name="connsiteY45" fmla="*/ 1263650 h 1263650"/>
                  <a:gd name="connsiteX46" fmla="*/ 415925 w 857250"/>
                  <a:gd name="connsiteY46" fmla="*/ 1206500 h 1263650"/>
                  <a:gd name="connsiteX47" fmla="*/ 393700 w 857250"/>
                  <a:gd name="connsiteY47" fmla="*/ 1190625 h 1263650"/>
                  <a:gd name="connsiteX48" fmla="*/ 358775 w 857250"/>
                  <a:gd name="connsiteY48" fmla="*/ 1219200 h 1263650"/>
                  <a:gd name="connsiteX49" fmla="*/ 311150 w 857250"/>
                  <a:gd name="connsiteY49" fmla="*/ 1222375 h 1263650"/>
                  <a:gd name="connsiteX50" fmla="*/ 301625 w 857250"/>
                  <a:gd name="connsiteY50" fmla="*/ 1187450 h 1263650"/>
                  <a:gd name="connsiteX51" fmla="*/ 311150 w 857250"/>
                  <a:gd name="connsiteY51" fmla="*/ 1174750 h 1263650"/>
                  <a:gd name="connsiteX52" fmla="*/ 273050 w 857250"/>
                  <a:gd name="connsiteY52" fmla="*/ 1165225 h 1263650"/>
                  <a:gd name="connsiteX53" fmla="*/ 273050 w 857250"/>
                  <a:gd name="connsiteY53" fmla="*/ 1114425 h 1263650"/>
                  <a:gd name="connsiteX54" fmla="*/ 146050 w 857250"/>
                  <a:gd name="connsiteY54" fmla="*/ 1095375 h 1263650"/>
                  <a:gd name="connsiteX55" fmla="*/ 190500 w 857250"/>
                  <a:gd name="connsiteY55" fmla="*/ 1057275 h 1263650"/>
                  <a:gd name="connsiteX56" fmla="*/ 177800 w 857250"/>
                  <a:gd name="connsiteY56" fmla="*/ 977900 h 1263650"/>
                  <a:gd name="connsiteX57" fmla="*/ 177800 w 857250"/>
                  <a:gd name="connsiteY57" fmla="*/ 977900 h 1263650"/>
                  <a:gd name="connsiteX58" fmla="*/ 177800 w 857250"/>
                  <a:gd name="connsiteY58" fmla="*/ 977900 h 1263650"/>
                  <a:gd name="connsiteX59" fmla="*/ 155575 w 857250"/>
                  <a:gd name="connsiteY59" fmla="*/ 920750 h 1263650"/>
                  <a:gd name="connsiteX60" fmla="*/ 117475 w 857250"/>
                  <a:gd name="connsiteY60" fmla="*/ 936625 h 1263650"/>
                  <a:gd name="connsiteX61" fmla="*/ 139700 w 857250"/>
                  <a:gd name="connsiteY61" fmla="*/ 895350 h 1263650"/>
                  <a:gd name="connsiteX62" fmla="*/ 98425 w 857250"/>
                  <a:gd name="connsiteY62" fmla="*/ 854075 h 1263650"/>
                  <a:gd name="connsiteX63" fmla="*/ 38100 w 857250"/>
                  <a:gd name="connsiteY63" fmla="*/ 885825 h 1263650"/>
                  <a:gd name="connsiteX64" fmla="*/ 34925 w 857250"/>
                  <a:gd name="connsiteY64" fmla="*/ 831850 h 1263650"/>
                  <a:gd name="connsiteX65" fmla="*/ 0 w 857250"/>
                  <a:gd name="connsiteY65" fmla="*/ 815975 h 1263650"/>
                  <a:gd name="connsiteX66" fmla="*/ 60325 w 857250"/>
                  <a:gd name="connsiteY66" fmla="*/ 768350 h 1263650"/>
                  <a:gd name="connsiteX67" fmla="*/ 34925 w 857250"/>
                  <a:gd name="connsiteY67" fmla="*/ 755650 h 1263650"/>
                  <a:gd name="connsiteX68" fmla="*/ 38100 w 857250"/>
                  <a:gd name="connsiteY68" fmla="*/ 714375 h 1263650"/>
                  <a:gd name="connsiteX69" fmla="*/ 149225 w 857250"/>
                  <a:gd name="connsiteY69" fmla="*/ 714375 h 1263650"/>
                  <a:gd name="connsiteX70" fmla="*/ 152400 w 857250"/>
                  <a:gd name="connsiteY70" fmla="*/ 508000 h 1263650"/>
                  <a:gd name="connsiteX71" fmla="*/ 95250 w 857250"/>
                  <a:gd name="connsiteY71" fmla="*/ 469900 h 1263650"/>
                  <a:gd name="connsiteX72" fmla="*/ 114300 w 857250"/>
                  <a:gd name="connsiteY72" fmla="*/ 444500 h 1263650"/>
                  <a:gd name="connsiteX73" fmla="*/ 165100 w 857250"/>
                  <a:gd name="connsiteY73" fmla="*/ 438150 h 1263650"/>
                  <a:gd name="connsiteX74" fmla="*/ 190500 w 857250"/>
                  <a:gd name="connsiteY74" fmla="*/ 396875 h 1263650"/>
                  <a:gd name="connsiteX75" fmla="*/ 282575 w 857250"/>
                  <a:gd name="connsiteY75" fmla="*/ 371475 h 1263650"/>
                  <a:gd name="connsiteX76" fmla="*/ 292100 w 857250"/>
                  <a:gd name="connsiteY76" fmla="*/ 333375 h 1263650"/>
                  <a:gd name="connsiteX77" fmla="*/ 346075 w 857250"/>
                  <a:gd name="connsiteY77" fmla="*/ 352425 h 1263650"/>
                  <a:gd name="connsiteX78" fmla="*/ 317500 w 857250"/>
                  <a:gd name="connsiteY78" fmla="*/ 266700 h 1263650"/>
                  <a:gd name="connsiteX79" fmla="*/ 342900 w 857250"/>
                  <a:gd name="connsiteY79" fmla="*/ 219075 h 1263650"/>
                  <a:gd name="connsiteX80" fmla="*/ 273050 w 857250"/>
                  <a:gd name="connsiteY80" fmla="*/ 85725 h 1263650"/>
                  <a:gd name="connsiteX81" fmla="*/ 241300 w 857250"/>
                  <a:gd name="connsiteY81" fmla="*/ 79375 h 1263650"/>
                  <a:gd name="connsiteX82" fmla="*/ 222250 w 857250"/>
                  <a:gd name="connsiteY82" fmla="*/ 57150 h 1263650"/>
                  <a:gd name="connsiteX83" fmla="*/ 276225 w 857250"/>
                  <a:gd name="connsiteY83" fmla="*/ 44450 h 1263650"/>
                  <a:gd name="connsiteX84" fmla="*/ 288925 w 857250"/>
                  <a:gd name="connsiteY84" fmla="*/ 0 h 126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857250" h="1263650">
                    <a:moveTo>
                      <a:pt x="288925" y="0"/>
                    </a:moveTo>
                    <a:lnTo>
                      <a:pt x="377825" y="50800"/>
                    </a:lnTo>
                    <a:lnTo>
                      <a:pt x="441325" y="15875"/>
                    </a:lnTo>
                    <a:lnTo>
                      <a:pt x="438150" y="53975"/>
                    </a:lnTo>
                    <a:lnTo>
                      <a:pt x="488950" y="114300"/>
                    </a:lnTo>
                    <a:lnTo>
                      <a:pt x="508000" y="171450"/>
                    </a:lnTo>
                    <a:lnTo>
                      <a:pt x="536575" y="171450"/>
                    </a:lnTo>
                    <a:lnTo>
                      <a:pt x="609600" y="273050"/>
                    </a:lnTo>
                    <a:lnTo>
                      <a:pt x="609600" y="304800"/>
                    </a:lnTo>
                    <a:lnTo>
                      <a:pt x="692150" y="428625"/>
                    </a:lnTo>
                    <a:lnTo>
                      <a:pt x="714375" y="460375"/>
                    </a:lnTo>
                    <a:lnTo>
                      <a:pt x="660400" y="466725"/>
                    </a:lnTo>
                    <a:lnTo>
                      <a:pt x="619125" y="454025"/>
                    </a:lnTo>
                    <a:lnTo>
                      <a:pt x="533400" y="400050"/>
                    </a:lnTo>
                    <a:lnTo>
                      <a:pt x="527050" y="349250"/>
                    </a:lnTo>
                    <a:lnTo>
                      <a:pt x="473075" y="403225"/>
                    </a:lnTo>
                    <a:lnTo>
                      <a:pt x="473075" y="403225"/>
                    </a:lnTo>
                    <a:lnTo>
                      <a:pt x="485775" y="482600"/>
                    </a:lnTo>
                    <a:lnTo>
                      <a:pt x="508000" y="542925"/>
                    </a:lnTo>
                    <a:lnTo>
                      <a:pt x="549275" y="571500"/>
                    </a:lnTo>
                    <a:lnTo>
                      <a:pt x="504825" y="581025"/>
                    </a:lnTo>
                    <a:lnTo>
                      <a:pt x="561975" y="692150"/>
                    </a:lnTo>
                    <a:lnTo>
                      <a:pt x="600075" y="774700"/>
                    </a:lnTo>
                    <a:lnTo>
                      <a:pt x="587375" y="838200"/>
                    </a:lnTo>
                    <a:lnTo>
                      <a:pt x="600075" y="923925"/>
                    </a:lnTo>
                    <a:lnTo>
                      <a:pt x="571500" y="936625"/>
                    </a:lnTo>
                    <a:lnTo>
                      <a:pt x="590550" y="977900"/>
                    </a:lnTo>
                    <a:lnTo>
                      <a:pt x="631825" y="990600"/>
                    </a:lnTo>
                    <a:lnTo>
                      <a:pt x="654050" y="933450"/>
                    </a:lnTo>
                    <a:lnTo>
                      <a:pt x="688975" y="958850"/>
                    </a:lnTo>
                    <a:lnTo>
                      <a:pt x="800100" y="917575"/>
                    </a:lnTo>
                    <a:lnTo>
                      <a:pt x="857250" y="949325"/>
                    </a:lnTo>
                    <a:lnTo>
                      <a:pt x="800100" y="971550"/>
                    </a:lnTo>
                    <a:lnTo>
                      <a:pt x="781050" y="1003300"/>
                    </a:lnTo>
                    <a:lnTo>
                      <a:pt x="803275" y="1041400"/>
                    </a:lnTo>
                    <a:lnTo>
                      <a:pt x="787400" y="1095375"/>
                    </a:lnTo>
                    <a:lnTo>
                      <a:pt x="749300" y="1123950"/>
                    </a:lnTo>
                    <a:lnTo>
                      <a:pt x="730250" y="1155700"/>
                    </a:lnTo>
                    <a:lnTo>
                      <a:pt x="692150" y="1149350"/>
                    </a:lnTo>
                    <a:lnTo>
                      <a:pt x="688975" y="1200150"/>
                    </a:lnTo>
                    <a:lnTo>
                      <a:pt x="628650" y="1184275"/>
                    </a:lnTo>
                    <a:lnTo>
                      <a:pt x="542925" y="1209675"/>
                    </a:lnTo>
                    <a:lnTo>
                      <a:pt x="485775" y="1168400"/>
                    </a:lnTo>
                    <a:lnTo>
                      <a:pt x="485775" y="1168400"/>
                    </a:lnTo>
                    <a:lnTo>
                      <a:pt x="466725" y="1200150"/>
                    </a:lnTo>
                    <a:lnTo>
                      <a:pt x="400050" y="1263650"/>
                    </a:lnTo>
                    <a:lnTo>
                      <a:pt x="415925" y="1206500"/>
                    </a:lnTo>
                    <a:lnTo>
                      <a:pt x="393700" y="1190625"/>
                    </a:lnTo>
                    <a:lnTo>
                      <a:pt x="358775" y="1219200"/>
                    </a:lnTo>
                    <a:lnTo>
                      <a:pt x="311150" y="1222375"/>
                    </a:lnTo>
                    <a:lnTo>
                      <a:pt x="301625" y="1187450"/>
                    </a:lnTo>
                    <a:lnTo>
                      <a:pt x="311150" y="1174750"/>
                    </a:lnTo>
                    <a:lnTo>
                      <a:pt x="273050" y="1165225"/>
                    </a:lnTo>
                    <a:lnTo>
                      <a:pt x="273050" y="1114425"/>
                    </a:lnTo>
                    <a:lnTo>
                      <a:pt x="146050" y="1095375"/>
                    </a:lnTo>
                    <a:lnTo>
                      <a:pt x="190500" y="1057275"/>
                    </a:lnTo>
                    <a:lnTo>
                      <a:pt x="177800" y="977900"/>
                    </a:lnTo>
                    <a:lnTo>
                      <a:pt x="177800" y="977900"/>
                    </a:lnTo>
                    <a:lnTo>
                      <a:pt x="177800" y="977900"/>
                    </a:lnTo>
                    <a:lnTo>
                      <a:pt x="155575" y="920750"/>
                    </a:lnTo>
                    <a:lnTo>
                      <a:pt x="117475" y="936625"/>
                    </a:lnTo>
                    <a:lnTo>
                      <a:pt x="139700" y="895350"/>
                    </a:lnTo>
                    <a:lnTo>
                      <a:pt x="98425" y="854075"/>
                    </a:lnTo>
                    <a:lnTo>
                      <a:pt x="38100" y="885825"/>
                    </a:lnTo>
                    <a:lnTo>
                      <a:pt x="34925" y="831850"/>
                    </a:lnTo>
                    <a:lnTo>
                      <a:pt x="0" y="815975"/>
                    </a:lnTo>
                    <a:lnTo>
                      <a:pt x="60325" y="768350"/>
                    </a:lnTo>
                    <a:lnTo>
                      <a:pt x="34925" y="755650"/>
                    </a:lnTo>
                    <a:lnTo>
                      <a:pt x="38100" y="714375"/>
                    </a:lnTo>
                    <a:lnTo>
                      <a:pt x="149225" y="714375"/>
                    </a:lnTo>
                    <a:cubicBezTo>
                      <a:pt x="150283" y="645583"/>
                      <a:pt x="151342" y="576792"/>
                      <a:pt x="152400" y="508000"/>
                    </a:cubicBezTo>
                    <a:lnTo>
                      <a:pt x="95250" y="469900"/>
                    </a:lnTo>
                    <a:lnTo>
                      <a:pt x="114300" y="444500"/>
                    </a:lnTo>
                    <a:lnTo>
                      <a:pt x="165100" y="438150"/>
                    </a:lnTo>
                    <a:lnTo>
                      <a:pt x="190500" y="396875"/>
                    </a:lnTo>
                    <a:lnTo>
                      <a:pt x="282575" y="371475"/>
                    </a:lnTo>
                    <a:lnTo>
                      <a:pt x="292100" y="333375"/>
                    </a:lnTo>
                    <a:lnTo>
                      <a:pt x="346075" y="352425"/>
                    </a:lnTo>
                    <a:lnTo>
                      <a:pt x="317500" y="266700"/>
                    </a:lnTo>
                    <a:lnTo>
                      <a:pt x="342900" y="219075"/>
                    </a:lnTo>
                    <a:cubicBezTo>
                      <a:pt x="316442" y="170392"/>
                      <a:pt x="289983" y="109008"/>
                      <a:pt x="273050" y="85725"/>
                    </a:cubicBezTo>
                    <a:cubicBezTo>
                      <a:pt x="256117" y="62442"/>
                      <a:pt x="249767" y="84138"/>
                      <a:pt x="241300" y="79375"/>
                    </a:cubicBezTo>
                    <a:cubicBezTo>
                      <a:pt x="232833" y="74612"/>
                      <a:pt x="228600" y="64558"/>
                      <a:pt x="222250" y="57150"/>
                    </a:cubicBezTo>
                    <a:lnTo>
                      <a:pt x="276225" y="44450"/>
                    </a:lnTo>
                    <a:lnTo>
                      <a:pt x="288925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Forma libre 22"/>
              <p:cNvSpPr/>
              <p:nvPr/>
            </p:nvSpPr>
            <p:spPr>
              <a:xfrm>
                <a:off x="1234904" y="6462018"/>
                <a:ext cx="198042" cy="248867"/>
              </a:xfrm>
              <a:custGeom>
                <a:avLst/>
                <a:gdLst>
                  <a:gd name="connsiteX0" fmla="*/ 644525 w 1323975"/>
                  <a:gd name="connsiteY0" fmla="*/ 41275 h 1574800"/>
                  <a:gd name="connsiteX1" fmla="*/ 590550 w 1323975"/>
                  <a:gd name="connsiteY1" fmla="*/ 34925 h 1574800"/>
                  <a:gd name="connsiteX2" fmla="*/ 498475 w 1323975"/>
                  <a:gd name="connsiteY2" fmla="*/ 79375 h 1574800"/>
                  <a:gd name="connsiteX3" fmla="*/ 441325 w 1323975"/>
                  <a:gd name="connsiteY3" fmla="*/ 50800 h 1574800"/>
                  <a:gd name="connsiteX4" fmla="*/ 387350 w 1323975"/>
                  <a:gd name="connsiteY4" fmla="*/ 57150 h 1574800"/>
                  <a:gd name="connsiteX5" fmla="*/ 342900 w 1323975"/>
                  <a:gd name="connsiteY5" fmla="*/ 0 h 1574800"/>
                  <a:gd name="connsiteX6" fmla="*/ 307975 w 1323975"/>
                  <a:gd name="connsiteY6" fmla="*/ 34925 h 1574800"/>
                  <a:gd name="connsiteX7" fmla="*/ 231775 w 1323975"/>
                  <a:gd name="connsiteY7" fmla="*/ 34925 h 1574800"/>
                  <a:gd name="connsiteX8" fmla="*/ 187325 w 1323975"/>
                  <a:gd name="connsiteY8" fmla="*/ 63500 h 1574800"/>
                  <a:gd name="connsiteX9" fmla="*/ 184150 w 1323975"/>
                  <a:gd name="connsiteY9" fmla="*/ 120650 h 1574800"/>
                  <a:gd name="connsiteX10" fmla="*/ 136525 w 1323975"/>
                  <a:gd name="connsiteY10" fmla="*/ 187325 h 1574800"/>
                  <a:gd name="connsiteX11" fmla="*/ 139700 w 1323975"/>
                  <a:gd name="connsiteY11" fmla="*/ 222250 h 1574800"/>
                  <a:gd name="connsiteX12" fmla="*/ 174625 w 1323975"/>
                  <a:gd name="connsiteY12" fmla="*/ 219075 h 1574800"/>
                  <a:gd name="connsiteX13" fmla="*/ 231775 w 1323975"/>
                  <a:gd name="connsiteY13" fmla="*/ 333375 h 1574800"/>
                  <a:gd name="connsiteX14" fmla="*/ 139700 w 1323975"/>
                  <a:gd name="connsiteY14" fmla="*/ 377825 h 1574800"/>
                  <a:gd name="connsiteX15" fmla="*/ 114300 w 1323975"/>
                  <a:gd name="connsiteY15" fmla="*/ 450850 h 1574800"/>
                  <a:gd name="connsiteX16" fmla="*/ 69850 w 1323975"/>
                  <a:gd name="connsiteY16" fmla="*/ 374650 h 1574800"/>
                  <a:gd name="connsiteX17" fmla="*/ 0 w 1323975"/>
                  <a:gd name="connsiteY17" fmla="*/ 381000 h 1574800"/>
                  <a:gd name="connsiteX18" fmla="*/ 6350 w 1323975"/>
                  <a:gd name="connsiteY18" fmla="*/ 409575 h 1574800"/>
                  <a:gd name="connsiteX19" fmla="*/ 53975 w 1323975"/>
                  <a:gd name="connsiteY19" fmla="*/ 473075 h 1574800"/>
                  <a:gd name="connsiteX20" fmla="*/ 76200 w 1323975"/>
                  <a:gd name="connsiteY20" fmla="*/ 530225 h 1574800"/>
                  <a:gd name="connsiteX21" fmla="*/ 107950 w 1323975"/>
                  <a:gd name="connsiteY21" fmla="*/ 523875 h 1574800"/>
                  <a:gd name="connsiteX22" fmla="*/ 184150 w 1323975"/>
                  <a:gd name="connsiteY22" fmla="*/ 641350 h 1574800"/>
                  <a:gd name="connsiteX23" fmla="*/ 184150 w 1323975"/>
                  <a:gd name="connsiteY23" fmla="*/ 669925 h 1574800"/>
                  <a:gd name="connsiteX24" fmla="*/ 279400 w 1323975"/>
                  <a:gd name="connsiteY24" fmla="*/ 819150 h 1574800"/>
                  <a:gd name="connsiteX25" fmla="*/ 349250 w 1323975"/>
                  <a:gd name="connsiteY25" fmla="*/ 819150 h 1574800"/>
                  <a:gd name="connsiteX26" fmla="*/ 396875 w 1323975"/>
                  <a:gd name="connsiteY26" fmla="*/ 806450 h 1574800"/>
                  <a:gd name="connsiteX27" fmla="*/ 511175 w 1323975"/>
                  <a:gd name="connsiteY27" fmla="*/ 863600 h 1574800"/>
                  <a:gd name="connsiteX28" fmla="*/ 622300 w 1323975"/>
                  <a:gd name="connsiteY28" fmla="*/ 923925 h 1574800"/>
                  <a:gd name="connsiteX29" fmla="*/ 685800 w 1323975"/>
                  <a:gd name="connsiteY29" fmla="*/ 949325 h 1574800"/>
                  <a:gd name="connsiteX30" fmla="*/ 711200 w 1323975"/>
                  <a:gd name="connsiteY30" fmla="*/ 1025525 h 1574800"/>
                  <a:gd name="connsiteX31" fmla="*/ 695325 w 1323975"/>
                  <a:gd name="connsiteY31" fmla="*/ 1101725 h 1574800"/>
                  <a:gd name="connsiteX32" fmla="*/ 619125 w 1323975"/>
                  <a:gd name="connsiteY32" fmla="*/ 1177925 h 1574800"/>
                  <a:gd name="connsiteX33" fmla="*/ 542925 w 1323975"/>
                  <a:gd name="connsiteY33" fmla="*/ 1235075 h 1574800"/>
                  <a:gd name="connsiteX34" fmla="*/ 558800 w 1323975"/>
                  <a:gd name="connsiteY34" fmla="*/ 1282700 h 1574800"/>
                  <a:gd name="connsiteX35" fmla="*/ 546100 w 1323975"/>
                  <a:gd name="connsiteY35" fmla="*/ 1314450 h 1574800"/>
                  <a:gd name="connsiteX36" fmla="*/ 581025 w 1323975"/>
                  <a:gd name="connsiteY36" fmla="*/ 1333500 h 1574800"/>
                  <a:gd name="connsiteX37" fmla="*/ 669925 w 1323975"/>
                  <a:gd name="connsiteY37" fmla="*/ 1330325 h 1574800"/>
                  <a:gd name="connsiteX38" fmla="*/ 704850 w 1323975"/>
                  <a:gd name="connsiteY38" fmla="*/ 1365250 h 1574800"/>
                  <a:gd name="connsiteX39" fmla="*/ 714375 w 1323975"/>
                  <a:gd name="connsiteY39" fmla="*/ 1270000 h 1574800"/>
                  <a:gd name="connsiteX40" fmla="*/ 714375 w 1323975"/>
                  <a:gd name="connsiteY40" fmla="*/ 1270000 h 1574800"/>
                  <a:gd name="connsiteX41" fmla="*/ 774700 w 1323975"/>
                  <a:gd name="connsiteY41" fmla="*/ 1346200 h 1574800"/>
                  <a:gd name="connsiteX42" fmla="*/ 825500 w 1323975"/>
                  <a:gd name="connsiteY42" fmla="*/ 1397000 h 1574800"/>
                  <a:gd name="connsiteX43" fmla="*/ 784225 w 1323975"/>
                  <a:gd name="connsiteY43" fmla="*/ 1431925 h 1574800"/>
                  <a:gd name="connsiteX44" fmla="*/ 850900 w 1323975"/>
                  <a:gd name="connsiteY44" fmla="*/ 1444625 h 1574800"/>
                  <a:gd name="connsiteX45" fmla="*/ 879475 w 1323975"/>
                  <a:gd name="connsiteY45" fmla="*/ 1473200 h 1574800"/>
                  <a:gd name="connsiteX46" fmla="*/ 917575 w 1323975"/>
                  <a:gd name="connsiteY46" fmla="*/ 1425575 h 1574800"/>
                  <a:gd name="connsiteX47" fmla="*/ 917575 w 1323975"/>
                  <a:gd name="connsiteY47" fmla="*/ 1425575 h 1574800"/>
                  <a:gd name="connsiteX48" fmla="*/ 971550 w 1323975"/>
                  <a:gd name="connsiteY48" fmla="*/ 1447800 h 1574800"/>
                  <a:gd name="connsiteX49" fmla="*/ 1019175 w 1323975"/>
                  <a:gd name="connsiteY49" fmla="*/ 1425575 h 1574800"/>
                  <a:gd name="connsiteX50" fmla="*/ 1047750 w 1323975"/>
                  <a:gd name="connsiteY50" fmla="*/ 1450975 h 1574800"/>
                  <a:gd name="connsiteX51" fmla="*/ 1041400 w 1323975"/>
                  <a:gd name="connsiteY51" fmla="*/ 1498600 h 1574800"/>
                  <a:gd name="connsiteX52" fmla="*/ 1019175 w 1323975"/>
                  <a:gd name="connsiteY52" fmla="*/ 1524000 h 1574800"/>
                  <a:gd name="connsiteX53" fmla="*/ 1047750 w 1323975"/>
                  <a:gd name="connsiteY53" fmla="*/ 1574800 h 1574800"/>
                  <a:gd name="connsiteX54" fmla="*/ 1079500 w 1323975"/>
                  <a:gd name="connsiteY54" fmla="*/ 1571625 h 1574800"/>
                  <a:gd name="connsiteX55" fmla="*/ 1117600 w 1323975"/>
                  <a:gd name="connsiteY55" fmla="*/ 1498600 h 1574800"/>
                  <a:gd name="connsiteX56" fmla="*/ 1104900 w 1323975"/>
                  <a:gd name="connsiteY56" fmla="*/ 1298575 h 1574800"/>
                  <a:gd name="connsiteX57" fmla="*/ 1069975 w 1323975"/>
                  <a:gd name="connsiteY57" fmla="*/ 1311275 h 1574800"/>
                  <a:gd name="connsiteX58" fmla="*/ 1054100 w 1323975"/>
                  <a:gd name="connsiteY58" fmla="*/ 1270000 h 1574800"/>
                  <a:gd name="connsiteX59" fmla="*/ 1114425 w 1323975"/>
                  <a:gd name="connsiteY59" fmla="*/ 1244600 h 1574800"/>
                  <a:gd name="connsiteX60" fmla="*/ 1108075 w 1323975"/>
                  <a:gd name="connsiteY60" fmla="*/ 1165225 h 1574800"/>
                  <a:gd name="connsiteX61" fmla="*/ 1184275 w 1323975"/>
                  <a:gd name="connsiteY61" fmla="*/ 1076325 h 1574800"/>
                  <a:gd name="connsiteX62" fmla="*/ 1146175 w 1323975"/>
                  <a:gd name="connsiteY62" fmla="*/ 1031875 h 1574800"/>
                  <a:gd name="connsiteX63" fmla="*/ 1143000 w 1323975"/>
                  <a:gd name="connsiteY63" fmla="*/ 946150 h 1574800"/>
                  <a:gd name="connsiteX64" fmla="*/ 1209675 w 1323975"/>
                  <a:gd name="connsiteY64" fmla="*/ 974725 h 1574800"/>
                  <a:gd name="connsiteX65" fmla="*/ 1206500 w 1323975"/>
                  <a:gd name="connsiteY65" fmla="*/ 917575 h 1574800"/>
                  <a:gd name="connsiteX66" fmla="*/ 1279525 w 1323975"/>
                  <a:gd name="connsiteY66" fmla="*/ 857250 h 1574800"/>
                  <a:gd name="connsiteX67" fmla="*/ 1320800 w 1323975"/>
                  <a:gd name="connsiteY67" fmla="*/ 800100 h 1574800"/>
                  <a:gd name="connsiteX68" fmla="*/ 1323975 w 1323975"/>
                  <a:gd name="connsiteY68" fmla="*/ 746125 h 1574800"/>
                  <a:gd name="connsiteX69" fmla="*/ 1260475 w 1323975"/>
                  <a:gd name="connsiteY69" fmla="*/ 733425 h 1574800"/>
                  <a:gd name="connsiteX70" fmla="*/ 1244600 w 1323975"/>
                  <a:gd name="connsiteY70" fmla="*/ 711200 h 1574800"/>
                  <a:gd name="connsiteX71" fmla="*/ 1206500 w 1323975"/>
                  <a:gd name="connsiteY71" fmla="*/ 736600 h 1574800"/>
                  <a:gd name="connsiteX72" fmla="*/ 1155700 w 1323975"/>
                  <a:gd name="connsiteY72" fmla="*/ 704850 h 1574800"/>
                  <a:gd name="connsiteX73" fmla="*/ 1092200 w 1323975"/>
                  <a:gd name="connsiteY73" fmla="*/ 784225 h 1574800"/>
                  <a:gd name="connsiteX74" fmla="*/ 1025525 w 1323975"/>
                  <a:gd name="connsiteY74" fmla="*/ 758825 h 1574800"/>
                  <a:gd name="connsiteX75" fmla="*/ 1038225 w 1323975"/>
                  <a:gd name="connsiteY75" fmla="*/ 669925 h 1574800"/>
                  <a:gd name="connsiteX76" fmla="*/ 987425 w 1323975"/>
                  <a:gd name="connsiteY76" fmla="*/ 666750 h 1574800"/>
                  <a:gd name="connsiteX77" fmla="*/ 917575 w 1323975"/>
                  <a:gd name="connsiteY77" fmla="*/ 628650 h 1574800"/>
                  <a:gd name="connsiteX78" fmla="*/ 882650 w 1323975"/>
                  <a:gd name="connsiteY78" fmla="*/ 568325 h 1574800"/>
                  <a:gd name="connsiteX79" fmla="*/ 819150 w 1323975"/>
                  <a:gd name="connsiteY79" fmla="*/ 606425 h 1574800"/>
                  <a:gd name="connsiteX80" fmla="*/ 736600 w 1323975"/>
                  <a:gd name="connsiteY80" fmla="*/ 568325 h 1574800"/>
                  <a:gd name="connsiteX81" fmla="*/ 685800 w 1323975"/>
                  <a:gd name="connsiteY81" fmla="*/ 485775 h 1574800"/>
                  <a:gd name="connsiteX82" fmla="*/ 727075 w 1323975"/>
                  <a:gd name="connsiteY82" fmla="*/ 419100 h 1574800"/>
                  <a:gd name="connsiteX83" fmla="*/ 673100 w 1323975"/>
                  <a:gd name="connsiteY83" fmla="*/ 384175 h 1574800"/>
                  <a:gd name="connsiteX84" fmla="*/ 676275 w 1323975"/>
                  <a:gd name="connsiteY84" fmla="*/ 320675 h 1574800"/>
                  <a:gd name="connsiteX85" fmla="*/ 612775 w 1323975"/>
                  <a:gd name="connsiteY85" fmla="*/ 314325 h 1574800"/>
                  <a:gd name="connsiteX86" fmla="*/ 546100 w 1323975"/>
                  <a:gd name="connsiteY86" fmla="*/ 177800 h 1574800"/>
                  <a:gd name="connsiteX87" fmla="*/ 644525 w 1323975"/>
                  <a:gd name="connsiteY87" fmla="*/ 41275 h 157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323975" h="1574800">
                    <a:moveTo>
                      <a:pt x="644525" y="41275"/>
                    </a:moveTo>
                    <a:lnTo>
                      <a:pt x="590550" y="34925"/>
                    </a:lnTo>
                    <a:lnTo>
                      <a:pt x="498475" y="79375"/>
                    </a:lnTo>
                    <a:lnTo>
                      <a:pt x="441325" y="50800"/>
                    </a:lnTo>
                    <a:lnTo>
                      <a:pt x="387350" y="57150"/>
                    </a:lnTo>
                    <a:lnTo>
                      <a:pt x="342900" y="0"/>
                    </a:lnTo>
                    <a:lnTo>
                      <a:pt x="307975" y="34925"/>
                    </a:lnTo>
                    <a:lnTo>
                      <a:pt x="231775" y="34925"/>
                    </a:lnTo>
                    <a:lnTo>
                      <a:pt x="187325" y="63500"/>
                    </a:lnTo>
                    <a:lnTo>
                      <a:pt x="184150" y="120650"/>
                    </a:lnTo>
                    <a:lnTo>
                      <a:pt x="136525" y="187325"/>
                    </a:lnTo>
                    <a:lnTo>
                      <a:pt x="139700" y="222250"/>
                    </a:lnTo>
                    <a:lnTo>
                      <a:pt x="174625" y="219075"/>
                    </a:lnTo>
                    <a:lnTo>
                      <a:pt x="231775" y="333375"/>
                    </a:lnTo>
                    <a:lnTo>
                      <a:pt x="139700" y="377825"/>
                    </a:lnTo>
                    <a:lnTo>
                      <a:pt x="114300" y="450850"/>
                    </a:lnTo>
                    <a:lnTo>
                      <a:pt x="69850" y="374650"/>
                    </a:lnTo>
                    <a:lnTo>
                      <a:pt x="0" y="381000"/>
                    </a:lnTo>
                    <a:lnTo>
                      <a:pt x="6350" y="409575"/>
                    </a:lnTo>
                    <a:lnTo>
                      <a:pt x="53975" y="473075"/>
                    </a:lnTo>
                    <a:lnTo>
                      <a:pt x="76200" y="530225"/>
                    </a:lnTo>
                    <a:lnTo>
                      <a:pt x="107950" y="523875"/>
                    </a:lnTo>
                    <a:lnTo>
                      <a:pt x="184150" y="641350"/>
                    </a:lnTo>
                    <a:lnTo>
                      <a:pt x="184150" y="669925"/>
                    </a:lnTo>
                    <a:lnTo>
                      <a:pt x="279400" y="819150"/>
                    </a:lnTo>
                    <a:lnTo>
                      <a:pt x="349250" y="819150"/>
                    </a:lnTo>
                    <a:lnTo>
                      <a:pt x="396875" y="806450"/>
                    </a:lnTo>
                    <a:lnTo>
                      <a:pt x="511175" y="863600"/>
                    </a:lnTo>
                    <a:lnTo>
                      <a:pt x="622300" y="923925"/>
                    </a:lnTo>
                    <a:lnTo>
                      <a:pt x="685800" y="949325"/>
                    </a:lnTo>
                    <a:lnTo>
                      <a:pt x="711200" y="1025525"/>
                    </a:lnTo>
                    <a:lnTo>
                      <a:pt x="695325" y="1101725"/>
                    </a:lnTo>
                    <a:lnTo>
                      <a:pt x="619125" y="1177925"/>
                    </a:lnTo>
                    <a:lnTo>
                      <a:pt x="542925" y="1235075"/>
                    </a:lnTo>
                    <a:lnTo>
                      <a:pt x="558800" y="1282700"/>
                    </a:lnTo>
                    <a:lnTo>
                      <a:pt x="546100" y="1314450"/>
                    </a:lnTo>
                    <a:lnTo>
                      <a:pt x="581025" y="1333500"/>
                    </a:lnTo>
                    <a:lnTo>
                      <a:pt x="669925" y="1330325"/>
                    </a:lnTo>
                    <a:lnTo>
                      <a:pt x="704850" y="1365250"/>
                    </a:lnTo>
                    <a:lnTo>
                      <a:pt x="714375" y="1270000"/>
                    </a:lnTo>
                    <a:lnTo>
                      <a:pt x="714375" y="1270000"/>
                    </a:lnTo>
                    <a:lnTo>
                      <a:pt x="774700" y="1346200"/>
                    </a:lnTo>
                    <a:lnTo>
                      <a:pt x="825500" y="1397000"/>
                    </a:lnTo>
                    <a:lnTo>
                      <a:pt x="784225" y="1431925"/>
                    </a:lnTo>
                    <a:lnTo>
                      <a:pt x="850900" y="1444625"/>
                    </a:lnTo>
                    <a:lnTo>
                      <a:pt x="879475" y="1473200"/>
                    </a:lnTo>
                    <a:lnTo>
                      <a:pt x="917575" y="1425575"/>
                    </a:lnTo>
                    <a:lnTo>
                      <a:pt x="917575" y="1425575"/>
                    </a:lnTo>
                    <a:lnTo>
                      <a:pt x="971550" y="1447800"/>
                    </a:lnTo>
                    <a:lnTo>
                      <a:pt x="1019175" y="1425575"/>
                    </a:lnTo>
                    <a:lnTo>
                      <a:pt x="1047750" y="1450975"/>
                    </a:lnTo>
                    <a:lnTo>
                      <a:pt x="1041400" y="1498600"/>
                    </a:lnTo>
                    <a:lnTo>
                      <a:pt x="1019175" y="1524000"/>
                    </a:lnTo>
                    <a:lnTo>
                      <a:pt x="1047750" y="1574800"/>
                    </a:lnTo>
                    <a:lnTo>
                      <a:pt x="1079500" y="1571625"/>
                    </a:lnTo>
                    <a:lnTo>
                      <a:pt x="1117600" y="1498600"/>
                    </a:lnTo>
                    <a:lnTo>
                      <a:pt x="1104900" y="1298575"/>
                    </a:lnTo>
                    <a:lnTo>
                      <a:pt x="1069975" y="1311275"/>
                    </a:lnTo>
                    <a:lnTo>
                      <a:pt x="1054100" y="1270000"/>
                    </a:lnTo>
                    <a:lnTo>
                      <a:pt x="1114425" y="1244600"/>
                    </a:lnTo>
                    <a:lnTo>
                      <a:pt x="1108075" y="1165225"/>
                    </a:lnTo>
                    <a:lnTo>
                      <a:pt x="1184275" y="1076325"/>
                    </a:lnTo>
                    <a:lnTo>
                      <a:pt x="1146175" y="1031875"/>
                    </a:lnTo>
                    <a:lnTo>
                      <a:pt x="1143000" y="946150"/>
                    </a:lnTo>
                    <a:lnTo>
                      <a:pt x="1209675" y="974725"/>
                    </a:lnTo>
                    <a:lnTo>
                      <a:pt x="1206500" y="917575"/>
                    </a:lnTo>
                    <a:lnTo>
                      <a:pt x="1279525" y="857250"/>
                    </a:lnTo>
                    <a:lnTo>
                      <a:pt x="1320800" y="800100"/>
                    </a:lnTo>
                    <a:lnTo>
                      <a:pt x="1323975" y="746125"/>
                    </a:lnTo>
                    <a:lnTo>
                      <a:pt x="1260475" y="733425"/>
                    </a:lnTo>
                    <a:lnTo>
                      <a:pt x="1244600" y="711200"/>
                    </a:lnTo>
                    <a:lnTo>
                      <a:pt x="1206500" y="736600"/>
                    </a:lnTo>
                    <a:lnTo>
                      <a:pt x="1155700" y="704850"/>
                    </a:lnTo>
                    <a:lnTo>
                      <a:pt x="1092200" y="784225"/>
                    </a:lnTo>
                    <a:lnTo>
                      <a:pt x="1025525" y="758825"/>
                    </a:lnTo>
                    <a:lnTo>
                      <a:pt x="1038225" y="669925"/>
                    </a:lnTo>
                    <a:lnTo>
                      <a:pt x="987425" y="666750"/>
                    </a:lnTo>
                    <a:lnTo>
                      <a:pt x="917575" y="628650"/>
                    </a:lnTo>
                    <a:lnTo>
                      <a:pt x="882650" y="568325"/>
                    </a:lnTo>
                    <a:lnTo>
                      <a:pt x="819150" y="606425"/>
                    </a:lnTo>
                    <a:lnTo>
                      <a:pt x="736600" y="568325"/>
                    </a:lnTo>
                    <a:lnTo>
                      <a:pt x="685800" y="485775"/>
                    </a:lnTo>
                    <a:lnTo>
                      <a:pt x="727075" y="419100"/>
                    </a:lnTo>
                    <a:lnTo>
                      <a:pt x="673100" y="384175"/>
                    </a:lnTo>
                    <a:lnTo>
                      <a:pt x="676275" y="320675"/>
                    </a:lnTo>
                    <a:lnTo>
                      <a:pt x="612775" y="314325"/>
                    </a:lnTo>
                    <a:lnTo>
                      <a:pt x="546100" y="177800"/>
                    </a:lnTo>
                    <a:lnTo>
                      <a:pt x="644525" y="4127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42" name="Forma libre 23"/>
              <p:cNvSpPr/>
              <p:nvPr/>
            </p:nvSpPr>
            <p:spPr>
              <a:xfrm>
                <a:off x="1241553" y="6577922"/>
                <a:ext cx="96884" cy="96336"/>
              </a:xfrm>
              <a:custGeom>
                <a:avLst/>
                <a:gdLst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84200 w 657225"/>
                  <a:gd name="connsiteY2" fmla="*/ 4349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7465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84200 w 657225"/>
                  <a:gd name="connsiteY2" fmla="*/ 4349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222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699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5775 w 657225"/>
                  <a:gd name="connsiteY3" fmla="*/ 504825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69900 w 657225"/>
                  <a:gd name="connsiteY3" fmla="*/ 51435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2600 w 657225"/>
                  <a:gd name="connsiteY3" fmla="*/ 51435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2600 w 657225"/>
                  <a:gd name="connsiteY3" fmla="*/ 51435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571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47700 w 647700"/>
                  <a:gd name="connsiteY0" fmla="*/ 288925 h 609600"/>
                  <a:gd name="connsiteX1" fmla="*/ 644525 w 647700"/>
                  <a:gd name="connsiteY1" fmla="*/ 355600 h 609600"/>
                  <a:gd name="connsiteX2" fmla="*/ 565150 w 647700"/>
                  <a:gd name="connsiteY2" fmla="*/ 434975 h 609600"/>
                  <a:gd name="connsiteX3" fmla="*/ 473075 w 647700"/>
                  <a:gd name="connsiteY3" fmla="*/ 514350 h 609600"/>
                  <a:gd name="connsiteX4" fmla="*/ 492125 w 647700"/>
                  <a:gd name="connsiteY4" fmla="*/ 533400 h 609600"/>
                  <a:gd name="connsiteX5" fmla="*/ 488950 w 647700"/>
                  <a:gd name="connsiteY5" fmla="*/ 561975 h 609600"/>
                  <a:gd name="connsiteX6" fmla="*/ 415925 w 647700"/>
                  <a:gd name="connsiteY6" fmla="*/ 558800 h 609600"/>
                  <a:gd name="connsiteX7" fmla="*/ 384175 w 647700"/>
                  <a:gd name="connsiteY7" fmla="*/ 549275 h 609600"/>
                  <a:gd name="connsiteX8" fmla="*/ 374650 w 647700"/>
                  <a:gd name="connsiteY8" fmla="*/ 574675 h 609600"/>
                  <a:gd name="connsiteX9" fmla="*/ 307975 w 647700"/>
                  <a:gd name="connsiteY9" fmla="*/ 536575 h 609600"/>
                  <a:gd name="connsiteX10" fmla="*/ 196850 w 647700"/>
                  <a:gd name="connsiteY10" fmla="*/ 581025 h 609600"/>
                  <a:gd name="connsiteX11" fmla="*/ 168275 w 647700"/>
                  <a:gd name="connsiteY11" fmla="*/ 546100 h 609600"/>
                  <a:gd name="connsiteX12" fmla="*/ 142875 w 647700"/>
                  <a:gd name="connsiteY12" fmla="*/ 609600 h 609600"/>
                  <a:gd name="connsiteX13" fmla="*/ 107950 w 647700"/>
                  <a:gd name="connsiteY13" fmla="*/ 590550 h 609600"/>
                  <a:gd name="connsiteX14" fmla="*/ 104775 w 647700"/>
                  <a:gd name="connsiteY14" fmla="*/ 561975 h 609600"/>
                  <a:gd name="connsiteX15" fmla="*/ 130175 w 647700"/>
                  <a:gd name="connsiteY15" fmla="*/ 542925 h 609600"/>
                  <a:gd name="connsiteX16" fmla="*/ 107950 w 647700"/>
                  <a:gd name="connsiteY16" fmla="*/ 485775 h 609600"/>
                  <a:gd name="connsiteX17" fmla="*/ 127000 w 647700"/>
                  <a:gd name="connsiteY17" fmla="*/ 393700 h 609600"/>
                  <a:gd name="connsiteX18" fmla="*/ 34925 w 647700"/>
                  <a:gd name="connsiteY18" fmla="*/ 222250 h 609600"/>
                  <a:gd name="connsiteX19" fmla="*/ 85725 w 647700"/>
                  <a:gd name="connsiteY19" fmla="*/ 203200 h 609600"/>
                  <a:gd name="connsiteX20" fmla="*/ 28575 w 647700"/>
                  <a:gd name="connsiteY20" fmla="*/ 165100 h 609600"/>
                  <a:gd name="connsiteX21" fmla="*/ 0 w 647700"/>
                  <a:gd name="connsiteY21" fmla="*/ 44450 h 609600"/>
                  <a:gd name="connsiteX22" fmla="*/ 31750 w 647700"/>
                  <a:gd name="connsiteY22" fmla="*/ 0 h 609600"/>
                  <a:gd name="connsiteX23" fmla="*/ 34925 w 647700"/>
                  <a:gd name="connsiteY23" fmla="*/ 47625 h 609600"/>
                  <a:gd name="connsiteX24" fmla="*/ 168275 w 647700"/>
                  <a:gd name="connsiteY24" fmla="*/ 117475 h 609600"/>
                  <a:gd name="connsiteX25" fmla="*/ 358775 w 647700"/>
                  <a:gd name="connsiteY25" fmla="*/ 88900 h 609600"/>
                  <a:gd name="connsiteX26" fmla="*/ 622300 w 647700"/>
                  <a:gd name="connsiteY26" fmla="*/ 215900 h 609600"/>
                  <a:gd name="connsiteX27" fmla="*/ 647700 w 647700"/>
                  <a:gd name="connsiteY27" fmla="*/ 288925 h 60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7700" h="609600">
                    <a:moveTo>
                      <a:pt x="647700" y="288925"/>
                    </a:moveTo>
                    <a:lnTo>
                      <a:pt x="644525" y="355600"/>
                    </a:lnTo>
                    <a:lnTo>
                      <a:pt x="565150" y="434975"/>
                    </a:lnTo>
                    <a:lnTo>
                      <a:pt x="473075" y="514350"/>
                    </a:lnTo>
                    <a:lnTo>
                      <a:pt x="492125" y="533400"/>
                    </a:lnTo>
                    <a:lnTo>
                      <a:pt x="488950" y="561975"/>
                    </a:lnTo>
                    <a:lnTo>
                      <a:pt x="415925" y="558800"/>
                    </a:lnTo>
                    <a:lnTo>
                      <a:pt x="384175" y="549275"/>
                    </a:lnTo>
                    <a:lnTo>
                      <a:pt x="374650" y="574675"/>
                    </a:lnTo>
                    <a:lnTo>
                      <a:pt x="307975" y="536575"/>
                    </a:lnTo>
                    <a:lnTo>
                      <a:pt x="196850" y="581025"/>
                    </a:lnTo>
                    <a:lnTo>
                      <a:pt x="168275" y="546100"/>
                    </a:lnTo>
                    <a:lnTo>
                      <a:pt x="142875" y="609600"/>
                    </a:lnTo>
                    <a:lnTo>
                      <a:pt x="107950" y="590550"/>
                    </a:lnTo>
                    <a:lnTo>
                      <a:pt x="104775" y="561975"/>
                    </a:lnTo>
                    <a:lnTo>
                      <a:pt x="130175" y="542925"/>
                    </a:lnTo>
                    <a:lnTo>
                      <a:pt x="107950" y="485775"/>
                    </a:lnTo>
                    <a:lnTo>
                      <a:pt x="127000" y="393700"/>
                    </a:lnTo>
                    <a:lnTo>
                      <a:pt x="34925" y="222250"/>
                    </a:lnTo>
                    <a:lnTo>
                      <a:pt x="85725" y="203200"/>
                    </a:lnTo>
                    <a:lnTo>
                      <a:pt x="28575" y="165100"/>
                    </a:lnTo>
                    <a:lnTo>
                      <a:pt x="0" y="44450"/>
                    </a:lnTo>
                    <a:lnTo>
                      <a:pt x="31750" y="0"/>
                    </a:lnTo>
                    <a:lnTo>
                      <a:pt x="34925" y="47625"/>
                    </a:lnTo>
                    <a:lnTo>
                      <a:pt x="168275" y="117475"/>
                    </a:lnTo>
                    <a:lnTo>
                      <a:pt x="358775" y="88900"/>
                    </a:lnTo>
                    <a:lnTo>
                      <a:pt x="622300" y="215900"/>
                    </a:lnTo>
                    <a:lnTo>
                      <a:pt x="647700" y="28892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Forma libre 24"/>
              <p:cNvSpPr/>
              <p:nvPr/>
            </p:nvSpPr>
            <p:spPr>
              <a:xfrm>
                <a:off x="1173164" y="6665226"/>
                <a:ext cx="237460" cy="155040"/>
              </a:xfrm>
              <a:custGeom>
                <a:avLst/>
                <a:gdLst>
                  <a:gd name="connsiteX0" fmla="*/ 0 w 1574800"/>
                  <a:gd name="connsiteY0" fmla="*/ 301625 h 981075"/>
                  <a:gd name="connsiteX1" fmla="*/ 88900 w 1574800"/>
                  <a:gd name="connsiteY1" fmla="*/ 346075 h 981075"/>
                  <a:gd name="connsiteX2" fmla="*/ 209550 w 1574800"/>
                  <a:gd name="connsiteY2" fmla="*/ 396875 h 981075"/>
                  <a:gd name="connsiteX3" fmla="*/ 215900 w 1574800"/>
                  <a:gd name="connsiteY3" fmla="*/ 431800 h 981075"/>
                  <a:gd name="connsiteX4" fmla="*/ 285750 w 1574800"/>
                  <a:gd name="connsiteY4" fmla="*/ 444500 h 981075"/>
                  <a:gd name="connsiteX5" fmla="*/ 377825 w 1574800"/>
                  <a:gd name="connsiteY5" fmla="*/ 498475 h 981075"/>
                  <a:gd name="connsiteX6" fmla="*/ 498475 w 1574800"/>
                  <a:gd name="connsiteY6" fmla="*/ 590550 h 981075"/>
                  <a:gd name="connsiteX7" fmla="*/ 638175 w 1574800"/>
                  <a:gd name="connsiteY7" fmla="*/ 622300 h 981075"/>
                  <a:gd name="connsiteX8" fmla="*/ 660400 w 1574800"/>
                  <a:gd name="connsiteY8" fmla="*/ 660400 h 981075"/>
                  <a:gd name="connsiteX9" fmla="*/ 711200 w 1574800"/>
                  <a:gd name="connsiteY9" fmla="*/ 660400 h 981075"/>
                  <a:gd name="connsiteX10" fmla="*/ 790575 w 1574800"/>
                  <a:gd name="connsiteY10" fmla="*/ 698500 h 981075"/>
                  <a:gd name="connsiteX11" fmla="*/ 844550 w 1574800"/>
                  <a:gd name="connsiteY11" fmla="*/ 749300 h 981075"/>
                  <a:gd name="connsiteX12" fmla="*/ 974725 w 1574800"/>
                  <a:gd name="connsiteY12" fmla="*/ 762000 h 981075"/>
                  <a:gd name="connsiteX13" fmla="*/ 1031875 w 1574800"/>
                  <a:gd name="connsiteY13" fmla="*/ 828675 h 981075"/>
                  <a:gd name="connsiteX14" fmla="*/ 1108075 w 1574800"/>
                  <a:gd name="connsiteY14" fmla="*/ 882650 h 981075"/>
                  <a:gd name="connsiteX15" fmla="*/ 1193800 w 1574800"/>
                  <a:gd name="connsiteY15" fmla="*/ 936625 h 981075"/>
                  <a:gd name="connsiteX16" fmla="*/ 1323975 w 1574800"/>
                  <a:gd name="connsiteY16" fmla="*/ 981075 h 981075"/>
                  <a:gd name="connsiteX17" fmla="*/ 1387475 w 1574800"/>
                  <a:gd name="connsiteY17" fmla="*/ 911225 h 981075"/>
                  <a:gd name="connsiteX18" fmla="*/ 1374775 w 1574800"/>
                  <a:gd name="connsiteY18" fmla="*/ 879475 h 981075"/>
                  <a:gd name="connsiteX19" fmla="*/ 1339850 w 1574800"/>
                  <a:gd name="connsiteY19" fmla="*/ 854075 h 981075"/>
                  <a:gd name="connsiteX20" fmla="*/ 1339850 w 1574800"/>
                  <a:gd name="connsiteY20" fmla="*/ 793750 h 981075"/>
                  <a:gd name="connsiteX21" fmla="*/ 1362075 w 1574800"/>
                  <a:gd name="connsiteY21" fmla="*/ 762000 h 981075"/>
                  <a:gd name="connsiteX22" fmla="*/ 1390650 w 1574800"/>
                  <a:gd name="connsiteY22" fmla="*/ 784225 h 981075"/>
                  <a:gd name="connsiteX23" fmla="*/ 1416050 w 1574800"/>
                  <a:gd name="connsiteY23" fmla="*/ 669925 h 981075"/>
                  <a:gd name="connsiteX24" fmla="*/ 1479550 w 1574800"/>
                  <a:gd name="connsiteY24" fmla="*/ 669925 h 981075"/>
                  <a:gd name="connsiteX25" fmla="*/ 1504950 w 1574800"/>
                  <a:gd name="connsiteY25" fmla="*/ 688975 h 981075"/>
                  <a:gd name="connsiteX26" fmla="*/ 1511300 w 1574800"/>
                  <a:gd name="connsiteY26" fmla="*/ 657225 h 981075"/>
                  <a:gd name="connsiteX27" fmla="*/ 1508125 w 1574800"/>
                  <a:gd name="connsiteY27" fmla="*/ 609600 h 981075"/>
                  <a:gd name="connsiteX28" fmla="*/ 1562100 w 1574800"/>
                  <a:gd name="connsiteY28" fmla="*/ 590550 h 981075"/>
                  <a:gd name="connsiteX29" fmla="*/ 1539875 w 1574800"/>
                  <a:gd name="connsiteY29" fmla="*/ 533400 h 981075"/>
                  <a:gd name="connsiteX30" fmla="*/ 1574800 w 1574800"/>
                  <a:gd name="connsiteY30" fmla="*/ 511175 h 981075"/>
                  <a:gd name="connsiteX31" fmla="*/ 1520825 w 1574800"/>
                  <a:gd name="connsiteY31" fmla="*/ 403225 h 981075"/>
                  <a:gd name="connsiteX32" fmla="*/ 1533525 w 1574800"/>
                  <a:gd name="connsiteY32" fmla="*/ 371475 h 981075"/>
                  <a:gd name="connsiteX33" fmla="*/ 1479550 w 1574800"/>
                  <a:gd name="connsiteY33" fmla="*/ 307975 h 981075"/>
                  <a:gd name="connsiteX34" fmla="*/ 1435100 w 1574800"/>
                  <a:gd name="connsiteY34" fmla="*/ 292100 h 981075"/>
                  <a:gd name="connsiteX35" fmla="*/ 1406525 w 1574800"/>
                  <a:gd name="connsiteY35" fmla="*/ 241300 h 981075"/>
                  <a:gd name="connsiteX36" fmla="*/ 1438275 w 1574800"/>
                  <a:gd name="connsiteY36" fmla="*/ 187325 h 981075"/>
                  <a:gd name="connsiteX37" fmla="*/ 1419225 w 1574800"/>
                  <a:gd name="connsiteY37" fmla="*/ 149225 h 981075"/>
                  <a:gd name="connsiteX38" fmla="*/ 1374775 w 1574800"/>
                  <a:gd name="connsiteY38" fmla="*/ 171450 h 981075"/>
                  <a:gd name="connsiteX39" fmla="*/ 1327150 w 1574800"/>
                  <a:gd name="connsiteY39" fmla="*/ 149225 h 981075"/>
                  <a:gd name="connsiteX40" fmla="*/ 1276350 w 1574800"/>
                  <a:gd name="connsiteY40" fmla="*/ 200025 h 981075"/>
                  <a:gd name="connsiteX41" fmla="*/ 1247775 w 1574800"/>
                  <a:gd name="connsiteY41" fmla="*/ 168275 h 981075"/>
                  <a:gd name="connsiteX42" fmla="*/ 1162050 w 1574800"/>
                  <a:gd name="connsiteY42" fmla="*/ 152400 h 981075"/>
                  <a:gd name="connsiteX43" fmla="*/ 1203325 w 1574800"/>
                  <a:gd name="connsiteY43" fmla="*/ 111125 h 981075"/>
                  <a:gd name="connsiteX44" fmla="*/ 1120775 w 1574800"/>
                  <a:gd name="connsiteY44" fmla="*/ 0 h 981075"/>
                  <a:gd name="connsiteX45" fmla="*/ 1114425 w 1574800"/>
                  <a:gd name="connsiteY45" fmla="*/ 95250 h 981075"/>
                  <a:gd name="connsiteX46" fmla="*/ 1057275 w 1574800"/>
                  <a:gd name="connsiteY46" fmla="*/ 60325 h 981075"/>
                  <a:gd name="connsiteX47" fmla="*/ 958850 w 1574800"/>
                  <a:gd name="connsiteY47" fmla="*/ 60325 h 981075"/>
                  <a:gd name="connsiteX48" fmla="*/ 911225 w 1574800"/>
                  <a:gd name="connsiteY48" fmla="*/ 22225 h 981075"/>
                  <a:gd name="connsiteX49" fmla="*/ 831850 w 1574800"/>
                  <a:gd name="connsiteY49" fmla="*/ 12700 h 981075"/>
                  <a:gd name="connsiteX50" fmla="*/ 812800 w 1574800"/>
                  <a:gd name="connsiteY50" fmla="*/ 47625 h 981075"/>
                  <a:gd name="connsiteX51" fmla="*/ 762000 w 1574800"/>
                  <a:gd name="connsiteY51" fmla="*/ 57150 h 981075"/>
                  <a:gd name="connsiteX52" fmla="*/ 762000 w 1574800"/>
                  <a:gd name="connsiteY52" fmla="*/ 57150 h 981075"/>
                  <a:gd name="connsiteX53" fmla="*/ 765175 w 1574800"/>
                  <a:gd name="connsiteY53" fmla="*/ 123825 h 981075"/>
                  <a:gd name="connsiteX54" fmla="*/ 758825 w 1574800"/>
                  <a:gd name="connsiteY54" fmla="*/ 177800 h 981075"/>
                  <a:gd name="connsiteX55" fmla="*/ 692150 w 1574800"/>
                  <a:gd name="connsiteY55" fmla="*/ 247650 h 981075"/>
                  <a:gd name="connsiteX56" fmla="*/ 660400 w 1574800"/>
                  <a:gd name="connsiteY56" fmla="*/ 247650 h 981075"/>
                  <a:gd name="connsiteX57" fmla="*/ 654050 w 1574800"/>
                  <a:gd name="connsiteY57" fmla="*/ 295275 h 981075"/>
                  <a:gd name="connsiteX58" fmla="*/ 581025 w 1574800"/>
                  <a:gd name="connsiteY58" fmla="*/ 279400 h 981075"/>
                  <a:gd name="connsiteX59" fmla="*/ 492125 w 1574800"/>
                  <a:gd name="connsiteY59" fmla="*/ 301625 h 981075"/>
                  <a:gd name="connsiteX60" fmla="*/ 450850 w 1574800"/>
                  <a:gd name="connsiteY60" fmla="*/ 257175 h 981075"/>
                  <a:gd name="connsiteX61" fmla="*/ 346075 w 1574800"/>
                  <a:gd name="connsiteY61" fmla="*/ 377825 h 981075"/>
                  <a:gd name="connsiteX62" fmla="*/ 349250 w 1574800"/>
                  <a:gd name="connsiteY62" fmla="*/ 288925 h 981075"/>
                  <a:gd name="connsiteX63" fmla="*/ 301625 w 1574800"/>
                  <a:gd name="connsiteY63" fmla="*/ 320675 h 981075"/>
                  <a:gd name="connsiteX64" fmla="*/ 247650 w 1574800"/>
                  <a:gd name="connsiteY64" fmla="*/ 311150 h 981075"/>
                  <a:gd name="connsiteX65" fmla="*/ 244475 w 1574800"/>
                  <a:gd name="connsiteY65" fmla="*/ 244475 h 981075"/>
                  <a:gd name="connsiteX66" fmla="*/ 203200 w 1574800"/>
                  <a:gd name="connsiteY66" fmla="*/ 247650 h 981075"/>
                  <a:gd name="connsiteX67" fmla="*/ 219075 w 1574800"/>
                  <a:gd name="connsiteY67" fmla="*/ 209550 h 981075"/>
                  <a:gd name="connsiteX68" fmla="*/ 82550 w 1574800"/>
                  <a:gd name="connsiteY68" fmla="*/ 174625 h 981075"/>
                  <a:gd name="connsiteX69" fmla="*/ 31750 w 1574800"/>
                  <a:gd name="connsiteY69" fmla="*/ 206375 h 981075"/>
                  <a:gd name="connsiteX70" fmla="*/ 0 w 1574800"/>
                  <a:gd name="connsiteY70" fmla="*/ 301625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74700 w 1587500"/>
                  <a:gd name="connsiteY52" fmla="*/ 57150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04850 w 1587500"/>
                  <a:gd name="connsiteY55" fmla="*/ 247650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58775 w 1587500"/>
                  <a:gd name="connsiteY61" fmla="*/ 37782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74700 w 1587500"/>
                  <a:gd name="connsiteY52" fmla="*/ 57150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04850 w 1587500"/>
                  <a:gd name="connsiteY55" fmla="*/ 247650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74700 w 1587500"/>
                  <a:gd name="connsiteY52" fmla="*/ 57150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17550 w 1587500"/>
                  <a:gd name="connsiteY55" fmla="*/ 225425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62000 w 1587500"/>
                  <a:gd name="connsiteY52" fmla="*/ 79375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17550 w 1587500"/>
                  <a:gd name="connsiteY55" fmla="*/ 225425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90575 w 1587500"/>
                  <a:gd name="connsiteY51" fmla="*/ 50800 h 981075"/>
                  <a:gd name="connsiteX52" fmla="*/ 762000 w 1587500"/>
                  <a:gd name="connsiteY52" fmla="*/ 79375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17550 w 1587500"/>
                  <a:gd name="connsiteY55" fmla="*/ 225425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1587500" h="981075">
                    <a:moveTo>
                      <a:pt x="0" y="298450"/>
                    </a:moveTo>
                    <a:lnTo>
                      <a:pt x="101600" y="346075"/>
                    </a:lnTo>
                    <a:lnTo>
                      <a:pt x="222250" y="396875"/>
                    </a:lnTo>
                    <a:lnTo>
                      <a:pt x="228600" y="431800"/>
                    </a:lnTo>
                    <a:lnTo>
                      <a:pt x="298450" y="444500"/>
                    </a:lnTo>
                    <a:lnTo>
                      <a:pt x="390525" y="498475"/>
                    </a:lnTo>
                    <a:lnTo>
                      <a:pt x="511175" y="590550"/>
                    </a:lnTo>
                    <a:lnTo>
                      <a:pt x="650875" y="622300"/>
                    </a:lnTo>
                    <a:lnTo>
                      <a:pt x="673100" y="660400"/>
                    </a:lnTo>
                    <a:lnTo>
                      <a:pt x="723900" y="660400"/>
                    </a:lnTo>
                    <a:lnTo>
                      <a:pt x="803275" y="698500"/>
                    </a:lnTo>
                    <a:lnTo>
                      <a:pt x="857250" y="749300"/>
                    </a:lnTo>
                    <a:lnTo>
                      <a:pt x="987425" y="762000"/>
                    </a:lnTo>
                    <a:lnTo>
                      <a:pt x="1044575" y="828675"/>
                    </a:lnTo>
                    <a:lnTo>
                      <a:pt x="1120775" y="882650"/>
                    </a:lnTo>
                    <a:lnTo>
                      <a:pt x="1206500" y="936625"/>
                    </a:lnTo>
                    <a:lnTo>
                      <a:pt x="1336675" y="981075"/>
                    </a:lnTo>
                    <a:lnTo>
                      <a:pt x="1400175" y="911225"/>
                    </a:lnTo>
                    <a:lnTo>
                      <a:pt x="1387475" y="879475"/>
                    </a:lnTo>
                    <a:lnTo>
                      <a:pt x="1352550" y="854075"/>
                    </a:lnTo>
                    <a:lnTo>
                      <a:pt x="1352550" y="793750"/>
                    </a:lnTo>
                    <a:lnTo>
                      <a:pt x="1374775" y="762000"/>
                    </a:lnTo>
                    <a:lnTo>
                      <a:pt x="1403350" y="784225"/>
                    </a:lnTo>
                    <a:lnTo>
                      <a:pt x="1428750" y="669925"/>
                    </a:lnTo>
                    <a:lnTo>
                      <a:pt x="1492250" y="669925"/>
                    </a:lnTo>
                    <a:lnTo>
                      <a:pt x="1517650" y="688975"/>
                    </a:lnTo>
                    <a:lnTo>
                      <a:pt x="1524000" y="657225"/>
                    </a:lnTo>
                    <a:lnTo>
                      <a:pt x="1520825" y="609600"/>
                    </a:lnTo>
                    <a:lnTo>
                      <a:pt x="1574800" y="590550"/>
                    </a:lnTo>
                    <a:lnTo>
                      <a:pt x="1552575" y="533400"/>
                    </a:lnTo>
                    <a:lnTo>
                      <a:pt x="1587500" y="511175"/>
                    </a:lnTo>
                    <a:lnTo>
                      <a:pt x="1533525" y="403225"/>
                    </a:lnTo>
                    <a:lnTo>
                      <a:pt x="1546225" y="371475"/>
                    </a:lnTo>
                    <a:lnTo>
                      <a:pt x="1492250" y="307975"/>
                    </a:lnTo>
                    <a:lnTo>
                      <a:pt x="1447800" y="292100"/>
                    </a:lnTo>
                    <a:lnTo>
                      <a:pt x="1419225" y="241300"/>
                    </a:lnTo>
                    <a:lnTo>
                      <a:pt x="1450975" y="187325"/>
                    </a:lnTo>
                    <a:lnTo>
                      <a:pt x="1431925" y="149225"/>
                    </a:lnTo>
                    <a:lnTo>
                      <a:pt x="1387475" y="171450"/>
                    </a:lnTo>
                    <a:lnTo>
                      <a:pt x="1339850" y="149225"/>
                    </a:lnTo>
                    <a:lnTo>
                      <a:pt x="1289050" y="200025"/>
                    </a:lnTo>
                    <a:lnTo>
                      <a:pt x="1260475" y="168275"/>
                    </a:lnTo>
                    <a:lnTo>
                      <a:pt x="1174750" y="152400"/>
                    </a:lnTo>
                    <a:lnTo>
                      <a:pt x="1216025" y="111125"/>
                    </a:lnTo>
                    <a:lnTo>
                      <a:pt x="1133475" y="0"/>
                    </a:lnTo>
                    <a:lnTo>
                      <a:pt x="1127125" y="95250"/>
                    </a:lnTo>
                    <a:lnTo>
                      <a:pt x="1069975" y="60325"/>
                    </a:lnTo>
                    <a:lnTo>
                      <a:pt x="971550" y="60325"/>
                    </a:lnTo>
                    <a:lnTo>
                      <a:pt x="923925" y="22225"/>
                    </a:lnTo>
                    <a:lnTo>
                      <a:pt x="844550" y="12700"/>
                    </a:lnTo>
                    <a:lnTo>
                      <a:pt x="825500" y="47625"/>
                    </a:lnTo>
                    <a:cubicBezTo>
                      <a:pt x="808567" y="50800"/>
                      <a:pt x="801158" y="45508"/>
                      <a:pt x="790575" y="50800"/>
                    </a:cubicBezTo>
                    <a:cubicBezTo>
                      <a:pt x="779992" y="56092"/>
                      <a:pt x="764117" y="67204"/>
                      <a:pt x="762000" y="79375"/>
                    </a:cubicBezTo>
                    <a:cubicBezTo>
                      <a:pt x="759883" y="91546"/>
                      <a:pt x="772583" y="109008"/>
                      <a:pt x="777875" y="123825"/>
                    </a:cubicBezTo>
                    <a:lnTo>
                      <a:pt x="771525" y="177800"/>
                    </a:lnTo>
                    <a:lnTo>
                      <a:pt x="717550" y="225425"/>
                    </a:lnTo>
                    <a:lnTo>
                      <a:pt x="673100" y="247650"/>
                    </a:lnTo>
                    <a:lnTo>
                      <a:pt x="666750" y="295275"/>
                    </a:lnTo>
                    <a:lnTo>
                      <a:pt x="593725" y="279400"/>
                    </a:lnTo>
                    <a:lnTo>
                      <a:pt x="504825" y="301625"/>
                    </a:lnTo>
                    <a:lnTo>
                      <a:pt x="463550" y="257175"/>
                    </a:lnTo>
                    <a:lnTo>
                      <a:pt x="368300" y="358775"/>
                    </a:lnTo>
                    <a:lnTo>
                      <a:pt x="361950" y="288925"/>
                    </a:lnTo>
                    <a:lnTo>
                      <a:pt x="314325" y="320675"/>
                    </a:lnTo>
                    <a:lnTo>
                      <a:pt x="260350" y="311150"/>
                    </a:lnTo>
                    <a:lnTo>
                      <a:pt x="257175" y="244475"/>
                    </a:lnTo>
                    <a:lnTo>
                      <a:pt x="215900" y="247650"/>
                    </a:lnTo>
                    <a:lnTo>
                      <a:pt x="231775" y="209550"/>
                    </a:lnTo>
                    <a:lnTo>
                      <a:pt x="95250" y="174625"/>
                    </a:lnTo>
                    <a:lnTo>
                      <a:pt x="44450" y="206375"/>
                    </a:lnTo>
                    <a:lnTo>
                      <a:pt x="0" y="29845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44" name="Forma libre 25"/>
              <p:cNvSpPr/>
              <p:nvPr/>
            </p:nvSpPr>
            <p:spPr>
              <a:xfrm>
                <a:off x="1374531" y="6743499"/>
                <a:ext cx="81686" cy="109381"/>
              </a:xfrm>
              <a:custGeom>
                <a:avLst/>
                <a:gdLst>
                  <a:gd name="connsiteX0" fmla="*/ 117475 w 546100"/>
                  <a:gd name="connsiteY0" fmla="*/ 692150 h 692150"/>
                  <a:gd name="connsiteX1" fmla="*/ 25400 w 546100"/>
                  <a:gd name="connsiteY1" fmla="*/ 644525 h 692150"/>
                  <a:gd name="connsiteX2" fmla="*/ 31750 w 546100"/>
                  <a:gd name="connsiteY2" fmla="*/ 581025 h 692150"/>
                  <a:gd name="connsiteX3" fmla="*/ 0 w 546100"/>
                  <a:gd name="connsiteY3" fmla="*/ 492125 h 692150"/>
                  <a:gd name="connsiteX4" fmla="*/ 66675 w 546100"/>
                  <a:gd name="connsiteY4" fmla="*/ 415925 h 692150"/>
                  <a:gd name="connsiteX5" fmla="*/ 47625 w 546100"/>
                  <a:gd name="connsiteY5" fmla="*/ 368300 h 692150"/>
                  <a:gd name="connsiteX6" fmla="*/ 19050 w 546100"/>
                  <a:gd name="connsiteY6" fmla="*/ 358775 h 692150"/>
                  <a:gd name="connsiteX7" fmla="*/ 22225 w 546100"/>
                  <a:gd name="connsiteY7" fmla="*/ 295275 h 692150"/>
                  <a:gd name="connsiteX8" fmla="*/ 22225 w 546100"/>
                  <a:gd name="connsiteY8" fmla="*/ 295275 h 692150"/>
                  <a:gd name="connsiteX9" fmla="*/ 69850 w 546100"/>
                  <a:gd name="connsiteY9" fmla="*/ 307975 h 692150"/>
                  <a:gd name="connsiteX10" fmla="*/ 88900 w 546100"/>
                  <a:gd name="connsiteY10" fmla="*/ 184150 h 692150"/>
                  <a:gd name="connsiteX11" fmla="*/ 133350 w 546100"/>
                  <a:gd name="connsiteY11" fmla="*/ 187325 h 692150"/>
                  <a:gd name="connsiteX12" fmla="*/ 184150 w 546100"/>
                  <a:gd name="connsiteY12" fmla="*/ 222250 h 692150"/>
                  <a:gd name="connsiteX13" fmla="*/ 190500 w 546100"/>
                  <a:gd name="connsiteY13" fmla="*/ 123825 h 692150"/>
                  <a:gd name="connsiteX14" fmla="*/ 254000 w 546100"/>
                  <a:gd name="connsiteY14" fmla="*/ 98425 h 692150"/>
                  <a:gd name="connsiteX15" fmla="*/ 215900 w 546100"/>
                  <a:gd name="connsiteY15" fmla="*/ 38100 h 692150"/>
                  <a:gd name="connsiteX16" fmla="*/ 295275 w 546100"/>
                  <a:gd name="connsiteY16" fmla="*/ 12700 h 692150"/>
                  <a:gd name="connsiteX17" fmla="*/ 336550 w 546100"/>
                  <a:gd name="connsiteY17" fmla="*/ 0 h 692150"/>
                  <a:gd name="connsiteX18" fmla="*/ 400050 w 546100"/>
                  <a:gd name="connsiteY18" fmla="*/ 41275 h 692150"/>
                  <a:gd name="connsiteX19" fmla="*/ 415925 w 546100"/>
                  <a:gd name="connsiteY19" fmla="*/ 95250 h 692150"/>
                  <a:gd name="connsiteX20" fmla="*/ 412750 w 546100"/>
                  <a:gd name="connsiteY20" fmla="*/ 158750 h 692150"/>
                  <a:gd name="connsiteX21" fmla="*/ 444500 w 546100"/>
                  <a:gd name="connsiteY21" fmla="*/ 193675 h 692150"/>
                  <a:gd name="connsiteX22" fmla="*/ 479425 w 546100"/>
                  <a:gd name="connsiteY22" fmla="*/ 228600 h 692150"/>
                  <a:gd name="connsiteX23" fmla="*/ 546100 w 546100"/>
                  <a:gd name="connsiteY23" fmla="*/ 263525 h 692150"/>
                  <a:gd name="connsiteX24" fmla="*/ 504825 w 546100"/>
                  <a:gd name="connsiteY24" fmla="*/ 358775 h 692150"/>
                  <a:gd name="connsiteX25" fmla="*/ 447675 w 546100"/>
                  <a:gd name="connsiteY25" fmla="*/ 365125 h 692150"/>
                  <a:gd name="connsiteX26" fmla="*/ 450850 w 546100"/>
                  <a:gd name="connsiteY26" fmla="*/ 330200 h 692150"/>
                  <a:gd name="connsiteX27" fmla="*/ 469900 w 546100"/>
                  <a:gd name="connsiteY27" fmla="*/ 304800 h 692150"/>
                  <a:gd name="connsiteX28" fmla="*/ 419100 w 546100"/>
                  <a:gd name="connsiteY28" fmla="*/ 292100 h 692150"/>
                  <a:gd name="connsiteX29" fmla="*/ 371475 w 546100"/>
                  <a:gd name="connsiteY29" fmla="*/ 320675 h 692150"/>
                  <a:gd name="connsiteX30" fmla="*/ 371475 w 546100"/>
                  <a:gd name="connsiteY30" fmla="*/ 406400 h 692150"/>
                  <a:gd name="connsiteX31" fmla="*/ 330200 w 546100"/>
                  <a:gd name="connsiteY31" fmla="*/ 457200 h 692150"/>
                  <a:gd name="connsiteX32" fmla="*/ 279400 w 546100"/>
                  <a:gd name="connsiteY32" fmla="*/ 457200 h 692150"/>
                  <a:gd name="connsiteX33" fmla="*/ 257175 w 546100"/>
                  <a:gd name="connsiteY33" fmla="*/ 536575 h 692150"/>
                  <a:gd name="connsiteX34" fmla="*/ 209550 w 546100"/>
                  <a:gd name="connsiteY34" fmla="*/ 593725 h 692150"/>
                  <a:gd name="connsiteX35" fmla="*/ 200025 w 546100"/>
                  <a:gd name="connsiteY35" fmla="*/ 631825 h 692150"/>
                  <a:gd name="connsiteX36" fmla="*/ 146050 w 546100"/>
                  <a:gd name="connsiteY36" fmla="*/ 638175 h 692150"/>
                  <a:gd name="connsiteX37" fmla="*/ 117475 w 546100"/>
                  <a:gd name="connsiteY37" fmla="*/ 692150 h 692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546100" h="692150">
                    <a:moveTo>
                      <a:pt x="117475" y="692150"/>
                    </a:moveTo>
                    <a:lnTo>
                      <a:pt x="25400" y="644525"/>
                    </a:lnTo>
                    <a:lnTo>
                      <a:pt x="31750" y="581025"/>
                    </a:lnTo>
                    <a:lnTo>
                      <a:pt x="0" y="492125"/>
                    </a:lnTo>
                    <a:lnTo>
                      <a:pt x="66675" y="415925"/>
                    </a:lnTo>
                    <a:lnTo>
                      <a:pt x="47625" y="368300"/>
                    </a:lnTo>
                    <a:lnTo>
                      <a:pt x="19050" y="358775"/>
                    </a:lnTo>
                    <a:lnTo>
                      <a:pt x="22225" y="295275"/>
                    </a:lnTo>
                    <a:lnTo>
                      <a:pt x="22225" y="295275"/>
                    </a:lnTo>
                    <a:lnTo>
                      <a:pt x="69850" y="307975"/>
                    </a:lnTo>
                    <a:lnTo>
                      <a:pt x="88900" y="184150"/>
                    </a:lnTo>
                    <a:lnTo>
                      <a:pt x="133350" y="187325"/>
                    </a:lnTo>
                    <a:lnTo>
                      <a:pt x="184150" y="222250"/>
                    </a:lnTo>
                    <a:lnTo>
                      <a:pt x="190500" y="123825"/>
                    </a:lnTo>
                    <a:lnTo>
                      <a:pt x="254000" y="98425"/>
                    </a:lnTo>
                    <a:lnTo>
                      <a:pt x="215900" y="38100"/>
                    </a:lnTo>
                    <a:lnTo>
                      <a:pt x="295275" y="12700"/>
                    </a:lnTo>
                    <a:lnTo>
                      <a:pt x="336550" y="0"/>
                    </a:lnTo>
                    <a:lnTo>
                      <a:pt x="400050" y="41275"/>
                    </a:lnTo>
                    <a:lnTo>
                      <a:pt x="415925" y="95250"/>
                    </a:lnTo>
                    <a:lnTo>
                      <a:pt x="412750" y="158750"/>
                    </a:lnTo>
                    <a:lnTo>
                      <a:pt x="444500" y="193675"/>
                    </a:lnTo>
                    <a:lnTo>
                      <a:pt x="479425" y="228600"/>
                    </a:lnTo>
                    <a:lnTo>
                      <a:pt x="546100" y="263525"/>
                    </a:lnTo>
                    <a:lnTo>
                      <a:pt x="504825" y="358775"/>
                    </a:lnTo>
                    <a:lnTo>
                      <a:pt x="447675" y="365125"/>
                    </a:lnTo>
                    <a:lnTo>
                      <a:pt x="450850" y="330200"/>
                    </a:lnTo>
                    <a:lnTo>
                      <a:pt x="469900" y="304800"/>
                    </a:lnTo>
                    <a:lnTo>
                      <a:pt x="419100" y="292100"/>
                    </a:lnTo>
                    <a:lnTo>
                      <a:pt x="371475" y="320675"/>
                    </a:lnTo>
                    <a:lnTo>
                      <a:pt x="371475" y="406400"/>
                    </a:lnTo>
                    <a:lnTo>
                      <a:pt x="330200" y="457200"/>
                    </a:lnTo>
                    <a:lnTo>
                      <a:pt x="279400" y="457200"/>
                    </a:lnTo>
                    <a:lnTo>
                      <a:pt x="257175" y="536575"/>
                    </a:lnTo>
                    <a:lnTo>
                      <a:pt x="209550" y="593725"/>
                    </a:lnTo>
                    <a:lnTo>
                      <a:pt x="200025" y="631825"/>
                    </a:lnTo>
                    <a:lnTo>
                      <a:pt x="146050" y="638175"/>
                    </a:lnTo>
                    <a:lnTo>
                      <a:pt x="117475" y="69215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Forma libre 26"/>
              <p:cNvSpPr/>
              <p:nvPr/>
            </p:nvSpPr>
            <p:spPr>
              <a:xfrm>
                <a:off x="1392103" y="6789660"/>
                <a:ext cx="92610" cy="92823"/>
              </a:xfrm>
              <a:custGeom>
                <a:avLst/>
                <a:gdLst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17525 w 619125"/>
                  <a:gd name="connsiteY35" fmla="*/ 323850 h 587375"/>
                  <a:gd name="connsiteX36" fmla="*/ 558800 w 619125"/>
                  <a:gd name="connsiteY36" fmla="*/ 333375 h 587375"/>
                  <a:gd name="connsiteX37" fmla="*/ 619125 w 619125"/>
                  <a:gd name="connsiteY37" fmla="*/ 228600 h 587375"/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17525 w 619125"/>
                  <a:gd name="connsiteY35" fmla="*/ 323850 h 587375"/>
                  <a:gd name="connsiteX36" fmla="*/ 609600 w 619125"/>
                  <a:gd name="connsiteY36" fmla="*/ 314325 h 587375"/>
                  <a:gd name="connsiteX37" fmla="*/ 619125 w 619125"/>
                  <a:gd name="connsiteY37" fmla="*/ 228600 h 587375"/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36575 w 619125"/>
                  <a:gd name="connsiteY35" fmla="*/ 333375 h 587375"/>
                  <a:gd name="connsiteX36" fmla="*/ 609600 w 619125"/>
                  <a:gd name="connsiteY36" fmla="*/ 314325 h 587375"/>
                  <a:gd name="connsiteX37" fmla="*/ 619125 w 619125"/>
                  <a:gd name="connsiteY37" fmla="*/ 228600 h 587375"/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36575 w 619125"/>
                  <a:gd name="connsiteY35" fmla="*/ 333375 h 587375"/>
                  <a:gd name="connsiteX36" fmla="*/ 619125 w 619125"/>
                  <a:gd name="connsiteY36" fmla="*/ 292100 h 587375"/>
                  <a:gd name="connsiteX37" fmla="*/ 619125 w 619125"/>
                  <a:gd name="connsiteY37" fmla="*/ 228600 h 587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19125" h="587375">
                    <a:moveTo>
                      <a:pt x="619125" y="228600"/>
                    </a:moveTo>
                    <a:lnTo>
                      <a:pt x="558800" y="190500"/>
                    </a:lnTo>
                    <a:lnTo>
                      <a:pt x="520700" y="193675"/>
                    </a:lnTo>
                    <a:lnTo>
                      <a:pt x="504825" y="171450"/>
                    </a:lnTo>
                    <a:lnTo>
                      <a:pt x="466725" y="177800"/>
                    </a:lnTo>
                    <a:lnTo>
                      <a:pt x="406400" y="130175"/>
                    </a:lnTo>
                    <a:lnTo>
                      <a:pt x="400050" y="92075"/>
                    </a:lnTo>
                    <a:lnTo>
                      <a:pt x="400050" y="92075"/>
                    </a:lnTo>
                    <a:lnTo>
                      <a:pt x="400050" y="92075"/>
                    </a:lnTo>
                    <a:lnTo>
                      <a:pt x="390525" y="66675"/>
                    </a:lnTo>
                    <a:lnTo>
                      <a:pt x="336550" y="88900"/>
                    </a:lnTo>
                    <a:lnTo>
                      <a:pt x="307975" y="44450"/>
                    </a:lnTo>
                    <a:lnTo>
                      <a:pt x="342900" y="12700"/>
                    </a:lnTo>
                    <a:lnTo>
                      <a:pt x="301625" y="0"/>
                    </a:lnTo>
                    <a:lnTo>
                      <a:pt x="250825" y="31750"/>
                    </a:lnTo>
                    <a:lnTo>
                      <a:pt x="257175" y="107950"/>
                    </a:lnTo>
                    <a:lnTo>
                      <a:pt x="212725" y="168275"/>
                    </a:lnTo>
                    <a:lnTo>
                      <a:pt x="168275" y="161925"/>
                    </a:lnTo>
                    <a:lnTo>
                      <a:pt x="146050" y="241300"/>
                    </a:lnTo>
                    <a:lnTo>
                      <a:pt x="95250" y="301625"/>
                    </a:lnTo>
                    <a:lnTo>
                      <a:pt x="85725" y="352425"/>
                    </a:lnTo>
                    <a:lnTo>
                      <a:pt x="25400" y="352425"/>
                    </a:lnTo>
                    <a:lnTo>
                      <a:pt x="0" y="400050"/>
                    </a:lnTo>
                    <a:lnTo>
                      <a:pt x="34925" y="425450"/>
                    </a:lnTo>
                    <a:lnTo>
                      <a:pt x="73025" y="425450"/>
                    </a:lnTo>
                    <a:lnTo>
                      <a:pt x="95250" y="473075"/>
                    </a:lnTo>
                    <a:lnTo>
                      <a:pt x="180975" y="536575"/>
                    </a:lnTo>
                    <a:lnTo>
                      <a:pt x="282575" y="587375"/>
                    </a:lnTo>
                    <a:lnTo>
                      <a:pt x="330200" y="571500"/>
                    </a:lnTo>
                    <a:lnTo>
                      <a:pt x="361950" y="581025"/>
                    </a:lnTo>
                    <a:lnTo>
                      <a:pt x="412750" y="558800"/>
                    </a:lnTo>
                    <a:lnTo>
                      <a:pt x="447675" y="558800"/>
                    </a:lnTo>
                    <a:lnTo>
                      <a:pt x="492125" y="498475"/>
                    </a:lnTo>
                    <a:lnTo>
                      <a:pt x="514350" y="444500"/>
                    </a:lnTo>
                    <a:lnTo>
                      <a:pt x="495300" y="346075"/>
                    </a:lnTo>
                    <a:lnTo>
                      <a:pt x="536575" y="333375"/>
                    </a:lnTo>
                    <a:lnTo>
                      <a:pt x="619125" y="292100"/>
                    </a:lnTo>
                    <a:lnTo>
                      <a:pt x="619125" y="22860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Forma libre 45"/>
              <p:cNvSpPr/>
              <p:nvPr/>
            </p:nvSpPr>
            <p:spPr>
              <a:xfrm>
                <a:off x="1393263" y="6566883"/>
                <a:ext cx="128492" cy="251878"/>
              </a:xfrm>
              <a:custGeom>
                <a:avLst/>
                <a:gdLst>
                  <a:gd name="connsiteX0" fmla="*/ 831850 w 854075"/>
                  <a:gd name="connsiteY0" fmla="*/ 0 h 1593850"/>
                  <a:gd name="connsiteX1" fmla="*/ 546100 w 854075"/>
                  <a:gd name="connsiteY1" fmla="*/ 133350 h 1593850"/>
                  <a:gd name="connsiteX2" fmla="*/ 269875 w 854075"/>
                  <a:gd name="connsiteY2" fmla="*/ 41275 h 1593850"/>
                  <a:gd name="connsiteX3" fmla="*/ 273050 w 854075"/>
                  <a:gd name="connsiteY3" fmla="*/ 130175 h 1593850"/>
                  <a:gd name="connsiteX4" fmla="*/ 222250 w 854075"/>
                  <a:gd name="connsiteY4" fmla="*/ 203200 h 1593850"/>
                  <a:gd name="connsiteX5" fmla="*/ 155575 w 854075"/>
                  <a:gd name="connsiteY5" fmla="*/ 260350 h 1593850"/>
                  <a:gd name="connsiteX6" fmla="*/ 155575 w 854075"/>
                  <a:gd name="connsiteY6" fmla="*/ 333375 h 1593850"/>
                  <a:gd name="connsiteX7" fmla="*/ 85725 w 854075"/>
                  <a:gd name="connsiteY7" fmla="*/ 292100 h 1593850"/>
                  <a:gd name="connsiteX8" fmla="*/ 92075 w 854075"/>
                  <a:gd name="connsiteY8" fmla="*/ 365125 h 1593850"/>
                  <a:gd name="connsiteX9" fmla="*/ 146050 w 854075"/>
                  <a:gd name="connsiteY9" fmla="*/ 415925 h 1593850"/>
                  <a:gd name="connsiteX10" fmla="*/ 63500 w 854075"/>
                  <a:gd name="connsiteY10" fmla="*/ 504825 h 1593850"/>
                  <a:gd name="connsiteX11" fmla="*/ 66675 w 854075"/>
                  <a:gd name="connsiteY11" fmla="*/ 577850 h 1593850"/>
                  <a:gd name="connsiteX12" fmla="*/ 0 w 854075"/>
                  <a:gd name="connsiteY12" fmla="*/ 615950 h 1593850"/>
                  <a:gd name="connsiteX13" fmla="*/ 0 w 854075"/>
                  <a:gd name="connsiteY13" fmla="*/ 615950 h 1593850"/>
                  <a:gd name="connsiteX14" fmla="*/ 57150 w 854075"/>
                  <a:gd name="connsiteY14" fmla="*/ 635000 h 1593850"/>
                  <a:gd name="connsiteX15" fmla="*/ 66675 w 854075"/>
                  <a:gd name="connsiteY15" fmla="*/ 850900 h 1593850"/>
                  <a:gd name="connsiteX16" fmla="*/ 22225 w 854075"/>
                  <a:gd name="connsiteY16" fmla="*/ 927100 h 1593850"/>
                  <a:gd name="connsiteX17" fmla="*/ 79375 w 854075"/>
                  <a:gd name="connsiteY17" fmla="*/ 981075 h 1593850"/>
                  <a:gd name="connsiteX18" fmla="*/ 69850 w 854075"/>
                  <a:gd name="connsiteY18" fmla="*/ 1022350 h 1593850"/>
                  <a:gd name="connsiteX19" fmla="*/ 117475 w 854075"/>
                  <a:gd name="connsiteY19" fmla="*/ 1130300 h 1593850"/>
                  <a:gd name="connsiteX20" fmla="*/ 209550 w 854075"/>
                  <a:gd name="connsiteY20" fmla="*/ 1104900 h 1593850"/>
                  <a:gd name="connsiteX21" fmla="*/ 282575 w 854075"/>
                  <a:gd name="connsiteY21" fmla="*/ 1149350 h 1593850"/>
                  <a:gd name="connsiteX22" fmla="*/ 298450 w 854075"/>
                  <a:gd name="connsiteY22" fmla="*/ 1206500 h 1593850"/>
                  <a:gd name="connsiteX23" fmla="*/ 298450 w 854075"/>
                  <a:gd name="connsiteY23" fmla="*/ 1270000 h 1593850"/>
                  <a:gd name="connsiteX24" fmla="*/ 358775 w 854075"/>
                  <a:gd name="connsiteY24" fmla="*/ 1333500 h 1593850"/>
                  <a:gd name="connsiteX25" fmla="*/ 428625 w 854075"/>
                  <a:gd name="connsiteY25" fmla="*/ 1371600 h 1593850"/>
                  <a:gd name="connsiteX26" fmla="*/ 390525 w 854075"/>
                  <a:gd name="connsiteY26" fmla="*/ 1470025 h 1593850"/>
                  <a:gd name="connsiteX27" fmla="*/ 409575 w 854075"/>
                  <a:gd name="connsiteY27" fmla="*/ 1539875 h 1593850"/>
                  <a:gd name="connsiteX28" fmla="*/ 466725 w 854075"/>
                  <a:gd name="connsiteY28" fmla="*/ 1574800 h 1593850"/>
                  <a:gd name="connsiteX29" fmla="*/ 495300 w 854075"/>
                  <a:gd name="connsiteY29" fmla="*/ 1565275 h 1593850"/>
                  <a:gd name="connsiteX30" fmla="*/ 520700 w 854075"/>
                  <a:gd name="connsiteY30" fmla="*/ 1593850 h 1593850"/>
                  <a:gd name="connsiteX31" fmla="*/ 561975 w 854075"/>
                  <a:gd name="connsiteY31" fmla="*/ 1587500 h 1593850"/>
                  <a:gd name="connsiteX32" fmla="*/ 635000 w 854075"/>
                  <a:gd name="connsiteY32" fmla="*/ 1524000 h 1593850"/>
                  <a:gd name="connsiteX33" fmla="*/ 733425 w 854075"/>
                  <a:gd name="connsiteY33" fmla="*/ 1400175 h 1593850"/>
                  <a:gd name="connsiteX34" fmla="*/ 774700 w 854075"/>
                  <a:gd name="connsiteY34" fmla="*/ 1377950 h 1593850"/>
                  <a:gd name="connsiteX35" fmla="*/ 762000 w 854075"/>
                  <a:gd name="connsiteY35" fmla="*/ 1304925 h 1593850"/>
                  <a:gd name="connsiteX36" fmla="*/ 774700 w 854075"/>
                  <a:gd name="connsiteY36" fmla="*/ 1235075 h 1593850"/>
                  <a:gd name="connsiteX37" fmla="*/ 812800 w 854075"/>
                  <a:gd name="connsiteY37" fmla="*/ 1206500 h 1593850"/>
                  <a:gd name="connsiteX38" fmla="*/ 768350 w 854075"/>
                  <a:gd name="connsiteY38" fmla="*/ 1203325 h 1593850"/>
                  <a:gd name="connsiteX39" fmla="*/ 669925 w 854075"/>
                  <a:gd name="connsiteY39" fmla="*/ 952500 h 1593850"/>
                  <a:gd name="connsiteX40" fmla="*/ 714375 w 854075"/>
                  <a:gd name="connsiteY40" fmla="*/ 869950 h 1593850"/>
                  <a:gd name="connsiteX41" fmla="*/ 752475 w 854075"/>
                  <a:gd name="connsiteY41" fmla="*/ 841375 h 1593850"/>
                  <a:gd name="connsiteX42" fmla="*/ 676275 w 854075"/>
                  <a:gd name="connsiteY42" fmla="*/ 768350 h 1593850"/>
                  <a:gd name="connsiteX43" fmla="*/ 657225 w 854075"/>
                  <a:gd name="connsiteY43" fmla="*/ 708025 h 1593850"/>
                  <a:gd name="connsiteX44" fmla="*/ 657225 w 854075"/>
                  <a:gd name="connsiteY44" fmla="*/ 663575 h 1593850"/>
                  <a:gd name="connsiteX45" fmla="*/ 711200 w 854075"/>
                  <a:gd name="connsiteY45" fmla="*/ 647700 h 1593850"/>
                  <a:gd name="connsiteX46" fmla="*/ 704850 w 854075"/>
                  <a:gd name="connsiteY46" fmla="*/ 587375 h 1593850"/>
                  <a:gd name="connsiteX47" fmla="*/ 736600 w 854075"/>
                  <a:gd name="connsiteY47" fmla="*/ 587375 h 1593850"/>
                  <a:gd name="connsiteX48" fmla="*/ 790575 w 854075"/>
                  <a:gd name="connsiteY48" fmla="*/ 504825 h 1593850"/>
                  <a:gd name="connsiteX49" fmla="*/ 790575 w 854075"/>
                  <a:gd name="connsiteY49" fmla="*/ 457200 h 1593850"/>
                  <a:gd name="connsiteX50" fmla="*/ 854075 w 854075"/>
                  <a:gd name="connsiteY50" fmla="*/ 454025 h 1593850"/>
                  <a:gd name="connsiteX51" fmla="*/ 819150 w 854075"/>
                  <a:gd name="connsiteY51" fmla="*/ 365125 h 1593850"/>
                  <a:gd name="connsiteX52" fmla="*/ 819150 w 854075"/>
                  <a:gd name="connsiteY52" fmla="*/ 365125 h 1593850"/>
                  <a:gd name="connsiteX53" fmla="*/ 800100 w 854075"/>
                  <a:gd name="connsiteY53" fmla="*/ 295275 h 1593850"/>
                  <a:gd name="connsiteX54" fmla="*/ 746125 w 854075"/>
                  <a:gd name="connsiteY54" fmla="*/ 247650 h 1593850"/>
                  <a:gd name="connsiteX55" fmla="*/ 806450 w 854075"/>
                  <a:gd name="connsiteY55" fmla="*/ 234950 h 1593850"/>
                  <a:gd name="connsiteX56" fmla="*/ 831850 w 854075"/>
                  <a:gd name="connsiteY56" fmla="*/ 130175 h 1593850"/>
                  <a:gd name="connsiteX57" fmla="*/ 835025 w 854075"/>
                  <a:gd name="connsiteY57" fmla="*/ 69850 h 1593850"/>
                  <a:gd name="connsiteX58" fmla="*/ 831850 w 854075"/>
                  <a:gd name="connsiteY58" fmla="*/ 0 h 1593850"/>
                  <a:gd name="connsiteX0" fmla="*/ 831850 w 854075"/>
                  <a:gd name="connsiteY0" fmla="*/ 0 h 1593850"/>
                  <a:gd name="connsiteX1" fmla="*/ 546100 w 854075"/>
                  <a:gd name="connsiteY1" fmla="*/ 133350 h 1593850"/>
                  <a:gd name="connsiteX2" fmla="*/ 269875 w 854075"/>
                  <a:gd name="connsiteY2" fmla="*/ 41275 h 1593850"/>
                  <a:gd name="connsiteX3" fmla="*/ 273050 w 854075"/>
                  <a:gd name="connsiteY3" fmla="*/ 130175 h 1593850"/>
                  <a:gd name="connsiteX4" fmla="*/ 222250 w 854075"/>
                  <a:gd name="connsiteY4" fmla="*/ 203200 h 1593850"/>
                  <a:gd name="connsiteX5" fmla="*/ 155575 w 854075"/>
                  <a:gd name="connsiteY5" fmla="*/ 260350 h 1593850"/>
                  <a:gd name="connsiteX6" fmla="*/ 155575 w 854075"/>
                  <a:gd name="connsiteY6" fmla="*/ 333375 h 1593850"/>
                  <a:gd name="connsiteX7" fmla="*/ 85725 w 854075"/>
                  <a:gd name="connsiteY7" fmla="*/ 292100 h 1593850"/>
                  <a:gd name="connsiteX8" fmla="*/ 92075 w 854075"/>
                  <a:gd name="connsiteY8" fmla="*/ 365125 h 1593850"/>
                  <a:gd name="connsiteX9" fmla="*/ 133350 w 854075"/>
                  <a:gd name="connsiteY9" fmla="*/ 415925 h 1593850"/>
                  <a:gd name="connsiteX10" fmla="*/ 63500 w 854075"/>
                  <a:gd name="connsiteY10" fmla="*/ 504825 h 1593850"/>
                  <a:gd name="connsiteX11" fmla="*/ 66675 w 854075"/>
                  <a:gd name="connsiteY11" fmla="*/ 577850 h 1593850"/>
                  <a:gd name="connsiteX12" fmla="*/ 0 w 854075"/>
                  <a:gd name="connsiteY12" fmla="*/ 615950 h 1593850"/>
                  <a:gd name="connsiteX13" fmla="*/ 0 w 854075"/>
                  <a:gd name="connsiteY13" fmla="*/ 615950 h 1593850"/>
                  <a:gd name="connsiteX14" fmla="*/ 57150 w 854075"/>
                  <a:gd name="connsiteY14" fmla="*/ 635000 h 1593850"/>
                  <a:gd name="connsiteX15" fmla="*/ 66675 w 854075"/>
                  <a:gd name="connsiteY15" fmla="*/ 850900 h 1593850"/>
                  <a:gd name="connsiteX16" fmla="*/ 22225 w 854075"/>
                  <a:gd name="connsiteY16" fmla="*/ 927100 h 1593850"/>
                  <a:gd name="connsiteX17" fmla="*/ 79375 w 854075"/>
                  <a:gd name="connsiteY17" fmla="*/ 981075 h 1593850"/>
                  <a:gd name="connsiteX18" fmla="*/ 69850 w 854075"/>
                  <a:gd name="connsiteY18" fmla="*/ 1022350 h 1593850"/>
                  <a:gd name="connsiteX19" fmla="*/ 117475 w 854075"/>
                  <a:gd name="connsiteY19" fmla="*/ 1130300 h 1593850"/>
                  <a:gd name="connsiteX20" fmla="*/ 209550 w 854075"/>
                  <a:gd name="connsiteY20" fmla="*/ 1104900 h 1593850"/>
                  <a:gd name="connsiteX21" fmla="*/ 282575 w 854075"/>
                  <a:gd name="connsiteY21" fmla="*/ 1149350 h 1593850"/>
                  <a:gd name="connsiteX22" fmla="*/ 298450 w 854075"/>
                  <a:gd name="connsiteY22" fmla="*/ 1206500 h 1593850"/>
                  <a:gd name="connsiteX23" fmla="*/ 298450 w 854075"/>
                  <a:gd name="connsiteY23" fmla="*/ 1270000 h 1593850"/>
                  <a:gd name="connsiteX24" fmla="*/ 358775 w 854075"/>
                  <a:gd name="connsiteY24" fmla="*/ 1333500 h 1593850"/>
                  <a:gd name="connsiteX25" fmla="*/ 428625 w 854075"/>
                  <a:gd name="connsiteY25" fmla="*/ 1371600 h 1593850"/>
                  <a:gd name="connsiteX26" fmla="*/ 390525 w 854075"/>
                  <a:gd name="connsiteY26" fmla="*/ 1470025 h 1593850"/>
                  <a:gd name="connsiteX27" fmla="*/ 409575 w 854075"/>
                  <a:gd name="connsiteY27" fmla="*/ 1539875 h 1593850"/>
                  <a:gd name="connsiteX28" fmla="*/ 466725 w 854075"/>
                  <a:gd name="connsiteY28" fmla="*/ 1574800 h 1593850"/>
                  <a:gd name="connsiteX29" fmla="*/ 495300 w 854075"/>
                  <a:gd name="connsiteY29" fmla="*/ 1565275 h 1593850"/>
                  <a:gd name="connsiteX30" fmla="*/ 520700 w 854075"/>
                  <a:gd name="connsiteY30" fmla="*/ 1593850 h 1593850"/>
                  <a:gd name="connsiteX31" fmla="*/ 561975 w 854075"/>
                  <a:gd name="connsiteY31" fmla="*/ 1587500 h 1593850"/>
                  <a:gd name="connsiteX32" fmla="*/ 635000 w 854075"/>
                  <a:gd name="connsiteY32" fmla="*/ 1524000 h 1593850"/>
                  <a:gd name="connsiteX33" fmla="*/ 733425 w 854075"/>
                  <a:gd name="connsiteY33" fmla="*/ 1400175 h 1593850"/>
                  <a:gd name="connsiteX34" fmla="*/ 774700 w 854075"/>
                  <a:gd name="connsiteY34" fmla="*/ 1377950 h 1593850"/>
                  <a:gd name="connsiteX35" fmla="*/ 762000 w 854075"/>
                  <a:gd name="connsiteY35" fmla="*/ 1304925 h 1593850"/>
                  <a:gd name="connsiteX36" fmla="*/ 774700 w 854075"/>
                  <a:gd name="connsiteY36" fmla="*/ 1235075 h 1593850"/>
                  <a:gd name="connsiteX37" fmla="*/ 812800 w 854075"/>
                  <a:gd name="connsiteY37" fmla="*/ 1206500 h 1593850"/>
                  <a:gd name="connsiteX38" fmla="*/ 768350 w 854075"/>
                  <a:gd name="connsiteY38" fmla="*/ 1203325 h 1593850"/>
                  <a:gd name="connsiteX39" fmla="*/ 669925 w 854075"/>
                  <a:gd name="connsiteY39" fmla="*/ 952500 h 1593850"/>
                  <a:gd name="connsiteX40" fmla="*/ 714375 w 854075"/>
                  <a:gd name="connsiteY40" fmla="*/ 869950 h 1593850"/>
                  <a:gd name="connsiteX41" fmla="*/ 752475 w 854075"/>
                  <a:gd name="connsiteY41" fmla="*/ 841375 h 1593850"/>
                  <a:gd name="connsiteX42" fmla="*/ 676275 w 854075"/>
                  <a:gd name="connsiteY42" fmla="*/ 768350 h 1593850"/>
                  <a:gd name="connsiteX43" fmla="*/ 657225 w 854075"/>
                  <a:gd name="connsiteY43" fmla="*/ 708025 h 1593850"/>
                  <a:gd name="connsiteX44" fmla="*/ 657225 w 854075"/>
                  <a:gd name="connsiteY44" fmla="*/ 663575 h 1593850"/>
                  <a:gd name="connsiteX45" fmla="*/ 711200 w 854075"/>
                  <a:gd name="connsiteY45" fmla="*/ 647700 h 1593850"/>
                  <a:gd name="connsiteX46" fmla="*/ 704850 w 854075"/>
                  <a:gd name="connsiteY46" fmla="*/ 587375 h 1593850"/>
                  <a:gd name="connsiteX47" fmla="*/ 736600 w 854075"/>
                  <a:gd name="connsiteY47" fmla="*/ 587375 h 1593850"/>
                  <a:gd name="connsiteX48" fmla="*/ 790575 w 854075"/>
                  <a:gd name="connsiteY48" fmla="*/ 504825 h 1593850"/>
                  <a:gd name="connsiteX49" fmla="*/ 790575 w 854075"/>
                  <a:gd name="connsiteY49" fmla="*/ 457200 h 1593850"/>
                  <a:gd name="connsiteX50" fmla="*/ 854075 w 854075"/>
                  <a:gd name="connsiteY50" fmla="*/ 454025 h 1593850"/>
                  <a:gd name="connsiteX51" fmla="*/ 819150 w 854075"/>
                  <a:gd name="connsiteY51" fmla="*/ 365125 h 1593850"/>
                  <a:gd name="connsiteX52" fmla="*/ 819150 w 854075"/>
                  <a:gd name="connsiteY52" fmla="*/ 365125 h 1593850"/>
                  <a:gd name="connsiteX53" fmla="*/ 800100 w 854075"/>
                  <a:gd name="connsiteY53" fmla="*/ 295275 h 1593850"/>
                  <a:gd name="connsiteX54" fmla="*/ 746125 w 854075"/>
                  <a:gd name="connsiteY54" fmla="*/ 247650 h 1593850"/>
                  <a:gd name="connsiteX55" fmla="*/ 806450 w 854075"/>
                  <a:gd name="connsiteY55" fmla="*/ 234950 h 1593850"/>
                  <a:gd name="connsiteX56" fmla="*/ 831850 w 854075"/>
                  <a:gd name="connsiteY56" fmla="*/ 130175 h 1593850"/>
                  <a:gd name="connsiteX57" fmla="*/ 835025 w 854075"/>
                  <a:gd name="connsiteY57" fmla="*/ 69850 h 1593850"/>
                  <a:gd name="connsiteX58" fmla="*/ 831850 w 854075"/>
                  <a:gd name="connsiteY58" fmla="*/ 0 h 1593850"/>
                  <a:gd name="connsiteX0" fmla="*/ 836789 w 859014"/>
                  <a:gd name="connsiteY0" fmla="*/ 0 h 1593850"/>
                  <a:gd name="connsiteX1" fmla="*/ 551039 w 859014"/>
                  <a:gd name="connsiteY1" fmla="*/ 133350 h 1593850"/>
                  <a:gd name="connsiteX2" fmla="*/ 274814 w 859014"/>
                  <a:gd name="connsiteY2" fmla="*/ 41275 h 1593850"/>
                  <a:gd name="connsiteX3" fmla="*/ 277989 w 859014"/>
                  <a:gd name="connsiteY3" fmla="*/ 130175 h 1593850"/>
                  <a:gd name="connsiteX4" fmla="*/ 227189 w 859014"/>
                  <a:gd name="connsiteY4" fmla="*/ 203200 h 1593850"/>
                  <a:gd name="connsiteX5" fmla="*/ 160514 w 859014"/>
                  <a:gd name="connsiteY5" fmla="*/ 260350 h 1593850"/>
                  <a:gd name="connsiteX6" fmla="*/ 160514 w 859014"/>
                  <a:gd name="connsiteY6" fmla="*/ 333375 h 1593850"/>
                  <a:gd name="connsiteX7" fmla="*/ 90664 w 859014"/>
                  <a:gd name="connsiteY7" fmla="*/ 292100 h 1593850"/>
                  <a:gd name="connsiteX8" fmla="*/ 97014 w 859014"/>
                  <a:gd name="connsiteY8" fmla="*/ 365125 h 1593850"/>
                  <a:gd name="connsiteX9" fmla="*/ 138289 w 859014"/>
                  <a:gd name="connsiteY9" fmla="*/ 415925 h 1593850"/>
                  <a:gd name="connsiteX10" fmla="*/ 68439 w 859014"/>
                  <a:gd name="connsiteY10" fmla="*/ 504825 h 1593850"/>
                  <a:gd name="connsiteX11" fmla="*/ 71614 w 859014"/>
                  <a:gd name="connsiteY11" fmla="*/ 577850 h 1593850"/>
                  <a:gd name="connsiteX12" fmla="*/ 4939 w 859014"/>
                  <a:gd name="connsiteY12" fmla="*/ 615950 h 1593850"/>
                  <a:gd name="connsiteX13" fmla="*/ 4939 w 859014"/>
                  <a:gd name="connsiteY13" fmla="*/ 625475 h 1593850"/>
                  <a:gd name="connsiteX14" fmla="*/ 62089 w 859014"/>
                  <a:gd name="connsiteY14" fmla="*/ 635000 h 1593850"/>
                  <a:gd name="connsiteX15" fmla="*/ 71614 w 859014"/>
                  <a:gd name="connsiteY15" fmla="*/ 850900 h 1593850"/>
                  <a:gd name="connsiteX16" fmla="*/ 27164 w 859014"/>
                  <a:gd name="connsiteY16" fmla="*/ 927100 h 1593850"/>
                  <a:gd name="connsiteX17" fmla="*/ 84314 w 859014"/>
                  <a:gd name="connsiteY17" fmla="*/ 981075 h 1593850"/>
                  <a:gd name="connsiteX18" fmla="*/ 74789 w 859014"/>
                  <a:gd name="connsiteY18" fmla="*/ 1022350 h 1593850"/>
                  <a:gd name="connsiteX19" fmla="*/ 122414 w 859014"/>
                  <a:gd name="connsiteY19" fmla="*/ 1130300 h 1593850"/>
                  <a:gd name="connsiteX20" fmla="*/ 214489 w 859014"/>
                  <a:gd name="connsiteY20" fmla="*/ 1104900 h 1593850"/>
                  <a:gd name="connsiteX21" fmla="*/ 287514 w 859014"/>
                  <a:gd name="connsiteY21" fmla="*/ 1149350 h 1593850"/>
                  <a:gd name="connsiteX22" fmla="*/ 303389 w 859014"/>
                  <a:gd name="connsiteY22" fmla="*/ 1206500 h 1593850"/>
                  <a:gd name="connsiteX23" fmla="*/ 303389 w 859014"/>
                  <a:gd name="connsiteY23" fmla="*/ 1270000 h 1593850"/>
                  <a:gd name="connsiteX24" fmla="*/ 363714 w 859014"/>
                  <a:gd name="connsiteY24" fmla="*/ 1333500 h 1593850"/>
                  <a:gd name="connsiteX25" fmla="*/ 433564 w 859014"/>
                  <a:gd name="connsiteY25" fmla="*/ 1371600 h 1593850"/>
                  <a:gd name="connsiteX26" fmla="*/ 395464 w 859014"/>
                  <a:gd name="connsiteY26" fmla="*/ 1470025 h 1593850"/>
                  <a:gd name="connsiteX27" fmla="*/ 414514 w 859014"/>
                  <a:gd name="connsiteY27" fmla="*/ 1539875 h 1593850"/>
                  <a:gd name="connsiteX28" fmla="*/ 471664 w 859014"/>
                  <a:gd name="connsiteY28" fmla="*/ 1574800 h 1593850"/>
                  <a:gd name="connsiteX29" fmla="*/ 500239 w 859014"/>
                  <a:gd name="connsiteY29" fmla="*/ 1565275 h 1593850"/>
                  <a:gd name="connsiteX30" fmla="*/ 525639 w 859014"/>
                  <a:gd name="connsiteY30" fmla="*/ 1593850 h 1593850"/>
                  <a:gd name="connsiteX31" fmla="*/ 566914 w 859014"/>
                  <a:gd name="connsiteY31" fmla="*/ 1587500 h 1593850"/>
                  <a:gd name="connsiteX32" fmla="*/ 639939 w 859014"/>
                  <a:gd name="connsiteY32" fmla="*/ 1524000 h 1593850"/>
                  <a:gd name="connsiteX33" fmla="*/ 738364 w 859014"/>
                  <a:gd name="connsiteY33" fmla="*/ 1400175 h 1593850"/>
                  <a:gd name="connsiteX34" fmla="*/ 779639 w 859014"/>
                  <a:gd name="connsiteY34" fmla="*/ 1377950 h 1593850"/>
                  <a:gd name="connsiteX35" fmla="*/ 766939 w 859014"/>
                  <a:gd name="connsiteY35" fmla="*/ 1304925 h 1593850"/>
                  <a:gd name="connsiteX36" fmla="*/ 779639 w 859014"/>
                  <a:gd name="connsiteY36" fmla="*/ 1235075 h 1593850"/>
                  <a:gd name="connsiteX37" fmla="*/ 817739 w 859014"/>
                  <a:gd name="connsiteY37" fmla="*/ 1206500 h 1593850"/>
                  <a:gd name="connsiteX38" fmla="*/ 773289 w 859014"/>
                  <a:gd name="connsiteY38" fmla="*/ 1203325 h 1593850"/>
                  <a:gd name="connsiteX39" fmla="*/ 674864 w 859014"/>
                  <a:gd name="connsiteY39" fmla="*/ 952500 h 1593850"/>
                  <a:gd name="connsiteX40" fmla="*/ 719314 w 859014"/>
                  <a:gd name="connsiteY40" fmla="*/ 869950 h 1593850"/>
                  <a:gd name="connsiteX41" fmla="*/ 757414 w 859014"/>
                  <a:gd name="connsiteY41" fmla="*/ 841375 h 1593850"/>
                  <a:gd name="connsiteX42" fmla="*/ 681214 w 859014"/>
                  <a:gd name="connsiteY42" fmla="*/ 768350 h 1593850"/>
                  <a:gd name="connsiteX43" fmla="*/ 662164 w 859014"/>
                  <a:gd name="connsiteY43" fmla="*/ 708025 h 1593850"/>
                  <a:gd name="connsiteX44" fmla="*/ 662164 w 859014"/>
                  <a:gd name="connsiteY44" fmla="*/ 663575 h 1593850"/>
                  <a:gd name="connsiteX45" fmla="*/ 716139 w 859014"/>
                  <a:gd name="connsiteY45" fmla="*/ 647700 h 1593850"/>
                  <a:gd name="connsiteX46" fmla="*/ 709789 w 859014"/>
                  <a:gd name="connsiteY46" fmla="*/ 587375 h 1593850"/>
                  <a:gd name="connsiteX47" fmla="*/ 741539 w 859014"/>
                  <a:gd name="connsiteY47" fmla="*/ 587375 h 1593850"/>
                  <a:gd name="connsiteX48" fmla="*/ 795514 w 859014"/>
                  <a:gd name="connsiteY48" fmla="*/ 504825 h 1593850"/>
                  <a:gd name="connsiteX49" fmla="*/ 795514 w 859014"/>
                  <a:gd name="connsiteY49" fmla="*/ 457200 h 1593850"/>
                  <a:gd name="connsiteX50" fmla="*/ 859014 w 859014"/>
                  <a:gd name="connsiteY50" fmla="*/ 454025 h 1593850"/>
                  <a:gd name="connsiteX51" fmla="*/ 824089 w 859014"/>
                  <a:gd name="connsiteY51" fmla="*/ 365125 h 1593850"/>
                  <a:gd name="connsiteX52" fmla="*/ 824089 w 859014"/>
                  <a:gd name="connsiteY52" fmla="*/ 365125 h 1593850"/>
                  <a:gd name="connsiteX53" fmla="*/ 805039 w 859014"/>
                  <a:gd name="connsiteY53" fmla="*/ 295275 h 1593850"/>
                  <a:gd name="connsiteX54" fmla="*/ 751064 w 859014"/>
                  <a:gd name="connsiteY54" fmla="*/ 247650 h 1593850"/>
                  <a:gd name="connsiteX55" fmla="*/ 811389 w 859014"/>
                  <a:gd name="connsiteY55" fmla="*/ 234950 h 1593850"/>
                  <a:gd name="connsiteX56" fmla="*/ 836789 w 859014"/>
                  <a:gd name="connsiteY56" fmla="*/ 130175 h 1593850"/>
                  <a:gd name="connsiteX57" fmla="*/ 839964 w 859014"/>
                  <a:gd name="connsiteY57" fmla="*/ 69850 h 1593850"/>
                  <a:gd name="connsiteX58" fmla="*/ 836789 w 859014"/>
                  <a:gd name="connsiteY58" fmla="*/ 0 h 159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859014" h="1593850">
                    <a:moveTo>
                      <a:pt x="836789" y="0"/>
                    </a:moveTo>
                    <a:lnTo>
                      <a:pt x="551039" y="133350"/>
                    </a:lnTo>
                    <a:lnTo>
                      <a:pt x="274814" y="41275"/>
                    </a:lnTo>
                    <a:lnTo>
                      <a:pt x="277989" y="130175"/>
                    </a:lnTo>
                    <a:lnTo>
                      <a:pt x="227189" y="203200"/>
                    </a:lnTo>
                    <a:lnTo>
                      <a:pt x="160514" y="260350"/>
                    </a:lnTo>
                    <a:lnTo>
                      <a:pt x="160514" y="333375"/>
                    </a:lnTo>
                    <a:lnTo>
                      <a:pt x="90664" y="292100"/>
                    </a:lnTo>
                    <a:lnTo>
                      <a:pt x="97014" y="365125"/>
                    </a:lnTo>
                    <a:lnTo>
                      <a:pt x="138289" y="415925"/>
                    </a:lnTo>
                    <a:lnTo>
                      <a:pt x="68439" y="504825"/>
                    </a:lnTo>
                    <a:lnTo>
                      <a:pt x="71614" y="577850"/>
                    </a:lnTo>
                    <a:cubicBezTo>
                      <a:pt x="49389" y="590550"/>
                      <a:pt x="16052" y="608013"/>
                      <a:pt x="4939" y="615950"/>
                    </a:cubicBezTo>
                    <a:cubicBezTo>
                      <a:pt x="-6174" y="623888"/>
                      <a:pt x="4939" y="622300"/>
                      <a:pt x="4939" y="625475"/>
                    </a:cubicBezTo>
                    <a:lnTo>
                      <a:pt x="62089" y="635000"/>
                    </a:lnTo>
                    <a:lnTo>
                      <a:pt x="71614" y="850900"/>
                    </a:lnTo>
                    <a:lnTo>
                      <a:pt x="27164" y="927100"/>
                    </a:lnTo>
                    <a:lnTo>
                      <a:pt x="84314" y="981075"/>
                    </a:lnTo>
                    <a:lnTo>
                      <a:pt x="74789" y="1022350"/>
                    </a:lnTo>
                    <a:lnTo>
                      <a:pt x="122414" y="1130300"/>
                    </a:lnTo>
                    <a:lnTo>
                      <a:pt x="214489" y="1104900"/>
                    </a:lnTo>
                    <a:lnTo>
                      <a:pt x="287514" y="1149350"/>
                    </a:lnTo>
                    <a:lnTo>
                      <a:pt x="303389" y="1206500"/>
                    </a:lnTo>
                    <a:lnTo>
                      <a:pt x="303389" y="1270000"/>
                    </a:lnTo>
                    <a:lnTo>
                      <a:pt x="363714" y="1333500"/>
                    </a:lnTo>
                    <a:lnTo>
                      <a:pt x="433564" y="1371600"/>
                    </a:lnTo>
                    <a:lnTo>
                      <a:pt x="395464" y="1470025"/>
                    </a:lnTo>
                    <a:lnTo>
                      <a:pt x="414514" y="1539875"/>
                    </a:lnTo>
                    <a:lnTo>
                      <a:pt x="471664" y="1574800"/>
                    </a:lnTo>
                    <a:lnTo>
                      <a:pt x="500239" y="1565275"/>
                    </a:lnTo>
                    <a:lnTo>
                      <a:pt x="525639" y="1593850"/>
                    </a:lnTo>
                    <a:lnTo>
                      <a:pt x="566914" y="1587500"/>
                    </a:lnTo>
                    <a:lnTo>
                      <a:pt x="639939" y="1524000"/>
                    </a:lnTo>
                    <a:lnTo>
                      <a:pt x="738364" y="1400175"/>
                    </a:lnTo>
                    <a:lnTo>
                      <a:pt x="779639" y="1377950"/>
                    </a:lnTo>
                    <a:lnTo>
                      <a:pt x="766939" y="1304925"/>
                    </a:lnTo>
                    <a:lnTo>
                      <a:pt x="779639" y="1235075"/>
                    </a:lnTo>
                    <a:lnTo>
                      <a:pt x="817739" y="1206500"/>
                    </a:lnTo>
                    <a:lnTo>
                      <a:pt x="773289" y="1203325"/>
                    </a:lnTo>
                    <a:lnTo>
                      <a:pt x="674864" y="952500"/>
                    </a:lnTo>
                    <a:lnTo>
                      <a:pt x="719314" y="869950"/>
                    </a:lnTo>
                    <a:lnTo>
                      <a:pt x="757414" y="841375"/>
                    </a:lnTo>
                    <a:lnTo>
                      <a:pt x="681214" y="768350"/>
                    </a:lnTo>
                    <a:lnTo>
                      <a:pt x="662164" y="708025"/>
                    </a:lnTo>
                    <a:lnTo>
                      <a:pt x="662164" y="663575"/>
                    </a:lnTo>
                    <a:lnTo>
                      <a:pt x="716139" y="647700"/>
                    </a:lnTo>
                    <a:lnTo>
                      <a:pt x="709789" y="587375"/>
                    </a:lnTo>
                    <a:lnTo>
                      <a:pt x="741539" y="587375"/>
                    </a:lnTo>
                    <a:lnTo>
                      <a:pt x="795514" y="504825"/>
                    </a:lnTo>
                    <a:lnTo>
                      <a:pt x="795514" y="457200"/>
                    </a:lnTo>
                    <a:lnTo>
                      <a:pt x="859014" y="454025"/>
                    </a:lnTo>
                    <a:lnTo>
                      <a:pt x="824089" y="365125"/>
                    </a:lnTo>
                    <a:lnTo>
                      <a:pt x="824089" y="365125"/>
                    </a:lnTo>
                    <a:lnTo>
                      <a:pt x="805039" y="295275"/>
                    </a:lnTo>
                    <a:lnTo>
                      <a:pt x="751064" y="247650"/>
                    </a:lnTo>
                    <a:lnTo>
                      <a:pt x="811389" y="234950"/>
                    </a:lnTo>
                    <a:lnTo>
                      <a:pt x="836789" y="130175"/>
                    </a:lnTo>
                    <a:lnTo>
                      <a:pt x="839964" y="69850"/>
                    </a:lnTo>
                    <a:lnTo>
                      <a:pt x="836789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3" name="Forma libre 22"/>
            <p:cNvSpPr/>
            <p:nvPr/>
          </p:nvSpPr>
          <p:spPr>
            <a:xfrm>
              <a:off x="755508" y="3131963"/>
              <a:ext cx="682741" cy="666158"/>
            </a:xfrm>
            <a:custGeom>
              <a:avLst/>
              <a:gdLst>
                <a:gd name="connsiteX0" fmla="*/ 606449 w 881135"/>
                <a:gd name="connsiteY0" fmla="*/ 1127318 h 1127318"/>
                <a:gd name="connsiteX1" fmla="*/ 520833 w 881135"/>
                <a:gd name="connsiteY1" fmla="*/ 1020294 h 1127318"/>
                <a:gd name="connsiteX2" fmla="*/ 510131 w 881135"/>
                <a:gd name="connsiteY2" fmla="*/ 945378 h 1127318"/>
                <a:gd name="connsiteX3" fmla="*/ 460188 w 881135"/>
                <a:gd name="connsiteY3" fmla="*/ 902568 h 1127318"/>
                <a:gd name="connsiteX4" fmla="*/ 445918 w 881135"/>
                <a:gd name="connsiteY4" fmla="*/ 849056 h 1127318"/>
                <a:gd name="connsiteX5" fmla="*/ 410245 w 881135"/>
                <a:gd name="connsiteY5" fmla="*/ 820516 h 1127318"/>
                <a:gd name="connsiteX6" fmla="*/ 413812 w 881135"/>
                <a:gd name="connsiteY6" fmla="*/ 759870 h 1127318"/>
                <a:gd name="connsiteX7" fmla="*/ 321061 w 881135"/>
                <a:gd name="connsiteY7" fmla="*/ 706358 h 1127318"/>
                <a:gd name="connsiteX8" fmla="*/ 331763 w 881135"/>
                <a:gd name="connsiteY8" fmla="*/ 670683 h 1127318"/>
                <a:gd name="connsiteX9" fmla="*/ 249714 w 881135"/>
                <a:gd name="connsiteY9" fmla="*/ 659981 h 1127318"/>
                <a:gd name="connsiteX10" fmla="*/ 274686 w 881135"/>
                <a:gd name="connsiteY10" fmla="*/ 617171 h 1127318"/>
                <a:gd name="connsiteX11" fmla="*/ 260416 w 881135"/>
                <a:gd name="connsiteY11" fmla="*/ 542254 h 1127318"/>
                <a:gd name="connsiteX12" fmla="*/ 203339 w 881135"/>
                <a:gd name="connsiteY12" fmla="*/ 438798 h 1127318"/>
                <a:gd name="connsiteX13" fmla="*/ 85616 w 881135"/>
                <a:gd name="connsiteY13" fmla="*/ 371016 h 1127318"/>
                <a:gd name="connsiteX14" fmla="*/ 85616 w 881135"/>
                <a:gd name="connsiteY14" fmla="*/ 331774 h 1127318"/>
                <a:gd name="connsiteX15" fmla="*/ 85616 w 881135"/>
                <a:gd name="connsiteY15" fmla="*/ 331774 h 1127318"/>
                <a:gd name="connsiteX16" fmla="*/ 103453 w 881135"/>
                <a:gd name="connsiteY16" fmla="*/ 306802 h 1127318"/>
                <a:gd name="connsiteX17" fmla="*/ 0 w 881135"/>
                <a:gd name="connsiteY17" fmla="*/ 107024 h 1127318"/>
                <a:gd name="connsiteX18" fmla="*/ 60645 w 881135"/>
                <a:gd name="connsiteY18" fmla="*/ 46377 h 1127318"/>
                <a:gd name="connsiteX19" fmla="*/ 67780 w 881135"/>
                <a:gd name="connsiteY19" fmla="*/ 89187 h 1127318"/>
                <a:gd name="connsiteX20" fmla="*/ 103453 w 881135"/>
                <a:gd name="connsiteY20" fmla="*/ 121294 h 1127318"/>
                <a:gd name="connsiteX21" fmla="*/ 107020 w 881135"/>
                <a:gd name="connsiteY21" fmla="*/ 185508 h 1127318"/>
                <a:gd name="connsiteX22" fmla="*/ 189069 w 881135"/>
                <a:gd name="connsiteY22" fmla="*/ 160536 h 1127318"/>
                <a:gd name="connsiteX23" fmla="*/ 260416 w 881135"/>
                <a:gd name="connsiteY23" fmla="*/ 85619 h 1127318"/>
                <a:gd name="connsiteX24" fmla="*/ 303225 w 881135"/>
                <a:gd name="connsiteY24" fmla="*/ 10703 h 1127318"/>
                <a:gd name="connsiteX25" fmla="*/ 363869 w 881135"/>
                <a:gd name="connsiteY25" fmla="*/ 0 h 1127318"/>
                <a:gd name="connsiteX26" fmla="*/ 435216 w 881135"/>
                <a:gd name="connsiteY26" fmla="*/ 57080 h 1127318"/>
                <a:gd name="connsiteX27" fmla="*/ 467322 w 881135"/>
                <a:gd name="connsiteY27" fmla="*/ 185508 h 1127318"/>
                <a:gd name="connsiteX28" fmla="*/ 513698 w 881135"/>
                <a:gd name="connsiteY28" fmla="*/ 288965 h 1127318"/>
                <a:gd name="connsiteX29" fmla="*/ 513698 w 881135"/>
                <a:gd name="connsiteY29" fmla="*/ 335342 h 1127318"/>
                <a:gd name="connsiteX30" fmla="*/ 574343 w 881135"/>
                <a:gd name="connsiteY30" fmla="*/ 478040 h 1127318"/>
                <a:gd name="connsiteX31" fmla="*/ 631420 w 881135"/>
                <a:gd name="connsiteY31" fmla="*/ 481608 h 1127318"/>
                <a:gd name="connsiteX32" fmla="*/ 638555 w 881135"/>
                <a:gd name="connsiteY32" fmla="*/ 545822 h 1127318"/>
                <a:gd name="connsiteX33" fmla="*/ 692065 w 881135"/>
                <a:gd name="connsiteY33" fmla="*/ 631441 h 1127318"/>
                <a:gd name="connsiteX34" fmla="*/ 809788 w 881135"/>
                <a:gd name="connsiteY34" fmla="*/ 642143 h 1127318"/>
                <a:gd name="connsiteX35" fmla="*/ 849028 w 881135"/>
                <a:gd name="connsiteY35" fmla="*/ 695655 h 1127318"/>
                <a:gd name="connsiteX36" fmla="*/ 820490 w 881135"/>
                <a:gd name="connsiteY36" fmla="*/ 720628 h 1127318"/>
                <a:gd name="connsiteX37" fmla="*/ 881135 w 881135"/>
                <a:gd name="connsiteY37" fmla="*/ 781274 h 1127318"/>
                <a:gd name="connsiteX38" fmla="*/ 877567 w 881135"/>
                <a:gd name="connsiteY38" fmla="*/ 874028 h 1127318"/>
                <a:gd name="connsiteX39" fmla="*/ 881135 w 881135"/>
                <a:gd name="connsiteY39" fmla="*/ 941810 h 1127318"/>
                <a:gd name="connsiteX40" fmla="*/ 820490 w 881135"/>
                <a:gd name="connsiteY40" fmla="*/ 1023862 h 1127318"/>
                <a:gd name="connsiteX41" fmla="*/ 720604 w 881135"/>
                <a:gd name="connsiteY41" fmla="*/ 1009592 h 1127318"/>
                <a:gd name="connsiteX42" fmla="*/ 656392 w 881135"/>
                <a:gd name="connsiteY42" fmla="*/ 1077374 h 1127318"/>
                <a:gd name="connsiteX43" fmla="*/ 606449 w 881135"/>
                <a:gd name="connsiteY43" fmla="*/ 1127318 h 112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81135" h="1127318">
                  <a:moveTo>
                    <a:pt x="606449" y="1127318"/>
                  </a:moveTo>
                  <a:lnTo>
                    <a:pt x="520833" y="1020294"/>
                  </a:lnTo>
                  <a:lnTo>
                    <a:pt x="510131" y="945378"/>
                  </a:lnTo>
                  <a:lnTo>
                    <a:pt x="460188" y="902568"/>
                  </a:lnTo>
                  <a:lnTo>
                    <a:pt x="445918" y="849056"/>
                  </a:lnTo>
                  <a:lnTo>
                    <a:pt x="410245" y="820516"/>
                  </a:lnTo>
                  <a:lnTo>
                    <a:pt x="413812" y="759870"/>
                  </a:lnTo>
                  <a:lnTo>
                    <a:pt x="321061" y="706358"/>
                  </a:lnTo>
                  <a:lnTo>
                    <a:pt x="331763" y="670683"/>
                  </a:lnTo>
                  <a:lnTo>
                    <a:pt x="249714" y="659981"/>
                  </a:lnTo>
                  <a:lnTo>
                    <a:pt x="274686" y="617171"/>
                  </a:lnTo>
                  <a:lnTo>
                    <a:pt x="260416" y="542254"/>
                  </a:lnTo>
                  <a:lnTo>
                    <a:pt x="203339" y="438798"/>
                  </a:lnTo>
                  <a:lnTo>
                    <a:pt x="85616" y="371016"/>
                  </a:lnTo>
                  <a:lnTo>
                    <a:pt x="85616" y="331774"/>
                  </a:lnTo>
                  <a:lnTo>
                    <a:pt x="85616" y="331774"/>
                  </a:lnTo>
                  <a:lnTo>
                    <a:pt x="103453" y="306802"/>
                  </a:lnTo>
                  <a:lnTo>
                    <a:pt x="0" y="107024"/>
                  </a:lnTo>
                  <a:lnTo>
                    <a:pt x="60645" y="46377"/>
                  </a:lnTo>
                  <a:lnTo>
                    <a:pt x="67780" y="89187"/>
                  </a:lnTo>
                  <a:lnTo>
                    <a:pt x="103453" y="121294"/>
                  </a:lnTo>
                  <a:lnTo>
                    <a:pt x="107020" y="185508"/>
                  </a:lnTo>
                  <a:lnTo>
                    <a:pt x="189069" y="160536"/>
                  </a:lnTo>
                  <a:lnTo>
                    <a:pt x="260416" y="85619"/>
                  </a:lnTo>
                  <a:lnTo>
                    <a:pt x="303225" y="10703"/>
                  </a:lnTo>
                  <a:lnTo>
                    <a:pt x="363869" y="0"/>
                  </a:lnTo>
                  <a:lnTo>
                    <a:pt x="435216" y="57080"/>
                  </a:lnTo>
                  <a:lnTo>
                    <a:pt x="467322" y="185508"/>
                  </a:lnTo>
                  <a:lnTo>
                    <a:pt x="513698" y="288965"/>
                  </a:lnTo>
                  <a:lnTo>
                    <a:pt x="513698" y="335342"/>
                  </a:lnTo>
                  <a:lnTo>
                    <a:pt x="574343" y="478040"/>
                  </a:lnTo>
                  <a:lnTo>
                    <a:pt x="631420" y="481608"/>
                  </a:lnTo>
                  <a:lnTo>
                    <a:pt x="638555" y="545822"/>
                  </a:lnTo>
                  <a:lnTo>
                    <a:pt x="692065" y="631441"/>
                  </a:lnTo>
                  <a:lnTo>
                    <a:pt x="809788" y="642143"/>
                  </a:lnTo>
                  <a:lnTo>
                    <a:pt x="849028" y="695655"/>
                  </a:lnTo>
                  <a:lnTo>
                    <a:pt x="820490" y="720628"/>
                  </a:lnTo>
                  <a:lnTo>
                    <a:pt x="881135" y="781274"/>
                  </a:lnTo>
                  <a:lnTo>
                    <a:pt x="877567" y="874028"/>
                  </a:lnTo>
                  <a:lnTo>
                    <a:pt x="881135" y="941810"/>
                  </a:lnTo>
                  <a:lnTo>
                    <a:pt x="820490" y="1023862"/>
                  </a:lnTo>
                  <a:lnTo>
                    <a:pt x="720604" y="1009592"/>
                  </a:lnTo>
                  <a:lnTo>
                    <a:pt x="656392" y="1077374"/>
                  </a:lnTo>
                  <a:lnTo>
                    <a:pt x="606449" y="1127318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0087C8"/>
                </a:solidFill>
              </a:endParaRPr>
            </a:p>
          </p:txBody>
        </p:sp>
      </p:grpSp>
      <p:sp>
        <p:nvSpPr>
          <p:cNvPr id="49" name="CuadroTexto 48"/>
          <p:cNvSpPr txBox="1"/>
          <p:nvPr/>
        </p:nvSpPr>
        <p:spPr bwMode="gray">
          <a:xfrm>
            <a:off x="6169919" y="3017520"/>
            <a:ext cx="155010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 smtClean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Macro Zona</a:t>
            </a:r>
            <a:endParaRPr lang="es-PE" sz="1600" b="1" dirty="0">
              <a:solidFill>
                <a:schemeClr val="accent5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51" name="Elipse 50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ángulo 51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sp>
        <p:nvSpPr>
          <p:cNvPr id="53" name="Elipse 52"/>
          <p:cNvSpPr/>
          <p:nvPr/>
        </p:nvSpPr>
        <p:spPr bwMode="gray">
          <a:xfrm>
            <a:off x="1484260" y="3302234"/>
            <a:ext cx="727163" cy="610615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echteckige Legende 581"/>
          <p:cNvSpPr/>
          <p:nvPr>
            <p:custDataLst>
              <p:tags r:id="rId3"/>
            </p:custDataLst>
          </p:nvPr>
        </p:nvSpPr>
        <p:spPr bwMode="gray">
          <a:xfrm flipH="1">
            <a:off x="7979318" y="1789727"/>
            <a:ext cx="576000" cy="576000"/>
          </a:xfrm>
          <a:prstGeom prst="wedgeRectCallout">
            <a:avLst>
              <a:gd name="adj1" fmla="val -72152"/>
              <a:gd name="adj2" fmla="val 21829"/>
            </a:avLst>
          </a:prstGeom>
          <a:solidFill>
            <a:srgbClr val="FFFFFF"/>
          </a:solidFill>
          <a:ln w="9525">
            <a:solidFill>
              <a:schemeClr val="accent5"/>
            </a:solidFill>
            <a:round/>
            <a:headEnd/>
            <a:tailEnd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r>
              <a:rPr lang="en-US" sz="3600" b="1" dirty="0" smtClean="0">
                <a:solidFill>
                  <a:schemeClr val="accent5"/>
                </a:solidFill>
              </a:rPr>
              <a:t>!</a:t>
            </a:r>
          </a:p>
        </p:txBody>
      </p:sp>
      <p:sp>
        <p:nvSpPr>
          <p:cNvPr id="60" name="Textplatzhalter 2"/>
          <p:cNvSpPr txBox="1">
            <a:spLocks/>
          </p:cNvSpPr>
          <p:nvPr/>
        </p:nvSpPr>
        <p:spPr bwMode="gray">
          <a:xfrm>
            <a:off x="8725357" y="2022758"/>
            <a:ext cx="2914815" cy="3805813"/>
          </a:xfrm>
          <a:prstGeom prst="rect">
            <a:avLst/>
          </a:prstGeo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9994" marR="0" indent="-2399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719982" indent="-239994" algn="l" defTabSz="121917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PE" sz="3200" b="1" dirty="0" smtClean="0">
                <a:latin typeface="Corbel" panose="020B0503020204020204" pitchFamily="34" charset="0"/>
              </a:rPr>
              <a:t>59% </a:t>
            </a:r>
            <a:r>
              <a:rPr lang="es-PE" sz="2000" dirty="0" smtClean="0">
                <a:latin typeface="Corbel" panose="020B0503020204020204" pitchFamily="34" charset="0"/>
              </a:rPr>
              <a:t>declara sentirse capaz de orientar a un tercero sobre dónde se denuncian actos de corrupción. </a:t>
            </a:r>
          </a:p>
          <a:p>
            <a:endParaRPr lang="es-PE" sz="2000" dirty="0" smtClean="0">
              <a:latin typeface="Corbel" panose="020B0503020204020204" pitchFamily="34" charset="0"/>
            </a:endParaRPr>
          </a:p>
          <a:p>
            <a:r>
              <a:rPr lang="es-PE" sz="2000" dirty="0" smtClean="0">
                <a:latin typeface="Corbel" panose="020B0503020204020204" pitchFamily="34" charset="0"/>
              </a:rPr>
              <a:t>Mayor desconocimiento en sierra centro y sur.</a:t>
            </a:r>
            <a:endParaRPr lang="en-US" sz="1400" dirty="0">
              <a:latin typeface="Corbel" panose="020B0503020204020204" pitchFamily="34" charset="0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411406" y="1204952"/>
            <a:ext cx="97876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dirty="0">
                <a:latin typeface="Corbel" panose="020B0503020204020204" pitchFamily="34" charset="0"/>
              </a:rPr>
              <a:t>Si una persona que usted conoce fuera víctima de un acto de corrupción y quisiera denunciarlo, ¿usted podría indicarle a dónde acudir a hacer la denuncia? </a:t>
            </a:r>
            <a:r>
              <a:rPr lang="es-ES" dirty="0" smtClean="0">
                <a:latin typeface="Corbel" panose="020B0503020204020204" pitchFamily="34" charset="0"/>
              </a:rPr>
              <a:t>–</a:t>
            </a:r>
            <a:r>
              <a:rPr lang="es-419" b="1" dirty="0" smtClean="0">
                <a:latin typeface="Corbel" panose="020B0503020204020204" pitchFamily="34" charset="0"/>
              </a:rPr>
              <a:t>ESPONTÁNEA</a:t>
            </a:r>
            <a:endParaRPr lang="es-PE" b="1" dirty="0">
              <a:latin typeface="Corbel" panose="020B0503020204020204" pitchFamily="34" charset="0"/>
            </a:endParaRPr>
          </a:p>
        </p:txBody>
      </p:sp>
      <p:sp>
        <p:nvSpPr>
          <p:cNvPr id="64" name="Freeform 101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5392684" y="5015198"/>
            <a:ext cx="504000" cy="381762"/>
          </a:xfrm>
          <a:custGeom>
            <a:avLst/>
            <a:gdLst>
              <a:gd name="T0" fmla="*/ 0 w 2114"/>
              <a:gd name="T1" fmla="*/ 292 h 1601"/>
              <a:gd name="T2" fmla="*/ 1057 w 2114"/>
              <a:gd name="T3" fmla="*/ 0 h 1601"/>
              <a:gd name="T4" fmla="*/ 2114 w 2114"/>
              <a:gd name="T5" fmla="*/ 292 h 1601"/>
              <a:gd name="T6" fmla="*/ 1057 w 2114"/>
              <a:gd name="T7" fmla="*/ 643 h 1601"/>
              <a:gd name="T8" fmla="*/ 0 w 2114"/>
              <a:gd name="T9" fmla="*/ 292 h 1601"/>
              <a:gd name="T10" fmla="*/ 417 w 2114"/>
              <a:gd name="T11" fmla="*/ 883 h 1601"/>
              <a:gd name="T12" fmla="*/ 507 w 2114"/>
              <a:gd name="T13" fmla="*/ 545 h 1601"/>
              <a:gd name="T14" fmla="*/ 1057 w 2114"/>
              <a:gd name="T15" fmla="*/ 727 h 1601"/>
              <a:gd name="T16" fmla="*/ 1607 w 2114"/>
              <a:gd name="T17" fmla="*/ 545 h 1601"/>
              <a:gd name="T18" fmla="*/ 1697 w 2114"/>
              <a:gd name="T19" fmla="*/ 883 h 1601"/>
              <a:gd name="T20" fmla="*/ 1697 w 2114"/>
              <a:gd name="T21" fmla="*/ 943 h 1601"/>
              <a:gd name="T22" fmla="*/ 1057 w 2114"/>
              <a:gd name="T23" fmla="*/ 1201 h 1601"/>
              <a:gd name="T24" fmla="*/ 417 w 2114"/>
              <a:gd name="T25" fmla="*/ 943 h 1601"/>
              <a:gd name="T26" fmla="*/ 417 w 2114"/>
              <a:gd name="T27" fmla="*/ 883 h 1601"/>
              <a:gd name="T28" fmla="*/ 1057 w 2114"/>
              <a:gd name="T29" fmla="*/ 201 h 1601"/>
              <a:gd name="T30" fmla="*/ 937 w 2114"/>
              <a:gd name="T31" fmla="*/ 281 h 1601"/>
              <a:gd name="T32" fmla="*/ 1057 w 2114"/>
              <a:gd name="T33" fmla="*/ 361 h 1601"/>
              <a:gd name="T34" fmla="*/ 1153 w 2114"/>
              <a:gd name="T35" fmla="*/ 331 h 1601"/>
              <a:gd name="T36" fmla="*/ 1817 w 2114"/>
              <a:gd name="T37" fmla="*/ 397 h 1601"/>
              <a:gd name="T38" fmla="*/ 1857 w 2114"/>
              <a:gd name="T39" fmla="*/ 437 h 1601"/>
              <a:gd name="T40" fmla="*/ 1857 w 2114"/>
              <a:gd name="T41" fmla="*/ 648 h 1601"/>
              <a:gd name="T42" fmla="*/ 1777 w 2114"/>
              <a:gd name="T43" fmla="*/ 761 h 1601"/>
              <a:gd name="T44" fmla="*/ 1835 w 2114"/>
              <a:gd name="T45" fmla="*/ 863 h 1601"/>
              <a:gd name="T46" fmla="*/ 1799 w 2114"/>
              <a:gd name="T47" fmla="*/ 1169 h 1601"/>
              <a:gd name="T48" fmla="*/ 1777 w 2114"/>
              <a:gd name="T49" fmla="*/ 1561 h 1601"/>
              <a:gd name="T50" fmla="*/ 1777 w 2114"/>
              <a:gd name="T51" fmla="*/ 1601 h 1601"/>
              <a:gd name="T52" fmla="*/ 2017 w 2114"/>
              <a:gd name="T53" fmla="*/ 1601 h 1601"/>
              <a:gd name="T54" fmla="*/ 2017 w 2114"/>
              <a:gd name="T55" fmla="*/ 1561 h 1601"/>
              <a:gd name="T56" fmla="*/ 1995 w 2114"/>
              <a:gd name="T57" fmla="*/ 1169 h 1601"/>
              <a:gd name="T58" fmla="*/ 1959 w 2114"/>
              <a:gd name="T59" fmla="*/ 864 h 1601"/>
              <a:gd name="T60" fmla="*/ 2017 w 2114"/>
              <a:gd name="T61" fmla="*/ 761 h 1601"/>
              <a:gd name="T62" fmla="*/ 1937 w 2114"/>
              <a:gd name="T63" fmla="*/ 648 h 1601"/>
              <a:gd name="T64" fmla="*/ 1937 w 2114"/>
              <a:gd name="T65" fmla="*/ 437 h 1601"/>
              <a:gd name="T66" fmla="*/ 1825 w 2114"/>
              <a:gd name="T67" fmla="*/ 318 h 1601"/>
              <a:gd name="T68" fmla="*/ 1170 w 2114"/>
              <a:gd name="T69" fmla="*/ 252 h 1601"/>
              <a:gd name="T70" fmla="*/ 1057 w 2114"/>
              <a:gd name="T71" fmla="*/ 201 h 1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14" h="1601">
                <a:moveTo>
                  <a:pt x="0" y="292"/>
                </a:moveTo>
                <a:cubicBezTo>
                  <a:pt x="1057" y="0"/>
                  <a:pt x="1057" y="0"/>
                  <a:pt x="1057" y="0"/>
                </a:cubicBezTo>
                <a:cubicBezTo>
                  <a:pt x="2114" y="292"/>
                  <a:pt x="2114" y="292"/>
                  <a:pt x="2114" y="292"/>
                </a:cubicBezTo>
                <a:cubicBezTo>
                  <a:pt x="1057" y="643"/>
                  <a:pt x="1057" y="643"/>
                  <a:pt x="1057" y="643"/>
                </a:cubicBezTo>
                <a:lnTo>
                  <a:pt x="0" y="292"/>
                </a:lnTo>
                <a:close/>
                <a:moveTo>
                  <a:pt x="417" y="883"/>
                </a:moveTo>
                <a:cubicBezTo>
                  <a:pt x="417" y="760"/>
                  <a:pt x="445" y="643"/>
                  <a:pt x="507" y="545"/>
                </a:cubicBezTo>
                <a:cubicBezTo>
                  <a:pt x="1057" y="727"/>
                  <a:pt x="1057" y="727"/>
                  <a:pt x="1057" y="727"/>
                </a:cubicBezTo>
                <a:cubicBezTo>
                  <a:pt x="1607" y="545"/>
                  <a:pt x="1607" y="545"/>
                  <a:pt x="1607" y="545"/>
                </a:cubicBezTo>
                <a:cubicBezTo>
                  <a:pt x="1669" y="643"/>
                  <a:pt x="1697" y="760"/>
                  <a:pt x="1697" y="883"/>
                </a:cubicBezTo>
                <a:cubicBezTo>
                  <a:pt x="1697" y="943"/>
                  <a:pt x="1697" y="943"/>
                  <a:pt x="1697" y="943"/>
                </a:cubicBezTo>
                <a:cubicBezTo>
                  <a:pt x="1572" y="1147"/>
                  <a:pt x="1277" y="1201"/>
                  <a:pt x="1057" y="1201"/>
                </a:cubicBezTo>
                <a:cubicBezTo>
                  <a:pt x="837" y="1201"/>
                  <a:pt x="542" y="1147"/>
                  <a:pt x="417" y="943"/>
                </a:cubicBezTo>
                <a:lnTo>
                  <a:pt x="417" y="883"/>
                </a:lnTo>
                <a:close/>
                <a:moveTo>
                  <a:pt x="1057" y="201"/>
                </a:moveTo>
                <a:cubicBezTo>
                  <a:pt x="1009" y="201"/>
                  <a:pt x="937" y="223"/>
                  <a:pt x="937" y="281"/>
                </a:cubicBezTo>
                <a:cubicBezTo>
                  <a:pt x="937" y="339"/>
                  <a:pt x="1009" y="361"/>
                  <a:pt x="1057" y="361"/>
                </a:cubicBezTo>
                <a:cubicBezTo>
                  <a:pt x="1089" y="361"/>
                  <a:pt x="1128" y="353"/>
                  <a:pt x="1153" y="331"/>
                </a:cubicBezTo>
                <a:cubicBezTo>
                  <a:pt x="1817" y="397"/>
                  <a:pt x="1817" y="397"/>
                  <a:pt x="1817" y="397"/>
                </a:cubicBezTo>
                <a:cubicBezTo>
                  <a:pt x="1838" y="399"/>
                  <a:pt x="1857" y="415"/>
                  <a:pt x="1857" y="437"/>
                </a:cubicBezTo>
                <a:cubicBezTo>
                  <a:pt x="1857" y="648"/>
                  <a:pt x="1857" y="648"/>
                  <a:pt x="1857" y="648"/>
                </a:cubicBezTo>
                <a:cubicBezTo>
                  <a:pt x="1809" y="665"/>
                  <a:pt x="1777" y="710"/>
                  <a:pt x="1777" y="761"/>
                </a:cubicBezTo>
                <a:cubicBezTo>
                  <a:pt x="1777" y="803"/>
                  <a:pt x="1799" y="842"/>
                  <a:pt x="1835" y="863"/>
                </a:cubicBezTo>
                <a:cubicBezTo>
                  <a:pt x="1822" y="959"/>
                  <a:pt x="1809" y="1065"/>
                  <a:pt x="1799" y="1169"/>
                </a:cubicBezTo>
                <a:cubicBezTo>
                  <a:pt x="1786" y="1310"/>
                  <a:pt x="1777" y="1449"/>
                  <a:pt x="1777" y="1561"/>
                </a:cubicBezTo>
                <a:cubicBezTo>
                  <a:pt x="1777" y="1601"/>
                  <a:pt x="1777" y="1601"/>
                  <a:pt x="1777" y="1601"/>
                </a:cubicBezTo>
                <a:cubicBezTo>
                  <a:pt x="1857" y="1601"/>
                  <a:pt x="1937" y="1601"/>
                  <a:pt x="2017" y="1601"/>
                </a:cubicBezTo>
                <a:cubicBezTo>
                  <a:pt x="2017" y="1561"/>
                  <a:pt x="2017" y="1561"/>
                  <a:pt x="2017" y="1561"/>
                </a:cubicBezTo>
                <a:cubicBezTo>
                  <a:pt x="2017" y="1449"/>
                  <a:pt x="2008" y="1310"/>
                  <a:pt x="1995" y="1169"/>
                </a:cubicBezTo>
                <a:cubicBezTo>
                  <a:pt x="1985" y="1065"/>
                  <a:pt x="1973" y="960"/>
                  <a:pt x="1959" y="864"/>
                </a:cubicBezTo>
                <a:cubicBezTo>
                  <a:pt x="1995" y="842"/>
                  <a:pt x="2017" y="803"/>
                  <a:pt x="2017" y="761"/>
                </a:cubicBezTo>
                <a:cubicBezTo>
                  <a:pt x="2017" y="710"/>
                  <a:pt x="1985" y="665"/>
                  <a:pt x="1937" y="648"/>
                </a:cubicBezTo>
                <a:cubicBezTo>
                  <a:pt x="1937" y="437"/>
                  <a:pt x="1937" y="437"/>
                  <a:pt x="1937" y="437"/>
                </a:cubicBezTo>
                <a:cubicBezTo>
                  <a:pt x="1937" y="373"/>
                  <a:pt x="1887" y="324"/>
                  <a:pt x="1825" y="318"/>
                </a:cubicBezTo>
                <a:cubicBezTo>
                  <a:pt x="1170" y="252"/>
                  <a:pt x="1170" y="252"/>
                  <a:pt x="1170" y="252"/>
                </a:cubicBezTo>
                <a:cubicBezTo>
                  <a:pt x="1150" y="214"/>
                  <a:pt x="1097" y="201"/>
                  <a:pt x="1057" y="20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40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rgbClr val="008442"/>
          </a:solidFill>
        </p:spPr>
        <p:txBody>
          <a:bodyPr/>
          <a:lstStyle/>
          <a:p>
            <a:pPr>
              <a:spcAft>
                <a:spcPts val="400"/>
              </a:spcAft>
            </a:pPr>
            <a:r>
              <a:rPr lang="es-419" sz="4400" dirty="0" smtClean="0">
                <a:latin typeface="Corbel" panose="020B0503020204020204" pitchFamily="34" charset="0"/>
              </a:rPr>
              <a:t>Favores sexuales</a:t>
            </a:r>
            <a:endParaRPr lang="es-PE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229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20 Gráfico"/>
          <p:cNvGraphicFramePr/>
          <p:nvPr>
            <p:extLst/>
          </p:nvPr>
        </p:nvGraphicFramePr>
        <p:xfrm>
          <a:off x="602900" y="1255595"/>
          <a:ext cx="4665136" cy="5125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5" name="Conector recto 4"/>
          <p:cNvCxnSpPr/>
          <p:nvPr/>
        </p:nvCxnSpPr>
        <p:spPr>
          <a:xfrm>
            <a:off x="594703" y="1638879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ector recto 5"/>
          <p:cNvCxnSpPr/>
          <p:nvPr/>
        </p:nvCxnSpPr>
        <p:spPr>
          <a:xfrm>
            <a:off x="594703" y="3620475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cto 6"/>
          <p:cNvCxnSpPr/>
          <p:nvPr/>
        </p:nvCxnSpPr>
        <p:spPr>
          <a:xfrm>
            <a:off x="594703" y="4393748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cto 7"/>
          <p:cNvCxnSpPr/>
          <p:nvPr/>
        </p:nvCxnSpPr>
        <p:spPr>
          <a:xfrm>
            <a:off x="594702" y="5181760"/>
            <a:ext cx="6884269" cy="0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uadroTexto 8"/>
          <p:cNvSpPr txBox="1"/>
          <p:nvPr/>
        </p:nvSpPr>
        <p:spPr bwMode="gray">
          <a:xfrm>
            <a:off x="6104311" y="2786944"/>
            <a:ext cx="180562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Nivel socioeconómico</a:t>
            </a:r>
          </a:p>
        </p:txBody>
      </p:sp>
      <p:sp>
        <p:nvSpPr>
          <p:cNvPr id="10" name="CuadroTexto 9"/>
          <p:cNvSpPr txBox="1"/>
          <p:nvPr/>
        </p:nvSpPr>
        <p:spPr bwMode="gray">
          <a:xfrm>
            <a:off x="6141660" y="5709950"/>
            <a:ext cx="12526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Edad</a:t>
            </a:r>
          </a:p>
        </p:txBody>
      </p:sp>
      <p:sp>
        <p:nvSpPr>
          <p:cNvPr id="11" name="Freeform 43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448989" y="2765727"/>
            <a:ext cx="362036" cy="502235"/>
          </a:xfrm>
          <a:custGeom>
            <a:avLst/>
            <a:gdLst>
              <a:gd name="T0" fmla="*/ 1001 w 1442"/>
              <a:gd name="T1" fmla="*/ 1240 h 2000"/>
              <a:gd name="T2" fmla="*/ 761 w 1442"/>
              <a:gd name="T3" fmla="*/ 1040 h 2000"/>
              <a:gd name="T4" fmla="*/ 681 w 1442"/>
              <a:gd name="T5" fmla="*/ 960 h 2000"/>
              <a:gd name="T6" fmla="*/ 641 w 1442"/>
              <a:gd name="T7" fmla="*/ 1040 h 2000"/>
              <a:gd name="T8" fmla="*/ 641 w 1442"/>
              <a:gd name="T9" fmla="*/ 1440 h 2000"/>
              <a:gd name="T10" fmla="*/ 681 w 1442"/>
              <a:gd name="T11" fmla="*/ 1680 h 2000"/>
              <a:gd name="T12" fmla="*/ 521 w 1442"/>
              <a:gd name="T13" fmla="*/ 1560 h 2000"/>
              <a:gd name="T14" fmla="*/ 641 w 1442"/>
              <a:gd name="T15" fmla="*/ 1760 h 2000"/>
              <a:gd name="T16" fmla="*/ 681 w 1442"/>
              <a:gd name="T17" fmla="*/ 1840 h 2000"/>
              <a:gd name="T18" fmla="*/ 761 w 1442"/>
              <a:gd name="T19" fmla="*/ 1760 h 2000"/>
              <a:gd name="T20" fmla="*/ 1001 w 1442"/>
              <a:gd name="T21" fmla="*/ 1560 h 2000"/>
              <a:gd name="T22" fmla="*/ 761 w 1442"/>
              <a:gd name="T23" fmla="*/ 1360 h 2000"/>
              <a:gd name="T24" fmla="*/ 801 w 1442"/>
              <a:gd name="T25" fmla="*/ 1120 h 2000"/>
              <a:gd name="T26" fmla="*/ 831 w 1442"/>
              <a:gd name="T27" fmla="*/ 13 h 2000"/>
              <a:gd name="T28" fmla="*/ 1140 w 1442"/>
              <a:gd name="T29" fmla="*/ 190 h 2000"/>
              <a:gd name="T30" fmla="*/ 831 w 1442"/>
              <a:gd name="T31" fmla="*/ 13 h 2000"/>
              <a:gd name="T32" fmla="*/ 373 w 1442"/>
              <a:gd name="T33" fmla="*/ 350 h 2000"/>
              <a:gd name="T34" fmla="*/ 317 w 1442"/>
              <a:gd name="T35" fmla="*/ 114 h 2000"/>
              <a:gd name="T36" fmla="*/ 960 w 1442"/>
              <a:gd name="T37" fmla="*/ 400 h 2000"/>
              <a:gd name="T38" fmla="*/ 681 w 1442"/>
              <a:gd name="T39" fmla="*/ 1120 h 2000"/>
              <a:gd name="T40" fmla="*/ 521 w 1442"/>
              <a:gd name="T41" fmla="*/ 1240 h 2000"/>
              <a:gd name="T42" fmla="*/ 641 w 1442"/>
              <a:gd name="T43" fmla="*/ 1360 h 2000"/>
              <a:gd name="T44" fmla="*/ 681 w 1442"/>
              <a:gd name="T45" fmla="*/ 1120 h 2000"/>
              <a:gd name="T46" fmla="*/ 801 w 1442"/>
              <a:gd name="T47" fmla="*/ 1680 h 2000"/>
              <a:gd name="T48" fmla="*/ 801 w 1442"/>
              <a:gd name="T49" fmla="*/ 1440 h 2000"/>
              <a:gd name="T50" fmla="*/ 761 w 1442"/>
              <a:gd name="T51" fmla="*/ 1680 h 2000"/>
              <a:gd name="T52" fmla="*/ 1160 w 1442"/>
              <a:gd name="T53" fmla="*/ 872 h 2000"/>
              <a:gd name="T54" fmla="*/ 1441 w 1442"/>
              <a:gd name="T55" fmla="*/ 1494 h 2000"/>
              <a:gd name="T56" fmla="*/ 1409 w 1442"/>
              <a:gd name="T57" fmla="*/ 1894 h 2000"/>
              <a:gd name="T58" fmla="*/ 161 w 1442"/>
              <a:gd name="T59" fmla="*/ 2000 h 2000"/>
              <a:gd name="T60" fmla="*/ 1 w 1442"/>
              <a:gd name="T61" fmla="*/ 1516 h 2000"/>
              <a:gd name="T62" fmla="*/ 65 w 1442"/>
              <a:gd name="T63" fmla="*/ 1170 h 2000"/>
              <a:gd name="T64" fmla="*/ 481 w 1442"/>
              <a:gd name="T65" fmla="*/ 640 h 2000"/>
              <a:gd name="T66" fmla="*/ 961 w 1442"/>
              <a:gd name="T67" fmla="*/ 480 h 2000"/>
              <a:gd name="T68" fmla="*/ 481 w 1442"/>
              <a:gd name="T69" fmla="*/ 560 h 2000"/>
              <a:gd name="T70" fmla="*/ 961 w 1442"/>
              <a:gd name="T71" fmla="*/ 480 h 2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42" h="2000">
                <a:moveTo>
                  <a:pt x="921" y="1240"/>
                </a:moveTo>
                <a:cubicBezTo>
                  <a:pt x="1001" y="1240"/>
                  <a:pt x="1001" y="1240"/>
                  <a:pt x="1001" y="1240"/>
                </a:cubicBezTo>
                <a:cubicBezTo>
                  <a:pt x="1001" y="1130"/>
                  <a:pt x="911" y="1040"/>
                  <a:pt x="801" y="1040"/>
                </a:cubicBezTo>
                <a:cubicBezTo>
                  <a:pt x="761" y="1040"/>
                  <a:pt x="761" y="1040"/>
                  <a:pt x="761" y="1040"/>
                </a:cubicBezTo>
                <a:cubicBezTo>
                  <a:pt x="761" y="960"/>
                  <a:pt x="761" y="960"/>
                  <a:pt x="761" y="960"/>
                </a:cubicBezTo>
                <a:cubicBezTo>
                  <a:pt x="681" y="960"/>
                  <a:pt x="681" y="960"/>
                  <a:pt x="681" y="960"/>
                </a:cubicBezTo>
                <a:cubicBezTo>
                  <a:pt x="681" y="1040"/>
                  <a:pt x="681" y="1040"/>
                  <a:pt x="681" y="1040"/>
                </a:cubicBezTo>
                <a:cubicBezTo>
                  <a:pt x="641" y="1040"/>
                  <a:pt x="641" y="1040"/>
                  <a:pt x="641" y="1040"/>
                </a:cubicBezTo>
                <a:cubicBezTo>
                  <a:pt x="531" y="1040"/>
                  <a:pt x="441" y="1130"/>
                  <a:pt x="441" y="1240"/>
                </a:cubicBezTo>
                <a:cubicBezTo>
                  <a:pt x="441" y="1350"/>
                  <a:pt x="531" y="1440"/>
                  <a:pt x="641" y="1440"/>
                </a:cubicBezTo>
                <a:cubicBezTo>
                  <a:pt x="681" y="1440"/>
                  <a:pt x="681" y="1440"/>
                  <a:pt x="681" y="1440"/>
                </a:cubicBezTo>
                <a:cubicBezTo>
                  <a:pt x="681" y="1680"/>
                  <a:pt x="681" y="1680"/>
                  <a:pt x="681" y="1680"/>
                </a:cubicBezTo>
                <a:cubicBezTo>
                  <a:pt x="641" y="1680"/>
                  <a:pt x="641" y="1680"/>
                  <a:pt x="641" y="1680"/>
                </a:cubicBezTo>
                <a:cubicBezTo>
                  <a:pt x="575" y="1680"/>
                  <a:pt x="521" y="1626"/>
                  <a:pt x="521" y="1560"/>
                </a:cubicBezTo>
                <a:cubicBezTo>
                  <a:pt x="441" y="1560"/>
                  <a:pt x="441" y="1560"/>
                  <a:pt x="441" y="1560"/>
                </a:cubicBezTo>
                <a:cubicBezTo>
                  <a:pt x="441" y="1670"/>
                  <a:pt x="531" y="1760"/>
                  <a:pt x="641" y="1760"/>
                </a:cubicBezTo>
                <a:cubicBezTo>
                  <a:pt x="681" y="1760"/>
                  <a:pt x="681" y="1760"/>
                  <a:pt x="681" y="1760"/>
                </a:cubicBezTo>
                <a:cubicBezTo>
                  <a:pt x="681" y="1840"/>
                  <a:pt x="681" y="1840"/>
                  <a:pt x="681" y="1840"/>
                </a:cubicBezTo>
                <a:cubicBezTo>
                  <a:pt x="761" y="1840"/>
                  <a:pt x="761" y="1840"/>
                  <a:pt x="761" y="1840"/>
                </a:cubicBezTo>
                <a:cubicBezTo>
                  <a:pt x="761" y="1760"/>
                  <a:pt x="761" y="1760"/>
                  <a:pt x="761" y="1760"/>
                </a:cubicBezTo>
                <a:cubicBezTo>
                  <a:pt x="801" y="1760"/>
                  <a:pt x="801" y="1760"/>
                  <a:pt x="801" y="1760"/>
                </a:cubicBezTo>
                <a:cubicBezTo>
                  <a:pt x="911" y="1760"/>
                  <a:pt x="1001" y="1670"/>
                  <a:pt x="1001" y="1560"/>
                </a:cubicBezTo>
                <a:cubicBezTo>
                  <a:pt x="1001" y="1450"/>
                  <a:pt x="911" y="1360"/>
                  <a:pt x="801" y="1360"/>
                </a:cubicBezTo>
                <a:cubicBezTo>
                  <a:pt x="761" y="1360"/>
                  <a:pt x="761" y="1360"/>
                  <a:pt x="761" y="1360"/>
                </a:cubicBezTo>
                <a:cubicBezTo>
                  <a:pt x="761" y="1120"/>
                  <a:pt x="761" y="1120"/>
                  <a:pt x="761" y="1120"/>
                </a:cubicBezTo>
                <a:cubicBezTo>
                  <a:pt x="801" y="1120"/>
                  <a:pt x="801" y="1120"/>
                  <a:pt x="801" y="1120"/>
                </a:cubicBezTo>
                <a:cubicBezTo>
                  <a:pt x="867" y="1120"/>
                  <a:pt x="921" y="1174"/>
                  <a:pt x="921" y="1240"/>
                </a:cubicBezTo>
                <a:close/>
                <a:moveTo>
                  <a:pt x="831" y="13"/>
                </a:moveTo>
                <a:cubicBezTo>
                  <a:pt x="874" y="4"/>
                  <a:pt x="918" y="0"/>
                  <a:pt x="961" y="0"/>
                </a:cubicBezTo>
                <a:cubicBezTo>
                  <a:pt x="1064" y="0"/>
                  <a:pt x="1140" y="90"/>
                  <a:pt x="1140" y="190"/>
                </a:cubicBezTo>
                <a:cubicBezTo>
                  <a:pt x="1140" y="269"/>
                  <a:pt x="1097" y="330"/>
                  <a:pt x="1038" y="378"/>
                </a:cubicBezTo>
                <a:cubicBezTo>
                  <a:pt x="1023" y="209"/>
                  <a:pt x="947" y="88"/>
                  <a:pt x="831" y="13"/>
                </a:cubicBezTo>
                <a:close/>
                <a:moveTo>
                  <a:pt x="433" y="400"/>
                </a:moveTo>
                <a:cubicBezTo>
                  <a:pt x="413" y="386"/>
                  <a:pt x="392" y="370"/>
                  <a:pt x="373" y="350"/>
                </a:cubicBezTo>
                <a:cubicBezTo>
                  <a:pt x="323" y="300"/>
                  <a:pt x="302" y="243"/>
                  <a:pt x="302" y="190"/>
                </a:cubicBezTo>
                <a:cubicBezTo>
                  <a:pt x="302" y="163"/>
                  <a:pt x="307" y="138"/>
                  <a:pt x="317" y="114"/>
                </a:cubicBezTo>
                <a:cubicBezTo>
                  <a:pt x="345" y="47"/>
                  <a:pt x="407" y="0"/>
                  <a:pt x="481" y="0"/>
                </a:cubicBezTo>
                <a:cubicBezTo>
                  <a:pt x="740" y="0"/>
                  <a:pt x="943" y="123"/>
                  <a:pt x="960" y="400"/>
                </a:cubicBezTo>
                <a:lnTo>
                  <a:pt x="433" y="400"/>
                </a:lnTo>
                <a:close/>
                <a:moveTo>
                  <a:pt x="681" y="1120"/>
                </a:moveTo>
                <a:cubicBezTo>
                  <a:pt x="641" y="1120"/>
                  <a:pt x="641" y="1120"/>
                  <a:pt x="641" y="1120"/>
                </a:cubicBezTo>
                <a:cubicBezTo>
                  <a:pt x="575" y="1120"/>
                  <a:pt x="521" y="1174"/>
                  <a:pt x="521" y="1240"/>
                </a:cubicBezTo>
                <a:cubicBezTo>
                  <a:pt x="521" y="1273"/>
                  <a:pt x="535" y="1303"/>
                  <a:pt x="556" y="1325"/>
                </a:cubicBezTo>
                <a:cubicBezTo>
                  <a:pt x="578" y="1346"/>
                  <a:pt x="608" y="1360"/>
                  <a:pt x="641" y="1360"/>
                </a:cubicBezTo>
                <a:cubicBezTo>
                  <a:pt x="681" y="1360"/>
                  <a:pt x="681" y="1360"/>
                  <a:pt x="681" y="1360"/>
                </a:cubicBezTo>
                <a:lnTo>
                  <a:pt x="681" y="1120"/>
                </a:lnTo>
                <a:close/>
                <a:moveTo>
                  <a:pt x="761" y="1680"/>
                </a:moveTo>
                <a:cubicBezTo>
                  <a:pt x="801" y="1680"/>
                  <a:pt x="801" y="1680"/>
                  <a:pt x="801" y="1680"/>
                </a:cubicBezTo>
                <a:cubicBezTo>
                  <a:pt x="867" y="1680"/>
                  <a:pt x="921" y="1626"/>
                  <a:pt x="921" y="1560"/>
                </a:cubicBezTo>
                <a:cubicBezTo>
                  <a:pt x="921" y="1494"/>
                  <a:pt x="867" y="1440"/>
                  <a:pt x="801" y="1440"/>
                </a:cubicBezTo>
                <a:cubicBezTo>
                  <a:pt x="761" y="1440"/>
                  <a:pt x="761" y="1440"/>
                  <a:pt x="761" y="1440"/>
                </a:cubicBezTo>
                <a:lnTo>
                  <a:pt x="761" y="1680"/>
                </a:lnTo>
                <a:close/>
                <a:moveTo>
                  <a:pt x="961" y="640"/>
                </a:moveTo>
                <a:cubicBezTo>
                  <a:pt x="961" y="679"/>
                  <a:pt x="1092" y="806"/>
                  <a:pt x="1160" y="872"/>
                </a:cubicBezTo>
                <a:cubicBezTo>
                  <a:pt x="1252" y="961"/>
                  <a:pt x="1326" y="1050"/>
                  <a:pt x="1377" y="1170"/>
                </a:cubicBezTo>
                <a:cubicBezTo>
                  <a:pt x="1420" y="1268"/>
                  <a:pt x="1441" y="1374"/>
                  <a:pt x="1441" y="1494"/>
                </a:cubicBezTo>
                <a:cubicBezTo>
                  <a:pt x="1441" y="1516"/>
                  <a:pt x="1441" y="1516"/>
                  <a:pt x="1441" y="1516"/>
                </a:cubicBezTo>
                <a:cubicBezTo>
                  <a:pt x="1441" y="1635"/>
                  <a:pt x="1442" y="1779"/>
                  <a:pt x="1409" y="1894"/>
                </a:cubicBezTo>
                <a:cubicBezTo>
                  <a:pt x="1392" y="1955"/>
                  <a:pt x="1348" y="2000"/>
                  <a:pt x="1281" y="2000"/>
                </a:cubicBezTo>
                <a:cubicBezTo>
                  <a:pt x="161" y="2000"/>
                  <a:pt x="161" y="2000"/>
                  <a:pt x="161" y="2000"/>
                </a:cubicBezTo>
                <a:cubicBezTo>
                  <a:pt x="94" y="2000"/>
                  <a:pt x="50" y="1955"/>
                  <a:pt x="33" y="1894"/>
                </a:cubicBezTo>
                <a:cubicBezTo>
                  <a:pt x="0" y="1779"/>
                  <a:pt x="1" y="1635"/>
                  <a:pt x="1" y="1516"/>
                </a:cubicBezTo>
                <a:cubicBezTo>
                  <a:pt x="1" y="1494"/>
                  <a:pt x="1" y="1494"/>
                  <a:pt x="1" y="1494"/>
                </a:cubicBezTo>
                <a:cubicBezTo>
                  <a:pt x="1" y="1374"/>
                  <a:pt x="22" y="1268"/>
                  <a:pt x="65" y="1170"/>
                </a:cubicBezTo>
                <a:cubicBezTo>
                  <a:pt x="116" y="1050"/>
                  <a:pt x="190" y="961"/>
                  <a:pt x="282" y="872"/>
                </a:cubicBezTo>
                <a:cubicBezTo>
                  <a:pt x="350" y="806"/>
                  <a:pt x="481" y="679"/>
                  <a:pt x="481" y="640"/>
                </a:cubicBezTo>
                <a:lnTo>
                  <a:pt x="961" y="640"/>
                </a:lnTo>
                <a:close/>
                <a:moveTo>
                  <a:pt x="961" y="480"/>
                </a:moveTo>
                <a:cubicBezTo>
                  <a:pt x="481" y="480"/>
                  <a:pt x="481" y="480"/>
                  <a:pt x="481" y="480"/>
                </a:cubicBezTo>
                <a:cubicBezTo>
                  <a:pt x="481" y="560"/>
                  <a:pt x="481" y="560"/>
                  <a:pt x="481" y="560"/>
                </a:cubicBezTo>
                <a:cubicBezTo>
                  <a:pt x="961" y="560"/>
                  <a:pt x="961" y="560"/>
                  <a:pt x="961" y="560"/>
                </a:cubicBezTo>
                <a:lnTo>
                  <a:pt x="961" y="48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2" name="Freeform 22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409034" y="5533296"/>
            <a:ext cx="515853" cy="505336"/>
          </a:xfrm>
          <a:custGeom>
            <a:avLst/>
            <a:gdLst>
              <a:gd name="T0" fmla="*/ 1640 w 2160"/>
              <a:gd name="T1" fmla="*/ 317 h 2116"/>
              <a:gd name="T2" fmla="*/ 1753 w 2160"/>
              <a:gd name="T3" fmla="*/ 214 h 2116"/>
              <a:gd name="T4" fmla="*/ 1760 w 2160"/>
              <a:gd name="T5" fmla="*/ 436 h 2116"/>
              <a:gd name="T6" fmla="*/ 1680 w 2160"/>
              <a:gd name="T7" fmla="*/ 916 h 2116"/>
              <a:gd name="T8" fmla="*/ 320 w 2160"/>
              <a:gd name="T9" fmla="*/ 656 h 2116"/>
              <a:gd name="T10" fmla="*/ 560 w 2160"/>
              <a:gd name="T11" fmla="*/ 916 h 2116"/>
              <a:gd name="T12" fmla="*/ 640 w 2160"/>
              <a:gd name="T13" fmla="*/ 756 h 2116"/>
              <a:gd name="T14" fmla="*/ 880 w 2160"/>
              <a:gd name="T15" fmla="*/ 562 h 2116"/>
              <a:gd name="T16" fmla="*/ 1080 w 2160"/>
              <a:gd name="T17" fmla="*/ 1196 h 2116"/>
              <a:gd name="T18" fmla="*/ 1280 w 2160"/>
              <a:gd name="T19" fmla="*/ 562 h 2116"/>
              <a:gd name="T20" fmla="*/ 1520 w 2160"/>
              <a:gd name="T21" fmla="*/ 756 h 2116"/>
              <a:gd name="T22" fmla="*/ 1600 w 2160"/>
              <a:gd name="T23" fmla="*/ 916 h 2116"/>
              <a:gd name="T24" fmla="*/ 1840 w 2160"/>
              <a:gd name="T25" fmla="*/ 656 h 2116"/>
              <a:gd name="T26" fmla="*/ 1080 w 2160"/>
              <a:gd name="T27" fmla="*/ 1276 h 2116"/>
              <a:gd name="T28" fmla="*/ 0 w 2160"/>
              <a:gd name="T29" fmla="*/ 916 h 2116"/>
              <a:gd name="T30" fmla="*/ 2121 w 2160"/>
              <a:gd name="T31" fmla="*/ 1280 h 2116"/>
              <a:gd name="T32" fmla="*/ 1974 w 2160"/>
              <a:gd name="T33" fmla="*/ 1552 h 2116"/>
              <a:gd name="T34" fmla="*/ 1666 w 2160"/>
              <a:gd name="T35" fmla="*/ 1627 h 2116"/>
              <a:gd name="T36" fmla="*/ 1322 w 2160"/>
              <a:gd name="T37" fmla="*/ 1605 h 2116"/>
              <a:gd name="T38" fmla="*/ 984 w 2160"/>
              <a:gd name="T39" fmla="*/ 1723 h 2116"/>
              <a:gd name="T40" fmla="*/ 574 w 2160"/>
              <a:gd name="T41" fmla="*/ 1736 h 2116"/>
              <a:gd name="T42" fmla="*/ 267 w 2160"/>
              <a:gd name="T43" fmla="*/ 1531 h 2116"/>
              <a:gd name="T44" fmla="*/ 78 w 2160"/>
              <a:gd name="T45" fmla="*/ 1344 h 2116"/>
              <a:gd name="T46" fmla="*/ 1080 w 2160"/>
              <a:gd name="T47" fmla="*/ 1352 h 2116"/>
              <a:gd name="T48" fmla="*/ 2160 w 2160"/>
              <a:gd name="T49" fmla="*/ 1364 h 2116"/>
              <a:gd name="T50" fmla="*/ 1827 w 2160"/>
              <a:gd name="T51" fmla="*/ 2020 h 2116"/>
              <a:gd name="T52" fmla="*/ 0 w 2160"/>
              <a:gd name="T53" fmla="*/ 1756 h 2116"/>
              <a:gd name="T54" fmla="*/ 66 w 2160"/>
              <a:gd name="T55" fmla="*/ 1517 h 2116"/>
              <a:gd name="T56" fmla="*/ 361 w 2160"/>
              <a:gd name="T57" fmla="*/ 1572 h 2116"/>
              <a:gd name="T58" fmla="*/ 688 w 2160"/>
              <a:gd name="T59" fmla="*/ 1750 h 2116"/>
              <a:gd name="T60" fmla="*/ 1080 w 2160"/>
              <a:gd name="T61" fmla="*/ 1876 h 2116"/>
              <a:gd name="T62" fmla="*/ 1472 w 2160"/>
              <a:gd name="T63" fmla="*/ 1750 h 2116"/>
              <a:gd name="T64" fmla="*/ 1799 w 2160"/>
              <a:gd name="T65" fmla="*/ 1572 h 2116"/>
              <a:gd name="T66" fmla="*/ 2094 w 2160"/>
              <a:gd name="T67" fmla="*/ 1517 h 2116"/>
              <a:gd name="T68" fmla="*/ 793 w 2160"/>
              <a:gd name="T69" fmla="*/ 53 h 2116"/>
              <a:gd name="T70" fmla="*/ 680 w 2160"/>
              <a:gd name="T71" fmla="*/ 156 h 2116"/>
              <a:gd name="T72" fmla="*/ 793 w 2160"/>
              <a:gd name="T73" fmla="*/ 53 h 2116"/>
              <a:gd name="T74" fmla="*/ 1084 w 2160"/>
              <a:gd name="T75" fmla="*/ 556 h 2116"/>
              <a:gd name="T76" fmla="*/ 1080 w 2160"/>
              <a:gd name="T77" fmla="*/ 1116 h 2116"/>
              <a:gd name="T78" fmla="*/ 1076 w 2160"/>
              <a:gd name="T79" fmla="*/ 556 h 2116"/>
              <a:gd name="T80" fmla="*/ 1075 w 2160"/>
              <a:gd name="T81" fmla="*/ 321 h 2116"/>
              <a:gd name="T82" fmla="*/ 519 w 2160"/>
              <a:gd name="T83" fmla="*/ 317 h 2116"/>
              <a:gd name="T84" fmla="*/ 480 w 2160"/>
              <a:gd name="T85" fmla="*/ 916 h 2116"/>
              <a:gd name="T86" fmla="*/ 400 w 2160"/>
              <a:gd name="T87" fmla="*/ 436 h 2116"/>
              <a:gd name="T88" fmla="*/ 405 w 2160"/>
              <a:gd name="T89" fmla="*/ 219 h 2116"/>
              <a:gd name="T90" fmla="*/ 1433 w 2160"/>
              <a:gd name="T91" fmla="*/ 54 h 2116"/>
              <a:gd name="T92" fmla="*/ 1440 w 2160"/>
              <a:gd name="T93" fmla="*/ 276 h 2116"/>
              <a:gd name="T94" fmla="*/ 1360 w 2160"/>
              <a:gd name="T95" fmla="*/ 756 h 2116"/>
              <a:gd name="T96" fmla="*/ 1320 w 2160"/>
              <a:gd name="T97" fmla="*/ 157 h 2116"/>
              <a:gd name="T98" fmla="*/ 1433 w 2160"/>
              <a:gd name="T99" fmla="*/ 54 h 2116"/>
              <a:gd name="T100" fmla="*/ 800 w 2160"/>
              <a:gd name="T101" fmla="*/ 276 h 2116"/>
              <a:gd name="T102" fmla="*/ 720 w 2160"/>
              <a:gd name="T103" fmla="*/ 756 h 2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60" h="2116">
                <a:moveTo>
                  <a:pt x="1680" y="436"/>
                </a:moveTo>
                <a:cubicBezTo>
                  <a:pt x="1680" y="416"/>
                  <a:pt x="1696" y="399"/>
                  <a:pt x="1716" y="396"/>
                </a:cubicBezTo>
                <a:cubicBezTo>
                  <a:pt x="1673" y="394"/>
                  <a:pt x="1640" y="359"/>
                  <a:pt x="1640" y="317"/>
                </a:cubicBezTo>
                <a:cubicBezTo>
                  <a:pt x="1640" y="280"/>
                  <a:pt x="1668" y="250"/>
                  <a:pt x="1685" y="219"/>
                </a:cubicBezTo>
                <a:cubicBezTo>
                  <a:pt x="1715" y="161"/>
                  <a:pt x="1715" y="161"/>
                  <a:pt x="1715" y="161"/>
                </a:cubicBezTo>
                <a:cubicBezTo>
                  <a:pt x="1753" y="214"/>
                  <a:pt x="1753" y="214"/>
                  <a:pt x="1753" y="214"/>
                </a:cubicBezTo>
                <a:cubicBezTo>
                  <a:pt x="1774" y="244"/>
                  <a:pt x="1799" y="279"/>
                  <a:pt x="1799" y="317"/>
                </a:cubicBezTo>
                <a:cubicBezTo>
                  <a:pt x="1799" y="359"/>
                  <a:pt x="1766" y="394"/>
                  <a:pt x="1724" y="396"/>
                </a:cubicBezTo>
                <a:cubicBezTo>
                  <a:pt x="1744" y="398"/>
                  <a:pt x="1760" y="416"/>
                  <a:pt x="1760" y="436"/>
                </a:cubicBezTo>
                <a:cubicBezTo>
                  <a:pt x="1760" y="916"/>
                  <a:pt x="1760" y="916"/>
                  <a:pt x="1760" y="916"/>
                </a:cubicBezTo>
                <a:cubicBezTo>
                  <a:pt x="1760" y="938"/>
                  <a:pt x="1742" y="956"/>
                  <a:pt x="1720" y="956"/>
                </a:cubicBezTo>
                <a:cubicBezTo>
                  <a:pt x="1698" y="956"/>
                  <a:pt x="1680" y="938"/>
                  <a:pt x="1680" y="916"/>
                </a:cubicBezTo>
                <a:lnTo>
                  <a:pt x="1680" y="436"/>
                </a:lnTo>
                <a:close/>
                <a:moveTo>
                  <a:pt x="0" y="916"/>
                </a:moveTo>
                <a:cubicBezTo>
                  <a:pt x="0" y="810"/>
                  <a:pt x="122" y="719"/>
                  <a:pt x="320" y="656"/>
                </a:cubicBezTo>
                <a:cubicBezTo>
                  <a:pt x="320" y="916"/>
                  <a:pt x="320" y="916"/>
                  <a:pt x="320" y="916"/>
                </a:cubicBezTo>
                <a:cubicBezTo>
                  <a:pt x="320" y="982"/>
                  <a:pt x="374" y="1036"/>
                  <a:pt x="440" y="1036"/>
                </a:cubicBezTo>
                <a:cubicBezTo>
                  <a:pt x="506" y="1036"/>
                  <a:pt x="560" y="982"/>
                  <a:pt x="560" y="916"/>
                </a:cubicBezTo>
                <a:cubicBezTo>
                  <a:pt x="560" y="598"/>
                  <a:pt x="560" y="598"/>
                  <a:pt x="560" y="598"/>
                </a:cubicBezTo>
                <a:cubicBezTo>
                  <a:pt x="586" y="594"/>
                  <a:pt x="613" y="590"/>
                  <a:pt x="640" y="586"/>
                </a:cubicBezTo>
                <a:cubicBezTo>
                  <a:pt x="640" y="756"/>
                  <a:pt x="640" y="756"/>
                  <a:pt x="640" y="756"/>
                </a:cubicBezTo>
                <a:cubicBezTo>
                  <a:pt x="640" y="822"/>
                  <a:pt x="694" y="876"/>
                  <a:pt x="760" y="876"/>
                </a:cubicBezTo>
                <a:cubicBezTo>
                  <a:pt x="826" y="876"/>
                  <a:pt x="880" y="822"/>
                  <a:pt x="880" y="756"/>
                </a:cubicBezTo>
                <a:cubicBezTo>
                  <a:pt x="880" y="562"/>
                  <a:pt x="880" y="562"/>
                  <a:pt x="880" y="562"/>
                </a:cubicBezTo>
                <a:cubicBezTo>
                  <a:pt x="906" y="560"/>
                  <a:pt x="933" y="559"/>
                  <a:pt x="960" y="558"/>
                </a:cubicBezTo>
                <a:cubicBezTo>
                  <a:pt x="960" y="1076"/>
                  <a:pt x="960" y="1076"/>
                  <a:pt x="960" y="1076"/>
                </a:cubicBezTo>
                <a:cubicBezTo>
                  <a:pt x="960" y="1142"/>
                  <a:pt x="1014" y="1196"/>
                  <a:pt x="1080" y="1196"/>
                </a:cubicBezTo>
                <a:cubicBezTo>
                  <a:pt x="1146" y="1196"/>
                  <a:pt x="1200" y="1142"/>
                  <a:pt x="1200" y="1076"/>
                </a:cubicBezTo>
                <a:cubicBezTo>
                  <a:pt x="1200" y="558"/>
                  <a:pt x="1200" y="558"/>
                  <a:pt x="1200" y="558"/>
                </a:cubicBezTo>
                <a:cubicBezTo>
                  <a:pt x="1227" y="559"/>
                  <a:pt x="1254" y="560"/>
                  <a:pt x="1280" y="562"/>
                </a:cubicBezTo>
                <a:cubicBezTo>
                  <a:pt x="1280" y="756"/>
                  <a:pt x="1280" y="756"/>
                  <a:pt x="1280" y="756"/>
                </a:cubicBezTo>
                <a:cubicBezTo>
                  <a:pt x="1280" y="822"/>
                  <a:pt x="1334" y="876"/>
                  <a:pt x="1400" y="876"/>
                </a:cubicBezTo>
                <a:cubicBezTo>
                  <a:pt x="1466" y="876"/>
                  <a:pt x="1520" y="822"/>
                  <a:pt x="1520" y="756"/>
                </a:cubicBezTo>
                <a:cubicBezTo>
                  <a:pt x="1520" y="586"/>
                  <a:pt x="1520" y="586"/>
                  <a:pt x="1520" y="586"/>
                </a:cubicBezTo>
                <a:cubicBezTo>
                  <a:pt x="1547" y="590"/>
                  <a:pt x="1574" y="594"/>
                  <a:pt x="1600" y="598"/>
                </a:cubicBezTo>
                <a:cubicBezTo>
                  <a:pt x="1600" y="916"/>
                  <a:pt x="1600" y="916"/>
                  <a:pt x="1600" y="916"/>
                </a:cubicBezTo>
                <a:cubicBezTo>
                  <a:pt x="1600" y="982"/>
                  <a:pt x="1654" y="1036"/>
                  <a:pt x="1720" y="1036"/>
                </a:cubicBezTo>
                <a:cubicBezTo>
                  <a:pt x="1786" y="1036"/>
                  <a:pt x="1840" y="982"/>
                  <a:pt x="1840" y="916"/>
                </a:cubicBezTo>
                <a:cubicBezTo>
                  <a:pt x="1840" y="656"/>
                  <a:pt x="1840" y="656"/>
                  <a:pt x="1840" y="656"/>
                </a:cubicBezTo>
                <a:cubicBezTo>
                  <a:pt x="2038" y="719"/>
                  <a:pt x="2160" y="810"/>
                  <a:pt x="2160" y="916"/>
                </a:cubicBezTo>
                <a:cubicBezTo>
                  <a:pt x="2160" y="1061"/>
                  <a:pt x="1939" y="1146"/>
                  <a:pt x="1827" y="1180"/>
                </a:cubicBezTo>
                <a:cubicBezTo>
                  <a:pt x="1635" y="1240"/>
                  <a:pt x="1371" y="1276"/>
                  <a:pt x="1080" y="1276"/>
                </a:cubicBezTo>
                <a:cubicBezTo>
                  <a:pt x="875" y="1276"/>
                  <a:pt x="683" y="1258"/>
                  <a:pt x="521" y="1226"/>
                </a:cubicBezTo>
                <a:cubicBezTo>
                  <a:pt x="294" y="1186"/>
                  <a:pt x="128" y="1121"/>
                  <a:pt x="66" y="1045"/>
                </a:cubicBezTo>
                <a:cubicBezTo>
                  <a:pt x="23" y="1006"/>
                  <a:pt x="0" y="962"/>
                  <a:pt x="0" y="916"/>
                </a:cubicBezTo>
                <a:close/>
                <a:moveTo>
                  <a:pt x="2160" y="1083"/>
                </a:moveTo>
                <a:cubicBezTo>
                  <a:pt x="2160" y="1259"/>
                  <a:pt x="2160" y="1259"/>
                  <a:pt x="2160" y="1259"/>
                </a:cubicBezTo>
                <a:cubicBezTo>
                  <a:pt x="2145" y="1262"/>
                  <a:pt x="2132" y="1270"/>
                  <a:pt x="2121" y="1280"/>
                </a:cubicBezTo>
                <a:cubicBezTo>
                  <a:pt x="2108" y="1293"/>
                  <a:pt x="2087" y="1324"/>
                  <a:pt x="2083" y="1342"/>
                </a:cubicBezTo>
                <a:cubicBezTo>
                  <a:pt x="2063" y="1395"/>
                  <a:pt x="2043" y="1442"/>
                  <a:pt x="2023" y="1480"/>
                </a:cubicBezTo>
                <a:cubicBezTo>
                  <a:pt x="2006" y="1515"/>
                  <a:pt x="1989" y="1540"/>
                  <a:pt x="1974" y="1552"/>
                </a:cubicBezTo>
                <a:cubicBezTo>
                  <a:pt x="1952" y="1570"/>
                  <a:pt x="1922" y="1550"/>
                  <a:pt x="1893" y="1531"/>
                </a:cubicBezTo>
                <a:cubicBezTo>
                  <a:pt x="1852" y="1504"/>
                  <a:pt x="1814" y="1478"/>
                  <a:pt x="1767" y="1499"/>
                </a:cubicBezTo>
                <a:cubicBezTo>
                  <a:pt x="1726" y="1518"/>
                  <a:pt x="1696" y="1571"/>
                  <a:pt x="1666" y="1627"/>
                </a:cubicBezTo>
                <a:cubicBezTo>
                  <a:pt x="1638" y="1678"/>
                  <a:pt x="1609" y="1730"/>
                  <a:pt x="1586" y="1736"/>
                </a:cubicBezTo>
                <a:cubicBezTo>
                  <a:pt x="1575" y="1739"/>
                  <a:pt x="1553" y="1717"/>
                  <a:pt x="1528" y="1693"/>
                </a:cubicBezTo>
                <a:cubicBezTo>
                  <a:pt x="1477" y="1644"/>
                  <a:pt x="1418" y="1586"/>
                  <a:pt x="1322" y="1605"/>
                </a:cubicBezTo>
                <a:cubicBezTo>
                  <a:pt x="1242" y="1621"/>
                  <a:pt x="1208" y="1673"/>
                  <a:pt x="1176" y="1723"/>
                </a:cubicBezTo>
                <a:cubicBezTo>
                  <a:pt x="1152" y="1760"/>
                  <a:pt x="1128" y="1796"/>
                  <a:pt x="1080" y="1796"/>
                </a:cubicBezTo>
                <a:cubicBezTo>
                  <a:pt x="1032" y="1796"/>
                  <a:pt x="1008" y="1760"/>
                  <a:pt x="984" y="1723"/>
                </a:cubicBezTo>
                <a:cubicBezTo>
                  <a:pt x="952" y="1673"/>
                  <a:pt x="918" y="1621"/>
                  <a:pt x="838" y="1605"/>
                </a:cubicBezTo>
                <a:cubicBezTo>
                  <a:pt x="742" y="1586"/>
                  <a:pt x="683" y="1644"/>
                  <a:pt x="632" y="1693"/>
                </a:cubicBezTo>
                <a:cubicBezTo>
                  <a:pt x="607" y="1717"/>
                  <a:pt x="585" y="1739"/>
                  <a:pt x="574" y="1736"/>
                </a:cubicBezTo>
                <a:cubicBezTo>
                  <a:pt x="551" y="1730"/>
                  <a:pt x="522" y="1678"/>
                  <a:pt x="494" y="1627"/>
                </a:cubicBezTo>
                <a:cubicBezTo>
                  <a:pt x="464" y="1571"/>
                  <a:pt x="434" y="1518"/>
                  <a:pt x="393" y="1499"/>
                </a:cubicBezTo>
                <a:cubicBezTo>
                  <a:pt x="346" y="1478"/>
                  <a:pt x="307" y="1504"/>
                  <a:pt x="267" y="1531"/>
                </a:cubicBezTo>
                <a:cubicBezTo>
                  <a:pt x="238" y="1550"/>
                  <a:pt x="208" y="1570"/>
                  <a:pt x="186" y="1552"/>
                </a:cubicBezTo>
                <a:cubicBezTo>
                  <a:pt x="171" y="1540"/>
                  <a:pt x="154" y="1515"/>
                  <a:pt x="137" y="1480"/>
                </a:cubicBezTo>
                <a:cubicBezTo>
                  <a:pt x="117" y="1443"/>
                  <a:pt x="98" y="1396"/>
                  <a:pt x="78" y="1344"/>
                </a:cubicBezTo>
                <a:cubicBezTo>
                  <a:pt x="68" y="1310"/>
                  <a:pt x="38" y="1267"/>
                  <a:pt x="0" y="1259"/>
                </a:cubicBezTo>
                <a:cubicBezTo>
                  <a:pt x="0" y="1079"/>
                  <a:pt x="0" y="1079"/>
                  <a:pt x="0" y="1079"/>
                </a:cubicBezTo>
                <a:cubicBezTo>
                  <a:pt x="130" y="1236"/>
                  <a:pt x="564" y="1352"/>
                  <a:pt x="1080" y="1352"/>
                </a:cubicBezTo>
                <a:cubicBezTo>
                  <a:pt x="1382" y="1352"/>
                  <a:pt x="1656" y="1314"/>
                  <a:pt x="1855" y="1253"/>
                </a:cubicBezTo>
                <a:cubicBezTo>
                  <a:pt x="1999" y="1209"/>
                  <a:pt x="2106" y="1151"/>
                  <a:pt x="2160" y="1083"/>
                </a:cubicBezTo>
                <a:close/>
                <a:moveTo>
                  <a:pt x="2160" y="1364"/>
                </a:moveTo>
                <a:cubicBezTo>
                  <a:pt x="2160" y="1721"/>
                  <a:pt x="2160" y="1721"/>
                  <a:pt x="2160" y="1721"/>
                </a:cubicBezTo>
                <a:cubicBezTo>
                  <a:pt x="2160" y="1756"/>
                  <a:pt x="2160" y="1756"/>
                  <a:pt x="2160" y="1756"/>
                </a:cubicBezTo>
                <a:cubicBezTo>
                  <a:pt x="2160" y="1864"/>
                  <a:pt x="2033" y="1957"/>
                  <a:pt x="1827" y="2020"/>
                </a:cubicBezTo>
                <a:cubicBezTo>
                  <a:pt x="1635" y="2080"/>
                  <a:pt x="1371" y="2116"/>
                  <a:pt x="1080" y="2116"/>
                </a:cubicBezTo>
                <a:cubicBezTo>
                  <a:pt x="789" y="2116"/>
                  <a:pt x="525" y="2080"/>
                  <a:pt x="333" y="2020"/>
                </a:cubicBezTo>
                <a:cubicBezTo>
                  <a:pt x="127" y="1957"/>
                  <a:pt x="0" y="1864"/>
                  <a:pt x="0" y="1756"/>
                </a:cubicBezTo>
                <a:cubicBezTo>
                  <a:pt x="0" y="1364"/>
                  <a:pt x="0" y="1364"/>
                  <a:pt x="0" y="1364"/>
                </a:cubicBezTo>
                <a:cubicBezTo>
                  <a:pt x="1" y="1367"/>
                  <a:pt x="2" y="1370"/>
                  <a:pt x="4" y="1372"/>
                </a:cubicBezTo>
                <a:cubicBezTo>
                  <a:pt x="24" y="1428"/>
                  <a:pt x="45" y="1478"/>
                  <a:pt x="66" y="1517"/>
                </a:cubicBezTo>
                <a:cubicBezTo>
                  <a:pt x="88" y="1561"/>
                  <a:pt x="112" y="1594"/>
                  <a:pt x="136" y="1614"/>
                </a:cubicBezTo>
                <a:cubicBezTo>
                  <a:pt x="203" y="1668"/>
                  <a:pt x="259" y="1632"/>
                  <a:pt x="311" y="1597"/>
                </a:cubicBezTo>
                <a:cubicBezTo>
                  <a:pt x="333" y="1583"/>
                  <a:pt x="354" y="1569"/>
                  <a:pt x="361" y="1572"/>
                </a:cubicBezTo>
                <a:cubicBezTo>
                  <a:pt x="377" y="1580"/>
                  <a:pt x="400" y="1622"/>
                  <a:pt x="424" y="1665"/>
                </a:cubicBezTo>
                <a:cubicBezTo>
                  <a:pt x="460" y="1731"/>
                  <a:pt x="498" y="1800"/>
                  <a:pt x="556" y="1814"/>
                </a:cubicBezTo>
                <a:cubicBezTo>
                  <a:pt x="610" y="1826"/>
                  <a:pt x="646" y="1791"/>
                  <a:pt x="688" y="1750"/>
                </a:cubicBezTo>
                <a:cubicBezTo>
                  <a:pt x="725" y="1714"/>
                  <a:pt x="768" y="1673"/>
                  <a:pt x="822" y="1684"/>
                </a:cubicBezTo>
                <a:cubicBezTo>
                  <a:pt x="869" y="1693"/>
                  <a:pt x="894" y="1730"/>
                  <a:pt x="917" y="1766"/>
                </a:cubicBezTo>
                <a:cubicBezTo>
                  <a:pt x="954" y="1822"/>
                  <a:pt x="988" y="1876"/>
                  <a:pt x="1080" y="1876"/>
                </a:cubicBezTo>
                <a:cubicBezTo>
                  <a:pt x="1172" y="1876"/>
                  <a:pt x="1206" y="1822"/>
                  <a:pt x="1243" y="1766"/>
                </a:cubicBezTo>
                <a:cubicBezTo>
                  <a:pt x="1266" y="1730"/>
                  <a:pt x="1291" y="1693"/>
                  <a:pt x="1338" y="1684"/>
                </a:cubicBezTo>
                <a:cubicBezTo>
                  <a:pt x="1392" y="1673"/>
                  <a:pt x="1435" y="1714"/>
                  <a:pt x="1472" y="1750"/>
                </a:cubicBezTo>
                <a:cubicBezTo>
                  <a:pt x="1514" y="1791"/>
                  <a:pt x="1550" y="1826"/>
                  <a:pt x="1604" y="1814"/>
                </a:cubicBezTo>
                <a:cubicBezTo>
                  <a:pt x="1662" y="1800"/>
                  <a:pt x="1700" y="1731"/>
                  <a:pt x="1736" y="1665"/>
                </a:cubicBezTo>
                <a:cubicBezTo>
                  <a:pt x="1760" y="1622"/>
                  <a:pt x="1783" y="1580"/>
                  <a:pt x="1799" y="1572"/>
                </a:cubicBezTo>
                <a:cubicBezTo>
                  <a:pt x="1806" y="1569"/>
                  <a:pt x="1827" y="1583"/>
                  <a:pt x="1849" y="1597"/>
                </a:cubicBezTo>
                <a:cubicBezTo>
                  <a:pt x="1901" y="1632"/>
                  <a:pt x="1957" y="1668"/>
                  <a:pt x="2024" y="1614"/>
                </a:cubicBezTo>
                <a:cubicBezTo>
                  <a:pt x="2048" y="1594"/>
                  <a:pt x="2072" y="1561"/>
                  <a:pt x="2094" y="1517"/>
                </a:cubicBezTo>
                <a:cubicBezTo>
                  <a:pt x="2115" y="1478"/>
                  <a:pt x="2136" y="1428"/>
                  <a:pt x="2157" y="1370"/>
                </a:cubicBezTo>
                <a:cubicBezTo>
                  <a:pt x="2157" y="1370"/>
                  <a:pt x="2160" y="1364"/>
                  <a:pt x="2160" y="1364"/>
                </a:cubicBezTo>
                <a:close/>
                <a:moveTo>
                  <a:pt x="793" y="53"/>
                </a:moveTo>
                <a:cubicBezTo>
                  <a:pt x="814" y="83"/>
                  <a:pt x="839" y="117"/>
                  <a:pt x="839" y="156"/>
                </a:cubicBezTo>
                <a:cubicBezTo>
                  <a:pt x="839" y="200"/>
                  <a:pt x="804" y="235"/>
                  <a:pt x="760" y="235"/>
                </a:cubicBezTo>
                <a:cubicBezTo>
                  <a:pt x="716" y="235"/>
                  <a:pt x="680" y="200"/>
                  <a:pt x="680" y="156"/>
                </a:cubicBezTo>
                <a:cubicBezTo>
                  <a:pt x="680" y="119"/>
                  <a:pt x="708" y="89"/>
                  <a:pt x="725" y="58"/>
                </a:cubicBezTo>
                <a:cubicBezTo>
                  <a:pt x="755" y="0"/>
                  <a:pt x="755" y="0"/>
                  <a:pt x="755" y="0"/>
                </a:cubicBezTo>
                <a:lnTo>
                  <a:pt x="793" y="53"/>
                </a:lnTo>
                <a:close/>
                <a:moveTo>
                  <a:pt x="1113" y="374"/>
                </a:moveTo>
                <a:cubicBezTo>
                  <a:pt x="1134" y="404"/>
                  <a:pt x="1159" y="439"/>
                  <a:pt x="1159" y="477"/>
                </a:cubicBezTo>
                <a:cubicBezTo>
                  <a:pt x="1159" y="519"/>
                  <a:pt x="1126" y="554"/>
                  <a:pt x="1084" y="556"/>
                </a:cubicBezTo>
                <a:cubicBezTo>
                  <a:pt x="1104" y="558"/>
                  <a:pt x="1120" y="576"/>
                  <a:pt x="1120" y="596"/>
                </a:cubicBezTo>
                <a:cubicBezTo>
                  <a:pt x="1120" y="1076"/>
                  <a:pt x="1120" y="1076"/>
                  <a:pt x="1120" y="1076"/>
                </a:cubicBezTo>
                <a:cubicBezTo>
                  <a:pt x="1120" y="1098"/>
                  <a:pt x="1102" y="1116"/>
                  <a:pt x="1080" y="1116"/>
                </a:cubicBezTo>
                <a:cubicBezTo>
                  <a:pt x="1058" y="1116"/>
                  <a:pt x="1040" y="1098"/>
                  <a:pt x="1040" y="1076"/>
                </a:cubicBezTo>
                <a:cubicBezTo>
                  <a:pt x="1040" y="596"/>
                  <a:pt x="1040" y="596"/>
                  <a:pt x="1040" y="596"/>
                </a:cubicBezTo>
                <a:cubicBezTo>
                  <a:pt x="1040" y="576"/>
                  <a:pt x="1056" y="559"/>
                  <a:pt x="1076" y="556"/>
                </a:cubicBezTo>
                <a:cubicBezTo>
                  <a:pt x="1033" y="554"/>
                  <a:pt x="1000" y="519"/>
                  <a:pt x="1000" y="477"/>
                </a:cubicBezTo>
                <a:cubicBezTo>
                  <a:pt x="1000" y="440"/>
                  <a:pt x="1028" y="410"/>
                  <a:pt x="1045" y="379"/>
                </a:cubicBezTo>
                <a:cubicBezTo>
                  <a:pt x="1075" y="321"/>
                  <a:pt x="1075" y="321"/>
                  <a:pt x="1075" y="321"/>
                </a:cubicBezTo>
                <a:lnTo>
                  <a:pt x="1113" y="374"/>
                </a:lnTo>
                <a:close/>
                <a:moveTo>
                  <a:pt x="473" y="214"/>
                </a:moveTo>
                <a:cubicBezTo>
                  <a:pt x="494" y="244"/>
                  <a:pt x="519" y="279"/>
                  <a:pt x="519" y="317"/>
                </a:cubicBezTo>
                <a:cubicBezTo>
                  <a:pt x="519" y="359"/>
                  <a:pt x="486" y="394"/>
                  <a:pt x="444" y="396"/>
                </a:cubicBezTo>
                <a:cubicBezTo>
                  <a:pt x="464" y="398"/>
                  <a:pt x="480" y="416"/>
                  <a:pt x="480" y="436"/>
                </a:cubicBezTo>
                <a:cubicBezTo>
                  <a:pt x="480" y="916"/>
                  <a:pt x="480" y="916"/>
                  <a:pt x="480" y="916"/>
                </a:cubicBezTo>
                <a:cubicBezTo>
                  <a:pt x="480" y="938"/>
                  <a:pt x="462" y="956"/>
                  <a:pt x="440" y="956"/>
                </a:cubicBezTo>
                <a:cubicBezTo>
                  <a:pt x="418" y="956"/>
                  <a:pt x="400" y="938"/>
                  <a:pt x="400" y="916"/>
                </a:cubicBezTo>
                <a:cubicBezTo>
                  <a:pt x="400" y="436"/>
                  <a:pt x="400" y="436"/>
                  <a:pt x="400" y="436"/>
                </a:cubicBezTo>
                <a:cubicBezTo>
                  <a:pt x="400" y="416"/>
                  <a:pt x="416" y="399"/>
                  <a:pt x="436" y="396"/>
                </a:cubicBezTo>
                <a:cubicBezTo>
                  <a:pt x="393" y="394"/>
                  <a:pt x="360" y="359"/>
                  <a:pt x="360" y="317"/>
                </a:cubicBezTo>
                <a:cubicBezTo>
                  <a:pt x="360" y="280"/>
                  <a:pt x="388" y="250"/>
                  <a:pt x="405" y="219"/>
                </a:cubicBezTo>
                <a:cubicBezTo>
                  <a:pt x="435" y="161"/>
                  <a:pt x="435" y="161"/>
                  <a:pt x="435" y="161"/>
                </a:cubicBezTo>
                <a:lnTo>
                  <a:pt x="473" y="214"/>
                </a:lnTo>
                <a:close/>
                <a:moveTo>
                  <a:pt x="1433" y="54"/>
                </a:moveTo>
                <a:cubicBezTo>
                  <a:pt x="1454" y="84"/>
                  <a:pt x="1479" y="119"/>
                  <a:pt x="1479" y="157"/>
                </a:cubicBezTo>
                <a:cubicBezTo>
                  <a:pt x="1479" y="199"/>
                  <a:pt x="1446" y="234"/>
                  <a:pt x="1404" y="236"/>
                </a:cubicBezTo>
                <a:cubicBezTo>
                  <a:pt x="1424" y="238"/>
                  <a:pt x="1440" y="256"/>
                  <a:pt x="1440" y="276"/>
                </a:cubicBezTo>
                <a:cubicBezTo>
                  <a:pt x="1440" y="756"/>
                  <a:pt x="1440" y="756"/>
                  <a:pt x="1440" y="756"/>
                </a:cubicBezTo>
                <a:cubicBezTo>
                  <a:pt x="1440" y="778"/>
                  <a:pt x="1422" y="796"/>
                  <a:pt x="1400" y="796"/>
                </a:cubicBezTo>
                <a:cubicBezTo>
                  <a:pt x="1378" y="796"/>
                  <a:pt x="1360" y="778"/>
                  <a:pt x="1360" y="756"/>
                </a:cubicBezTo>
                <a:cubicBezTo>
                  <a:pt x="1360" y="276"/>
                  <a:pt x="1360" y="276"/>
                  <a:pt x="1360" y="276"/>
                </a:cubicBezTo>
                <a:cubicBezTo>
                  <a:pt x="1360" y="256"/>
                  <a:pt x="1376" y="239"/>
                  <a:pt x="1396" y="236"/>
                </a:cubicBezTo>
                <a:cubicBezTo>
                  <a:pt x="1353" y="234"/>
                  <a:pt x="1320" y="199"/>
                  <a:pt x="1320" y="157"/>
                </a:cubicBezTo>
                <a:cubicBezTo>
                  <a:pt x="1320" y="120"/>
                  <a:pt x="1348" y="90"/>
                  <a:pt x="1365" y="59"/>
                </a:cubicBezTo>
                <a:cubicBezTo>
                  <a:pt x="1395" y="1"/>
                  <a:pt x="1395" y="1"/>
                  <a:pt x="1395" y="1"/>
                </a:cubicBezTo>
                <a:lnTo>
                  <a:pt x="1433" y="54"/>
                </a:lnTo>
                <a:close/>
                <a:moveTo>
                  <a:pt x="720" y="276"/>
                </a:moveTo>
                <a:cubicBezTo>
                  <a:pt x="720" y="254"/>
                  <a:pt x="738" y="236"/>
                  <a:pt x="760" y="236"/>
                </a:cubicBezTo>
                <a:cubicBezTo>
                  <a:pt x="782" y="236"/>
                  <a:pt x="800" y="254"/>
                  <a:pt x="800" y="276"/>
                </a:cubicBezTo>
                <a:cubicBezTo>
                  <a:pt x="800" y="756"/>
                  <a:pt x="800" y="756"/>
                  <a:pt x="800" y="756"/>
                </a:cubicBezTo>
                <a:cubicBezTo>
                  <a:pt x="800" y="778"/>
                  <a:pt x="782" y="796"/>
                  <a:pt x="760" y="796"/>
                </a:cubicBezTo>
                <a:cubicBezTo>
                  <a:pt x="738" y="796"/>
                  <a:pt x="720" y="778"/>
                  <a:pt x="720" y="756"/>
                </a:cubicBezTo>
                <a:lnTo>
                  <a:pt x="720" y="27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4" name="CuadroTexto 13"/>
          <p:cNvSpPr txBox="1"/>
          <p:nvPr/>
        </p:nvSpPr>
        <p:spPr bwMode="gray">
          <a:xfrm>
            <a:off x="6045144" y="3876632"/>
            <a:ext cx="12526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 smtClean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Sexo</a:t>
            </a:r>
            <a:endParaRPr lang="es-PE" sz="1600" b="1" dirty="0">
              <a:solidFill>
                <a:schemeClr val="accent5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grpSp>
        <p:nvGrpSpPr>
          <p:cNvPr id="15" name="Group 29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5312027" y="3858620"/>
            <a:ext cx="510512" cy="303772"/>
            <a:chOff x="423" y="153"/>
            <a:chExt cx="4914" cy="2924"/>
          </a:xfrm>
          <a:solidFill>
            <a:schemeClr val="accent2"/>
          </a:solidFill>
        </p:grpSpPr>
        <p:sp>
          <p:nvSpPr>
            <p:cNvPr id="16" name="Freeform 30"/>
            <p:cNvSpPr>
              <a:spLocks/>
            </p:cNvSpPr>
            <p:nvPr/>
          </p:nvSpPr>
          <p:spPr bwMode="auto">
            <a:xfrm>
              <a:off x="2974" y="158"/>
              <a:ext cx="2363" cy="2919"/>
            </a:xfrm>
            <a:custGeom>
              <a:avLst/>
              <a:gdLst>
                <a:gd name="T0" fmla="*/ 244 w 1000"/>
                <a:gd name="T1" fmla="*/ 529 h 1236"/>
                <a:gd name="T2" fmla="*/ 192 w 1000"/>
                <a:gd name="T3" fmla="*/ 379 h 1236"/>
                <a:gd name="T4" fmla="*/ 184 w 1000"/>
                <a:gd name="T5" fmla="*/ 244 h 1236"/>
                <a:gd name="T6" fmla="*/ 186 w 1000"/>
                <a:gd name="T7" fmla="*/ 200 h 1236"/>
                <a:gd name="T8" fmla="*/ 278 w 1000"/>
                <a:gd name="T9" fmla="*/ 53 h 1236"/>
                <a:gd name="T10" fmla="*/ 441 w 1000"/>
                <a:gd name="T11" fmla="*/ 1 h 1236"/>
                <a:gd name="T12" fmla="*/ 567 w 1000"/>
                <a:gd name="T13" fmla="*/ 31 h 1236"/>
                <a:gd name="T14" fmla="*/ 629 w 1000"/>
                <a:gd name="T15" fmla="*/ 24 h 1236"/>
                <a:gd name="T16" fmla="*/ 729 w 1000"/>
                <a:gd name="T17" fmla="*/ 65 h 1236"/>
                <a:gd name="T18" fmla="*/ 796 w 1000"/>
                <a:gd name="T19" fmla="*/ 147 h 1236"/>
                <a:gd name="T20" fmla="*/ 816 w 1000"/>
                <a:gd name="T21" fmla="*/ 243 h 1236"/>
                <a:gd name="T22" fmla="*/ 807 w 1000"/>
                <a:gd name="T23" fmla="*/ 379 h 1236"/>
                <a:gd name="T24" fmla="*/ 755 w 1000"/>
                <a:gd name="T25" fmla="*/ 529 h 1236"/>
                <a:gd name="T26" fmla="*/ 678 w 1000"/>
                <a:gd name="T27" fmla="*/ 681 h 1236"/>
                <a:gd name="T28" fmla="*/ 684 w 1000"/>
                <a:gd name="T29" fmla="*/ 734 h 1236"/>
                <a:gd name="T30" fmla="*/ 704 w 1000"/>
                <a:gd name="T31" fmla="*/ 770 h 1236"/>
                <a:gd name="T32" fmla="*/ 772 w 1000"/>
                <a:gd name="T33" fmla="*/ 799 h 1236"/>
                <a:gd name="T34" fmla="*/ 915 w 1000"/>
                <a:gd name="T35" fmla="*/ 865 h 1236"/>
                <a:gd name="T36" fmla="*/ 977 w 1000"/>
                <a:gd name="T37" fmla="*/ 960 h 1236"/>
                <a:gd name="T38" fmla="*/ 1000 w 1000"/>
                <a:gd name="T39" fmla="*/ 1076 h 1236"/>
                <a:gd name="T40" fmla="*/ 848 w 1000"/>
                <a:gd name="T41" fmla="*/ 1198 h 1236"/>
                <a:gd name="T42" fmla="*/ 500 w 1000"/>
                <a:gd name="T43" fmla="*/ 1236 h 1236"/>
                <a:gd name="T44" fmla="*/ 152 w 1000"/>
                <a:gd name="T45" fmla="*/ 1198 h 1236"/>
                <a:gd name="T46" fmla="*/ 0 w 1000"/>
                <a:gd name="T47" fmla="*/ 1076 h 1236"/>
                <a:gd name="T48" fmla="*/ 22 w 1000"/>
                <a:gd name="T49" fmla="*/ 960 h 1236"/>
                <a:gd name="T50" fmla="*/ 84 w 1000"/>
                <a:gd name="T51" fmla="*/ 865 h 1236"/>
                <a:gd name="T52" fmla="*/ 227 w 1000"/>
                <a:gd name="T53" fmla="*/ 799 h 1236"/>
                <a:gd name="T54" fmla="*/ 296 w 1000"/>
                <a:gd name="T55" fmla="*/ 770 h 1236"/>
                <a:gd name="T56" fmla="*/ 315 w 1000"/>
                <a:gd name="T57" fmla="*/ 733 h 1236"/>
                <a:gd name="T58" fmla="*/ 321 w 1000"/>
                <a:gd name="T59" fmla="*/ 681 h 1236"/>
                <a:gd name="T60" fmla="*/ 244 w 1000"/>
                <a:gd name="T61" fmla="*/ 529 h 1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00" h="1236">
                  <a:moveTo>
                    <a:pt x="244" y="529"/>
                  </a:moveTo>
                  <a:cubicBezTo>
                    <a:pt x="198" y="496"/>
                    <a:pt x="180" y="433"/>
                    <a:pt x="192" y="379"/>
                  </a:cubicBezTo>
                  <a:cubicBezTo>
                    <a:pt x="184" y="244"/>
                    <a:pt x="184" y="244"/>
                    <a:pt x="184" y="244"/>
                  </a:cubicBezTo>
                  <a:cubicBezTo>
                    <a:pt x="184" y="244"/>
                    <a:pt x="186" y="203"/>
                    <a:pt x="186" y="200"/>
                  </a:cubicBezTo>
                  <a:cubicBezTo>
                    <a:pt x="197" y="137"/>
                    <a:pt x="231" y="88"/>
                    <a:pt x="278" y="53"/>
                  </a:cubicBezTo>
                  <a:cubicBezTo>
                    <a:pt x="324" y="20"/>
                    <a:pt x="382" y="2"/>
                    <a:pt x="441" y="1"/>
                  </a:cubicBezTo>
                  <a:cubicBezTo>
                    <a:pt x="486" y="0"/>
                    <a:pt x="528" y="8"/>
                    <a:pt x="567" y="31"/>
                  </a:cubicBezTo>
                  <a:cubicBezTo>
                    <a:pt x="588" y="24"/>
                    <a:pt x="608" y="22"/>
                    <a:pt x="629" y="24"/>
                  </a:cubicBezTo>
                  <a:cubicBezTo>
                    <a:pt x="665" y="28"/>
                    <a:pt x="700" y="42"/>
                    <a:pt x="729" y="65"/>
                  </a:cubicBezTo>
                  <a:cubicBezTo>
                    <a:pt x="757" y="86"/>
                    <a:pt x="781" y="115"/>
                    <a:pt x="796" y="147"/>
                  </a:cubicBezTo>
                  <a:cubicBezTo>
                    <a:pt x="812" y="179"/>
                    <a:pt x="817" y="207"/>
                    <a:pt x="816" y="243"/>
                  </a:cubicBezTo>
                  <a:cubicBezTo>
                    <a:pt x="807" y="379"/>
                    <a:pt x="807" y="379"/>
                    <a:pt x="807" y="379"/>
                  </a:cubicBezTo>
                  <a:cubicBezTo>
                    <a:pt x="820" y="434"/>
                    <a:pt x="802" y="496"/>
                    <a:pt x="755" y="529"/>
                  </a:cubicBezTo>
                  <a:cubicBezTo>
                    <a:pt x="739" y="579"/>
                    <a:pt x="712" y="640"/>
                    <a:pt x="678" y="681"/>
                  </a:cubicBezTo>
                  <a:cubicBezTo>
                    <a:pt x="679" y="698"/>
                    <a:pt x="680" y="717"/>
                    <a:pt x="684" y="734"/>
                  </a:cubicBezTo>
                  <a:cubicBezTo>
                    <a:pt x="688" y="750"/>
                    <a:pt x="694" y="764"/>
                    <a:pt x="704" y="770"/>
                  </a:cubicBezTo>
                  <a:cubicBezTo>
                    <a:pt x="727" y="784"/>
                    <a:pt x="746" y="791"/>
                    <a:pt x="772" y="799"/>
                  </a:cubicBezTo>
                  <a:cubicBezTo>
                    <a:pt x="818" y="812"/>
                    <a:pt x="882" y="834"/>
                    <a:pt x="915" y="865"/>
                  </a:cubicBezTo>
                  <a:cubicBezTo>
                    <a:pt x="942" y="892"/>
                    <a:pt x="963" y="925"/>
                    <a:pt x="977" y="960"/>
                  </a:cubicBezTo>
                  <a:cubicBezTo>
                    <a:pt x="992" y="998"/>
                    <a:pt x="1000" y="1038"/>
                    <a:pt x="1000" y="1076"/>
                  </a:cubicBezTo>
                  <a:cubicBezTo>
                    <a:pt x="1000" y="1137"/>
                    <a:pt x="936" y="1176"/>
                    <a:pt x="848" y="1198"/>
                  </a:cubicBezTo>
                  <a:cubicBezTo>
                    <a:pt x="739" y="1226"/>
                    <a:pt x="588" y="1236"/>
                    <a:pt x="500" y="1236"/>
                  </a:cubicBezTo>
                  <a:cubicBezTo>
                    <a:pt x="411" y="1236"/>
                    <a:pt x="260" y="1226"/>
                    <a:pt x="152" y="1198"/>
                  </a:cubicBezTo>
                  <a:cubicBezTo>
                    <a:pt x="64" y="1176"/>
                    <a:pt x="0" y="1137"/>
                    <a:pt x="0" y="1076"/>
                  </a:cubicBezTo>
                  <a:cubicBezTo>
                    <a:pt x="0" y="1038"/>
                    <a:pt x="7" y="998"/>
                    <a:pt x="22" y="960"/>
                  </a:cubicBezTo>
                  <a:cubicBezTo>
                    <a:pt x="36" y="924"/>
                    <a:pt x="57" y="892"/>
                    <a:pt x="84" y="865"/>
                  </a:cubicBezTo>
                  <a:cubicBezTo>
                    <a:pt x="117" y="834"/>
                    <a:pt x="182" y="812"/>
                    <a:pt x="227" y="799"/>
                  </a:cubicBezTo>
                  <a:cubicBezTo>
                    <a:pt x="257" y="790"/>
                    <a:pt x="269" y="785"/>
                    <a:pt x="296" y="770"/>
                  </a:cubicBezTo>
                  <a:cubicBezTo>
                    <a:pt x="306" y="764"/>
                    <a:pt x="312" y="744"/>
                    <a:pt x="315" y="733"/>
                  </a:cubicBezTo>
                  <a:cubicBezTo>
                    <a:pt x="319" y="716"/>
                    <a:pt x="321" y="698"/>
                    <a:pt x="321" y="681"/>
                  </a:cubicBezTo>
                  <a:cubicBezTo>
                    <a:pt x="288" y="640"/>
                    <a:pt x="260" y="579"/>
                    <a:pt x="244" y="5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  <p:sp>
          <p:nvSpPr>
            <p:cNvPr id="17" name="Freeform 31"/>
            <p:cNvSpPr>
              <a:spLocks/>
            </p:cNvSpPr>
            <p:nvPr/>
          </p:nvSpPr>
          <p:spPr bwMode="auto">
            <a:xfrm>
              <a:off x="423" y="153"/>
              <a:ext cx="2362" cy="2922"/>
            </a:xfrm>
            <a:custGeom>
              <a:avLst/>
              <a:gdLst>
                <a:gd name="T0" fmla="*/ 433 w 1000"/>
                <a:gd name="T1" fmla="*/ 9 h 1237"/>
                <a:gd name="T2" fmla="*/ 500 w 1000"/>
                <a:gd name="T3" fmla="*/ 26 h 1237"/>
                <a:gd name="T4" fmla="*/ 566 w 1000"/>
                <a:gd name="T5" fmla="*/ 9 h 1237"/>
                <a:gd name="T6" fmla="*/ 774 w 1000"/>
                <a:gd name="T7" fmla="*/ 109 h 1237"/>
                <a:gd name="T8" fmla="*/ 815 w 1000"/>
                <a:gd name="T9" fmla="*/ 258 h 1237"/>
                <a:gd name="T10" fmla="*/ 828 w 1000"/>
                <a:gd name="T11" fmla="*/ 500 h 1237"/>
                <a:gd name="T12" fmla="*/ 876 w 1000"/>
                <a:gd name="T13" fmla="*/ 644 h 1237"/>
                <a:gd name="T14" fmla="*/ 878 w 1000"/>
                <a:gd name="T15" fmla="*/ 690 h 1237"/>
                <a:gd name="T16" fmla="*/ 759 w 1000"/>
                <a:gd name="T17" fmla="*/ 768 h 1237"/>
                <a:gd name="T18" fmla="*/ 709 w 1000"/>
                <a:gd name="T19" fmla="*/ 775 h 1237"/>
                <a:gd name="T20" fmla="*/ 772 w 1000"/>
                <a:gd name="T21" fmla="*/ 800 h 1237"/>
                <a:gd name="T22" fmla="*/ 915 w 1000"/>
                <a:gd name="T23" fmla="*/ 867 h 1237"/>
                <a:gd name="T24" fmla="*/ 977 w 1000"/>
                <a:gd name="T25" fmla="*/ 962 h 1237"/>
                <a:gd name="T26" fmla="*/ 1000 w 1000"/>
                <a:gd name="T27" fmla="*/ 1078 h 1237"/>
                <a:gd name="T28" fmla="*/ 848 w 1000"/>
                <a:gd name="T29" fmla="*/ 1200 h 1237"/>
                <a:gd name="T30" fmla="*/ 500 w 1000"/>
                <a:gd name="T31" fmla="*/ 1237 h 1237"/>
                <a:gd name="T32" fmla="*/ 152 w 1000"/>
                <a:gd name="T33" fmla="*/ 1200 h 1237"/>
                <a:gd name="T34" fmla="*/ 0 w 1000"/>
                <a:gd name="T35" fmla="*/ 1078 h 1237"/>
                <a:gd name="T36" fmla="*/ 22 w 1000"/>
                <a:gd name="T37" fmla="*/ 962 h 1237"/>
                <a:gd name="T38" fmla="*/ 84 w 1000"/>
                <a:gd name="T39" fmla="*/ 867 h 1237"/>
                <a:gd name="T40" fmla="*/ 227 w 1000"/>
                <a:gd name="T41" fmla="*/ 800 h 1237"/>
                <a:gd name="T42" fmla="*/ 290 w 1000"/>
                <a:gd name="T43" fmla="*/ 775 h 1237"/>
                <a:gd name="T44" fmla="*/ 122 w 1000"/>
                <a:gd name="T45" fmla="*/ 690 h 1237"/>
                <a:gd name="T46" fmla="*/ 124 w 1000"/>
                <a:gd name="T47" fmla="*/ 643 h 1237"/>
                <a:gd name="T48" fmla="*/ 171 w 1000"/>
                <a:gd name="T49" fmla="*/ 500 h 1237"/>
                <a:gd name="T50" fmla="*/ 184 w 1000"/>
                <a:gd name="T51" fmla="*/ 258 h 1237"/>
                <a:gd name="T52" fmla="*/ 225 w 1000"/>
                <a:gd name="T53" fmla="*/ 109 h 1237"/>
                <a:gd name="T54" fmla="*/ 433 w 1000"/>
                <a:gd name="T55" fmla="*/ 9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00" h="1237">
                  <a:moveTo>
                    <a:pt x="433" y="9"/>
                  </a:moveTo>
                  <a:cubicBezTo>
                    <a:pt x="455" y="12"/>
                    <a:pt x="478" y="17"/>
                    <a:pt x="500" y="26"/>
                  </a:cubicBezTo>
                  <a:cubicBezTo>
                    <a:pt x="522" y="17"/>
                    <a:pt x="544" y="12"/>
                    <a:pt x="566" y="9"/>
                  </a:cubicBezTo>
                  <a:cubicBezTo>
                    <a:pt x="652" y="0"/>
                    <a:pt x="726" y="38"/>
                    <a:pt x="774" y="109"/>
                  </a:cubicBezTo>
                  <a:cubicBezTo>
                    <a:pt x="804" y="153"/>
                    <a:pt x="820" y="207"/>
                    <a:pt x="815" y="258"/>
                  </a:cubicBezTo>
                  <a:cubicBezTo>
                    <a:pt x="812" y="300"/>
                    <a:pt x="812" y="404"/>
                    <a:pt x="828" y="500"/>
                  </a:cubicBezTo>
                  <a:cubicBezTo>
                    <a:pt x="838" y="559"/>
                    <a:pt x="854" y="614"/>
                    <a:pt x="876" y="644"/>
                  </a:cubicBezTo>
                  <a:cubicBezTo>
                    <a:pt x="882" y="651"/>
                    <a:pt x="878" y="690"/>
                    <a:pt x="878" y="690"/>
                  </a:cubicBezTo>
                  <a:cubicBezTo>
                    <a:pt x="848" y="735"/>
                    <a:pt x="805" y="757"/>
                    <a:pt x="759" y="768"/>
                  </a:cubicBezTo>
                  <a:cubicBezTo>
                    <a:pt x="742" y="771"/>
                    <a:pt x="726" y="774"/>
                    <a:pt x="709" y="775"/>
                  </a:cubicBezTo>
                  <a:cubicBezTo>
                    <a:pt x="732" y="788"/>
                    <a:pt x="750" y="794"/>
                    <a:pt x="772" y="800"/>
                  </a:cubicBezTo>
                  <a:cubicBezTo>
                    <a:pt x="817" y="814"/>
                    <a:pt x="882" y="835"/>
                    <a:pt x="915" y="867"/>
                  </a:cubicBezTo>
                  <a:cubicBezTo>
                    <a:pt x="942" y="893"/>
                    <a:pt x="963" y="926"/>
                    <a:pt x="977" y="962"/>
                  </a:cubicBezTo>
                  <a:cubicBezTo>
                    <a:pt x="992" y="999"/>
                    <a:pt x="1000" y="1040"/>
                    <a:pt x="1000" y="1078"/>
                  </a:cubicBezTo>
                  <a:cubicBezTo>
                    <a:pt x="1000" y="1139"/>
                    <a:pt x="936" y="1177"/>
                    <a:pt x="848" y="1200"/>
                  </a:cubicBezTo>
                  <a:cubicBezTo>
                    <a:pt x="739" y="1228"/>
                    <a:pt x="588" y="1237"/>
                    <a:pt x="500" y="1237"/>
                  </a:cubicBezTo>
                  <a:cubicBezTo>
                    <a:pt x="411" y="1237"/>
                    <a:pt x="260" y="1228"/>
                    <a:pt x="152" y="1200"/>
                  </a:cubicBezTo>
                  <a:cubicBezTo>
                    <a:pt x="64" y="1177"/>
                    <a:pt x="0" y="1139"/>
                    <a:pt x="0" y="1078"/>
                  </a:cubicBezTo>
                  <a:cubicBezTo>
                    <a:pt x="0" y="1040"/>
                    <a:pt x="7" y="999"/>
                    <a:pt x="22" y="962"/>
                  </a:cubicBezTo>
                  <a:cubicBezTo>
                    <a:pt x="36" y="926"/>
                    <a:pt x="57" y="893"/>
                    <a:pt x="84" y="867"/>
                  </a:cubicBezTo>
                  <a:cubicBezTo>
                    <a:pt x="116" y="836"/>
                    <a:pt x="182" y="814"/>
                    <a:pt x="227" y="800"/>
                  </a:cubicBezTo>
                  <a:cubicBezTo>
                    <a:pt x="249" y="794"/>
                    <a:pt x="267" y="788"/>
                    <a:pt x="290" y="775"/>
                  </a:cubicBezTo>
                  <a:cubicBezTo>
                    <a:pt x="228" y="770"/>
                    <a:pt x="163" y="752"/>
                    <a:pt x="122" y="690"/>
                  </a:cubicBezTo>
                  <a:cubicBezTo>
                    <a:pt x="112" y="676"/>
                    <a:pt x="113" y="656"/>
                    <a:pt x="124" y="643"/>
                  </a:cubicBezTo>
                  <a:cubicBezTo>
                    <a:pt x="146" y="612"/>
                    <a:pt x="161" y="558"/>
                    <a:pt x="171" y="500"/>
                  </a:cubicBezTo>
                  <a:cubicBezTo>
                    <a:pt x="187" y="404"/>
                    <a:pt x="188" y="300"/>
                    <a:pt x="184" y="258"/>
                  </a:cubicBezTo>
                  <a:cubicBezTo>
                    <a:pt x="179" y="207"/>
                    <a:pt x="195" y="153"/>
                    <a:pt x="225" y="109"/>
                  </a:cubicBezTo>
                  <a:cubicBezTo>
                    <a:pt x="272" y="38"/>
                    <a:pt x="347" y="0"/>
                    <a:pt x="43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dk1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1"/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5241008" y="1735981"/>
            <a:ext cx="391558" cy="617318"/>
            <a:chOff x="-252536" y="764704"/>
            <a:chExt cx="3713021" cy="4195336"/>
          </a:xfrm>
          <a:solidFill>
            <a:schemeClr val="accent2"/>
          </a:solidFill>
        </p:grpSpPr>
        <p:grpSp>
          <p:nvGrpSpPr>
            <p:cNvPr id="22" name="Grupo 21"/>
            <p:cNvGrpSpPr/>
            <p:nvPr/>
          </p:nvGrpSpPr>
          <p:grpSpPr>
            <a:xfrm>
              <a:off x="-252536" y="764704"/>
              <a:ext cx="3713021" cy="4195336"/>
              <a:chOff x="821483" y="5797980"/>
              <a:chExt cx="710246" cy="1084503"/>
            </a:xfrm>
            <a:grpFill/>
          </p:grpSpPr>
          <p:sp>
            <p:nvSpPr>
              <p:cNvPr id="24" name="Forma libre 4"/>
              <p:cNvSpPr/>
              <p:nvPr/>
            </p:nvSpPr>
            <p:spPr>
              <a:xfrm>
                <a:off x="1016793" y="5797980"/>
                <a:ext cx="445023" cy="518206"/>
              </a:xfrm>
              <a:custGeom>
                <a:avLst/>
                <a:gdLst>
                  <a:gd name="connsiteX0" fmla="*/ 815659 w 2956079"/>
                  <a:gd name="connsiteY0" fmla="*/ 71167 h 3279140"/>
                  <a:gd name="connsiteX1" fmla="*/ 815659 w 2956079"/>
                  <a:gd name="connsiteY1" fmla="*/ 71167 h 3279140"/>
                  <a:gd name="connsiteX2" fmla="*/ 968937 w 2956079"/>
                  <a:gd name="connsiteY2" fmla="*/ 208026 h 3279140"/>
                  <a:gd name="connsiteX3" fmla="*/ 957989 w 2956079"/>
                  <a:gd name="connsiteY3" fmla="*/ 361308 h 3279140"/>
                  <a:gd name="connsiteX4" fmla="*/ 903247 w 2956079"/>
                  <a:gd name="connsiteY4" fmla="*/ 355833 h 3279140"/>
                  <a:gd name="connsiteX5" fmla="*/ 843030 w 2956079"/>
                  <a:gd name="connsiteY5" fmla="*/ 563859 h 3279140"/>
                  <a:gd name="connsiteX6" fmla="*/ 656907 w 2956079"/>
                  <a:gd name="connsiteY6" fmla="*/ 799256 h 3279140"/>
                  <a:gd name="connsiteX7" fmla="*/ 437938 w 2956079"/>
                  <a:gd name="connsiteY7" fmla="*/ 958013 h 3279140"/>
                  <a:gd name="connsiteX8" fmla="*/ 0 w 2956079"/>
                  <a:gd name="connsiteY8" fmla="*/ 1116769 h 3279140"/>
                  <a:gd name="connsiteX9" fmla="*/ 21897 w 2956079"/>
                  <a:gd name="connsiteY9" fmla="*/ 1237205 h 3279140"/>
                  <a:gd name="connsiteX10" fmla="*/ 27372 w 2956079"/>
                  <a:gd name="connsiteY10" fmla="*/ 1319320 h 3279140"/>
                  <a:gd name="connsiteX11" fmla="*/ 93062 w 2956079"/>
                  <a:gd name="connsiteY11" fmla="*/ 1401436 h 3279140"/>
                  <a:gd name="connsiteX12" fmla="*/ 98536 w 2956079"/>
                  <a:gd name="connsiteY12" fmla="*/ 1532820 h 3279140"/>
                  <a:gd name="connsiteX13" fmla="*/ 76640 w 2956079"/>
                  <a:gd name="connsiteY13" fmla="*/ 1675153 h 3279140"/>
                  <a:gd name="connsiteX14" fmla="*/ 5475 w 2956079"/>
                  <a:gd name="connsiteY14" fmla="*/ 1773692 h 3279140"/>
                  <a:gd name="connsiteX15" fmla="*/ 5475 w 2956079"/>
                  <a:gd name="connsiteY15" fmla="*/ 1872230 h 3279140"/>
                  <a:gd name="connsiteX16" fmla="*/ 5475 w 2956079"/>
                  <a:gd name="connsiteY16" fmla="*/ 1872230 h 3279140"/>
                  <a:gd name="connsiteX17" fmla="*/ 38320 w 2956079"/>
                  <a:gd name="connsiteY17" fmla="*/ 1954346 h 3279140"/>
                  <a:gd name="connsiteX18" fmla="*/ 38320 w 2956079"/>
                  <a:gd name="connsiteY18" fmla="*/ 2020038 h 3279140"/>
                  <a:gd name="connsiteX19" fmla="*/ 38320 w 2956079"/>
                  <a:gd name="connsiteY19" fmla="*/ 2020038 h 3279140"/>
                  <a:gd name="connsiteX20" fmla="*/ 104011 w 2956079"/>
                  <a:gd name="connsiteY20" fmla="*/ 2030987 h 3279140"/>
                  <a:gd name="connsiteX21" fmla="*/ 136856 w 2956079"/>
                  <a:gd name="connsiteY21" fmla="*/ 2085730 h 3279140"/>
                  <a:gd name="connsiteX22" fmla="*/ 361299 w 2956079"/>
                  <a:gd name="connsiteY22" fmla="*/ 2145948 h 3279140"/>
                  <a:gd name="connsiteX23" fmla="*/ 410567 w 2956079"/>
                  <a:gd name="connsiteY23" fmla="*/ 2244486 h 3279140"/>
                  <a:gd name="connsiteX24" fmla="*/ 470783 w 2956079"/>
                  <a:gd name="connsiteY24" fmla="*/ 2255435 h 3279140"/>
                  <a:gd name="connsiteX25" fmla="*/ 525526 w 2956079"/>
                  <a:gd name="connsiteY25" fmla="*/ 2228063 h 3279140"/>
                  <a:gd name="connsiteX26" fmla="*/ 613113 w 2956079"/>
                  <a:gd name="connsiteY26" fmla="*/ 2310179 h 3279140"/>
                  <a:gd name="connsiteX27" fmla="*/ 667855 w 2956079"/>
                  <a:gd name="connsiteY27" fmla="*/ 2282807 h 3279140"/>
                  <a:gd name="connsiteX28" fmla="*/ 766391 w 2956079"/>
                  <a:gd name="connsiteY28" fmla="*/ 2288281 h 3279140"/>
                  <a:gd name="connsiteX29" fmla="*/ 826608 w 2956079"/>
                  <a:gd name="connsiteY29" fmla="*/ 2239012 h 3279140"/>
                  <a:gd name="connsiteX30" fmla="*/ 875876 w 2956079"/>
                  <a:gd name="connsiteY30" fmla="*/ 2326602 h 3279140"/>
                  <a:gd name="connsiteX31" fmla="*/ 837556 w 2956079"/>
                  <a:gd name="connsiteY31" fmla="*/ 2364922 h 3279140"/>
                  <a:gd name="connsiteX32" fmla="*/ 853979 w 2956079"/>
                  <a:gd name="connsiteY32" fmla="*/ 2457986 h 3279140"/>
                  <a:gd name="connsiteX33" fmla="*/ 853979 w 2956079"/>
                  <a:gd name="connsiteY33" fmla="*/ 2529153 h 3279140"/>
                  <a:gd name="connsiteX34" fmla="*/ 771865 w 2956079"/>
                  <a:gd name="connsiteY34" fmla="*/ 2572948 h 3279140"/>
                  <a:gd name="connsiteX35" fmla="*/ 722598 w 2956079"/>
                  <a:gd name="connsiteY35" fmla="*/ 2529153 h 3279140"/>
                  <a:gd name="connsiteX36" fmla="*/ 635010 w 2956079"/>
                  <a:gd name="connsiteY36" fmla="*/ 2540102 h 3279140"/>
                  <a:gd name="connsiteX37" fmla="*/ 673330 w 2956079"/>
                  <a:gd name="connsiteY37" fmla="*/ 2605794 h 3279140"/>
                  <a:gd name="connsiteX38" fmla="*/ 640484 w 2956079"/>
                  <a:gd name="connsiteY38" fmla="*/ 2693384 h 3279140"/>
                  <a:gd name="connsiteX39" fmla="*/ 596690 w 2956079"/>
                  <a:gd name="connsiteY39" fmla="*/ 2720755 h 3279140"/>
                  <a:gd name="connsiteX40" fmla="*/ 602165 w 2956079"/>
                  <a:gd name="connsiteY40" fmla="*/ 2786448 h 3279140"/>
                  <a:gd name="connsiteX41" fmla="*/ 635010 w 2956079"/>
                  <a:gd name="connsiteY41" fmla="*/ 2824768 h 3279140"/>
                  <a:gd name="connsiteX42" fmla="*/ 635010 w 2956079"/>
                  <a:gd name="connsiteY42" fmla="*/ 2879512 h 3279140"/>
                  <a:gd name="connsiteX43" fmla="*/ 684278 w 2956079"/>
                  <a:gd name="connsiteY43" fmla="*/ 2972576 h 3279140"/>
                  <a:gd name="connsiteX44" fmla="*/ 739020 w 2956079"/>
                  <a:gd name="connsiteY44" fmla="*/ 2967101 h 3279140"/>
                  <a:gd name="connsiteX45" fmla="*/ 739020 w 2956079"/>
                  <a:gd name="connsiteY45" fmla="*/ 2967101 h 3279140"/>
                  <a:gd name="connsiteX46" fmla="*/ 700701 w 2956079"/>
                  <a:gd name="connsiteY46" fmla="*/ 3021845 h 3279140"/>
                  <a:gd name="connsiteX47" fmla="*/ 711649 w 2956079"/>
                  <a:gd name="connsiteY47" fmla="*/ 3093012 h 3279140"/>
                  <a:gd name="connsiteX48" fmla="*/ 711649 w 2956079"/>
                  <a:gd name="connsiteY48" fmla="*/ 3093012 h 3279140"/>
                  <a:gd name="connsiteX49" fmla="*/ 684278 w 2956079"/>
                  <a:gd name="connsiteY49" fmla="*/ 3279140 h 3279140"/>
                  <a:gd name="connsiteX50" fmla="*/ 788288 w 2956079"/>
                  <a:gd name="connsiteY50" fmla="*/ 3136807 h 3279140"/>
                  <a:gd name="connsiteX51" fmla="*/ 892298 w 2956079"/>
                  <a:gd name="connsiteY51" fmla="*/ 3158704 h 3279140"/>
                  <a:gd name="connsiteX52" fmla="*/ 864927 w 2956079"/>
                  <a:gd name="connsiteY52" fmla="*/ 3098486 h 3279140"/>
                  <a:gd name="connsiteX53" fmla="*/ 941566 w 2956079"/>
                  <a:gd name="connsiteY53" fmla="*/ 3038268 h 3279140"/>
                  <a:gd name="connsiteX54" fmla="*/ 985360 w 2956079"/>
                  <a:gd name="connsiteY54" fmla="*/ 3071114 h 3279140"/>
                  <a:gd name="connsiteX55" fmla="*/ 1001783 w 2956079"/>
                  <a:gd name="connsiteY55" fmla="*/ 2983525 h 3279140"/>
                  <a:gd name="connsiteX56" fmla="*/ 1001783 w 2956079"/>
                  <a:gd name="connsiteY56" fmla="*/ 2983525 h 3279140"/>
                  <a:gd name="connsiteX57" fmla="*/ 1089370 w 2956079"/>
                  <a:gd name="connsiteY57" fmla="*/ 3038268 h 3279140"/>
                  <a:gd name="connsiteX58" fmla="*/ 1204329 w 2956079"/>
                  <a:gd name="connsiteY58" fmla="*/ 2939730 h 3279140"/>
                  <a:gd name="connsiteX59" fmla="*/ 1182432 w 2956079"/>
                  <a:gd name="connsiteY59" fmla="*/ 2819294 h 3279140"/>
                  <a:gd name="connsiteX60" fmla="*/ 1231700 w 2956079"/>
                  <a:gd name="connsiteY60" fmla="*/ 2704332 h 3279140"/>
                  <a:gd name="connsiteX61" fmla="*/ 1379504 w 2956079"/>
                  <a:gd name="connsiteY61" fmla="*/ 2786448 h 3279140"/>
                  <a:gd name="connsiteX62" fmla="*/ 1434246 w 2956079"/>
                  <a:gd name="connsiteY62" fmla="*/ 2824768 h 3279140"/>
                  <a:gd name="connsiteX63" fmla="*/ 1472566 w 2956079"/>
                  <a:gd name="connsiteY63" fmla="*/ 2742653 h 3279140"/>
                  <a:gd name="connsiteX64" fmla="*/ 1532782 w 2956079"/>
                  <a:gd name="connsiteY64" fmla="*/ 2748127 h 3279140"/>
                  <a:gd name="connsiteX65" fmla="*/ 1494463 w 2956079"/>
                  <a:gd name="connsiteY65" fmla="*/ 2660538 h 3279140"/>
                  <a:gd name="connsiteX66" fmla="*/ 1521834 w 2956079"/>
                  <a:gd name="connsiteY66" fmla="*/ 2583897 h 3279140"/>
                  <a:gd name="connsiteX67" fmla="*/ 1609421 w 2956079"/>
                  <a:gd name="connsiteY67" fmla="*/ 2479884 h 3279140"/>
                  <a:gd name="connsiteX68" fmla="*/ 1713431 w 2956079"/>
                  <a:gd name="connsiteY68" fmla="*/ 2485358 h 3279140"/>
                  <a:gd name="connsiteX69" fmla="*/ 1773648 w 2956079"/>
                  <a:gd name="connsiteY69" fmla="*/ 2397768 h 3279140"/>
                  <a:gd name="connsiteX70" fmla="*/ 1686060 w 2956079"/>
                  <a:gd name="connsiteY70" fmla="*/ 2277333 h 3279140"/>
                  <a:gd name="connsiteX71" fmla="*/ 1762699 w 2956079"/>
                  <a:gd name="connsiteY71" fmla="*/ 2156897 h 3279140"/>
                  <a:gd name="connsiteX72" fmla="*/ 1828390 w 2956079"/>
                  <a:gd name="connsiteY72" fmla="*/ 2036461 h 3279140"/>
                  <a:gd name="connsiteX73" fmla="*/ 1855761 w 2956079"/>
                  <a:gd name="connsiteY73" fmla="*/ 1916025 h 3279140"/>
                  <a:gd name="connsiteX74" fmla="*/ 1921452 w 2956079"/>
                  <a:gd name="connsiteY74" fmla="*/ 1883179 h 3279140"/>
                  <a:gd name="connsiteX75" fmla="*/ 2249905 w 2956079"/>
                  <a:gd name="connsiteY75" fmla="*/ 1675153 h 3279140"/>
                  <a:gd name="connsiteX76" fmla="*/ 2299173 w 2956079"/>
                  <a:gd name="connsiteY76" fmla="*/ 1680628 h 3279140"/>
                  <a:gd name="connsiteX77" fmla="*/ 2578358 w 2956079"/>
                  <a:gd name="connsiteY77" fmla="*/ 1636833 h 3279140"/>
                  <a:gd name="connsiteX78" fmla="*/ 2627626 w 2956079"/>
                  <a:gd name="connsiteY78" fmla="*/ 1571141 h 3279140"/>
                  <a:gd name="connsiteX79" fmla="*/ 2759007 w 2956079"/>
                  <a:gd name="connsiteY79" fmla="*/ 1565666 h 3279140"/>
                  <a:gd name="connsiteX80" fmla="*/ 2759007 w 2956079"/>
                  <a:gd name="connsiteY80" fmla="*/ 1565666 h 3279140"/>
                  <a:gd name="connsiteX81" fmla="*/ 2808275 w 2956079"/>
                  <a:gd name="connsiteY81" fmla="*/ 1582089 h 3279140"/>
                  <a:gd name="connsiteX82" fmla="*/ 2808275 w 2956079"/>
                  <a:gd name="connsiteY82" fmla="*/ 1582089 h 3279140"/>
                  <a:gd name="connsiteX83" fmla="*/ 2956079 w 2956079"/>
                  <a:gd name="connsiteY83" fmla="*/ 1647782 h 3279140"/>
                  <a:gd name="connsiteX84" fmla="*/ 2906811 w 2956079"/>
                  <a:gd name="connsiteY84" fmla="*/ 1527346 h 3279140"/>
                  <a:gd name="connsiteX85" fmla="*/ 2797327 w 2956079"/>
                  <a:gd name="connsiteY85" fmla="*/ 1412384 h 3279140"/>
                  <a:gd name="connsiteX86" fmla="*/ 2731636 w 2956079"/>
                  <a:gd name="connsiteY86" fmla="*/ 1445230 h 3279140"/>
                  <a:gd name="connsiteX87" fmla="*/ 2649523 w 2956079"/>
                  <a:gd name="connsiteY87" fmla="*/ 1406910 h 3279140"/>
                  <a:gd name="connsiteX88" fmla="*/ 2895863 w 2956079"/>
                  <a:gd name="connsiteY88" fmla="*/ 1012756 h 3279140"/>
                  <a:gd name="connsiteX89" fmla="*/ 2726162 w 2956079"/>
                  <a:gd name="connsiteY89" fmla="*/ 897795 h 3279140"/>
                  <a:gd name="connsiteX90" fmla="*/ 2676894 w 2956079"/>
                  <a:gd name="connsiteY90" fmla="*/ 914218 h 3279140"/>
                  <a:gd name="connsiteX91" fmla="*/ 2676894 w 2956079"/>
                  <a:gd name="connsiteY91" fmla="*/ 914218 h 3279140"/>
                  <a:gd name="connsiteX92" fmla="*/ 2550987 w 2956079"/>
                  <a:gd name="connsiteY92" fmla="*/ 815679 h 3279140"/>
                  <a:gd name="connsiteX93" fmla="*/ 2479822 w 2956079"/>
                  <a:gd name="connsiteY93" fmla="*/ 854000 h 3279140"/>
                  <a:gd name="connsiteX94" fmla="*/ 2479822 w 2956079"/>
                  <a:gd name="connsiteY94" fmla="*/ 854000 h 3279140"/>
                  <a:gd name="connsiteX95" fmla="*/ 2425080 w 2956079"/>
                  <a:gd name="connsiteY95" fmla="*/ 881372 h 3279140"/>
                  <a:gd name="connsiteX96" fmla="*/ 2386760 w 2956079"/>
                  <a:gd name="connsiteY96" fmla="*/ 908743 h 3279140"/>
                  <a:gd name="connsiteX97" fmla="*/ 2359389 w 2956079"/>
                  <a:gd name="connsiteY97" fmla="*/ 837577 h 3279140"/>
                  <a:gd name="connsiteX98" fmla="*/ 2288224 w 2956079"/>
                  <a:gd name="connsiteY98" fmla="*/ 810205 h 3279140"/>
                  <a:gd name="connsiteX99" fmla="*/ 2260853 w 2956079"/>
                  <a:gd name="connsiteY99" fmla="*/ 760936 h 3279140"/>
                  <a:gd name="connsiteX100" fmla="*/ 2206111 w 2956079"/>
                  <a:gd name="connsiteY100" fmla="*/ 870423 h 3279140"/>
                  <a:gd name="connsiteX101" fmla="*/ 2107575 w 2956079"/>
                  <a:gd name="connsiteY101" fmla="*/ 875897 h 3279140"/>
                  <a:gd name="connsiteX102" fmla="*/ 2069256 w 2956079"/>
                  <a:gd name="connsiteY102" fmla="*/ 936115 h 3279140"/>
                  <a:gd name="connsiteX103" fmla="*/ 1910503 w 2956079"/>
                  <a:gd name="connsiteY103" fmla="*/ 881372 h 3279140"/>
                  <a:gd name="connsiteX104" fmla="*/ 1850287 w 2956079"/>
                  <a:gd name="connsiteY104" fmla="*/ 908743 h 3279140"/>
                  <a:gd name="connsiteX105" fmla="*/ 1746277 w 2956079"/>
                  <a:gd name="connsiteY105" fmla="*/ 843051 h 3279140"/>
                  <a:gd name="connsiteX106" fmla="*/ 1768174 w 2956079"/>
                  <a:gd name="connsiteY106" fmla="*/ 771885 h 3279140"/>
                  <a:gd name="connsiteX107" fmla="*/ 1707957 w 2956079"/>
                  <a:gd name="connsiteY107" fmla="*/ 640500 h 3279140"/>
                  <a:gd name="connsiteX108" fmla="*/ 1664163 w 2956079"/>
                  <a:gd name="connsiteY108" fmla="*/ 673346 h 3279140"/>
                  <a:gd name="connsiteX109" fmla="*/ 1582050 w 2956079"/>
                  <a:gd name="connsiteY109" fmla="*/ 629551 h 3279140"/>
                  <a:gd name="connsiteX110" fmla="*/ 1625844 w 2956079"/>
                  <a:gd name="connsiteY110" fmla="*/ 569333 h 3279140"/>
                  <a:gd name="connsiteX111" fmla="*/ 1532782 w 2956079"/>
                  <a:gd name="connsiteY111" fmla="*/ 448898 h 3279140"/>
                  <a:gd name="connsiteX112" fmla="*/ 1472566 w 2956079"/>
                  <a:gd name="connsiteY112" fmla="*/ 454372 h 3279140"/>
                  <a:gd name="connsiteX113" fmla="*/ 1390452 w 2956079"/>
                  <a:gd name="connsiteY113" fmla="*/ 388680 h 3279140"/>
                  <a:gd name="connsiteX114" fmla="*/ 1308339 w 2956079"/>
                  <a:gd name="connsiteY114" fmla="*/ 366782 h 3279140"/>
                  <a:gd name="connsiteX115" fmla="*/ 1302865 w 2956079"/>
                  <a:gd name="connsiteY115" fmla="*/ 251821 h 3279140"/>
                  <a:gd name="connsiteX116" fmla="*/ 1209803 w 2956079"/>
                  <a:gd name="connsiteY116" fmla="*/ 142334 h 3279140"/>
                  <a:gd name="connsiteX117" fmla="*/ 1144112 w 2956079"/>
                  <a:gd name="connsiteY117" fmla="*/ 109487 h 3279140"/>
                  <a:gd name="connsiteX118" fmla="*/ 1144112 w 2956079"/>
                  <a:gd name="connsiteY118" fmla="*/ 109487 h 3279140"/>
                  <a:gd name="connsiteX119" fmla="*/ 1072948 w 2956079"/>
                  <a:gd name="connsiteY119" fmla="*/ 98539 h 3279140"/>
                  <a:gd name="connsiteX120" fmla="*/ 957989 w 2956079"/>
                  <a:gd name="connsiteY120" fmla="*/ 0 h 3279140"/>
                  <a:gd name="connsiteX121" fmla="*/ 957989 w 2956079"/>
                  <a:gd name="connsiteY121" fmla="*/ 0 h 3279140"/>
                  <a:gd name="connsiteX122" fmla="*/ 903247 w 2956079"/>
                  <a:gd name="connsiteY122" fmla="*/ 60218 h 3279140"/>
                  <a:gd name="connsiteX123" fmla="*/ 815659 w 2956079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51145 w 2968904"/>
                  <a:gd name="connsiteY17" fmla="*/ 1954346 h 3279140"/>
                  <a:gd name="connsiteX18" fmla="*/ 51145 w 2968904"/>
                  <a:gd name="connsiteY18" fmla="*/ 2020038 h 3279140"/>
                  <a:gd name="connsiteX19" fmla="*/ 5114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22570 w 2968904"/>
                  <a:gd name="connsiteY17" fmla="*/ 1957521 h 3279140"/>
                  <a:gd name="connsiteX18" fmla="*/ 51145 w 2968904"/>
                  <a:gd name="connsiteY18" fmla="*/ 2020038 h 3279140"/>
                  <a:gd name="connsiteX19" fmla="*/ 5114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51145 w 2968904"/>
                  <a:gd name="connsiteY18" fmla="*/ 2020038 h 3279140"/>
                  <a:gd name="connsiteX19" fmla="*/ 5114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51145 w 2968904"/>
                  <a:gd name="connsiteY18" fmla="*/ 2020038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82895 w 2968904"/>
                  <a:gd name="connsiteY18" fmla="*/ 1978763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28920 w 2968904"/>
                  <a:gd name="connsiteY18" fmla="*/ 1985113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32095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40197 w 2968904"/>
                  <a:gd name="connsiteY10" fmla="*/ 131932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47970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34722 w 2968904"/>
                  <a:gd name="connsiteY9" fmla="*/ 1237205 h 3279140"/>
                  <a:gd name="connsiteX10" fmla="*/ 17972 w 2968904"/>
                  <a:gd name="connsiteY10" fmla="*/ 131297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47970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28484 w 2968904"/>
                  <a:gd name="connsiteY0" fmla="*/ 71167 h 3279140"/>
                  <a:gd name="connsiteX1" fmla="*/ 828484 w 2968904"/>
                  <a:gd name="connsiteY1" fmla="*/ 71167 h 3279140"/>
                  <a:gd name="connsiteX2" fmla="*/ 981762 w 2968904"/>
                  <a:gd name="connsiteY2" fmla="*/ 208026 h 3279140"/>
                  <a:gd name="connsiteX3" fmla="*/ 970814 w 2968904"/>
                  <a:gd name="connsiteY3" fmla="*/ 361308 h 3279140"/>
                  <a:gd name="connsiteX4" fmla="*/ 916072 w 2968904"/>
                  <a:gd name="connsiteY4" fmla="*/ 355833 h 3279140"/>
                  <a:gd name="connsiteX5" fmla="*/ 855855 w 2968904"/>
                  <a:gd name="connsiteY5" fmla="*/ 563859 h 3279140"/>
                  <a:gd name="connsiteX6" fmla="*/ 669732 w 2968904"/>
                  <a:gd name="connsiteY6" fmla="*/ 799256 h 3279140"/>
                  <a:gd name="connsiteX7" fmla="*/ 450763 w 2968904"/>
                  <a:gd name="connsiteY7" fmla="*/ 958013 h 3279140"/>
                  <a:gd name="connsiteX8" fmla="*/ 12825 w 2968904"/>
                  <a:gd name="connsiteY8" fmla="*/ 1116769 h 3279140"/>
                  <a:gd name="connsiteX9" fmla="*/ 9322 w 2968904"/>
                  <a:gd name="connsiteY9" fmla="*/ 1230855 h 3279140"/>
                  <a:gd name="connsiteX10" fmla="*/ 17972 w 2968904"/>
                  <a:gd name="connsiteY10" fmla="*/ 1312970 h 3279140"/>
                  <a:gd name="connsiteX11" fmla="*/ 105887 w 2968904"/>
                  <a:gd name="connsiteY11" fmla="*/ 1401436 h 3279140"/>
                  <a:gd name="connsiteX12" fmla="*/ 111361 w 2968904"/>
                  <a:gd name="connsiteY12" fmla="*/ 1532820 h 3279140"/>
                  <a:gd name="connsiteX13" fmla="*/ 89465 w 2968904"/>
                  <a:gd name="connsiteY13" fmla="*/ 1675153 h 3279140"/>
                  <a:gd name="connsiteX14" fmla="*/ 0 w 2968904"/>
                  <a:gd name="connsiteY14" fmla="*/ 1788332 h 3279140"/>
                  <a:gd name="connsiteX15" fmla="*/ 18300 w 2968904"/>
                  <a:gd name="connsiteY15" fmla="*/ 1872230 h 3279140"/>
                  <a:gd name="connsiteX16" fmla="*/ 18300 w 2968904"/>
                  <a:gd name="connsiteY16" fmla="*/ 1872230 h 3279140"/>
                  <a:gd name="connsiteX17" fmla="*/ 38445 w 2968904"/>
                  <a:gd name="connsiteY17" fmla="*/ 1951171 h 3279140"/>
                  <a:gd name="connsiteX18" fmla="*/ 41620 w 2968904"/>
                  <a:gd name="connsiteY18" fmla="*/ 1985113 h 3279140"/>
                  <a:gd name="connsiteX19" fmla="*/ 47970 w 2968904"/>
                  <a:gd name="connsiteY19" fmla="*/ 2020038 h 3279140"/>
                  <a:gd name="connsiteX20" fmla="*/ 116836 w 2968904"/>
                  <a:gd name="connsiteY20" fmla="*/ 2030987 h 3279140"/>
                  <a:gd name="connsiteX21" fmla="*/ 149681 w 2968904"/>
                  <a:gd name="connsiteY21" fmla="*/ 2085730 h 3279140"/>
                  <a:gd name="connsiteX22" fmla="*/ 374124 w 2968904"/>
                  <a:gd name="connsiteY22" fmla="*/ 2145948 h 3279140"/>
                  <a:gd name="connsiteX23" fmla="*/ 423392 w 2968904"/>
                  <a:gd name="connsiteY23" fmla="*/ 2244486 h 3279140"/>
                  <a:gd name="connsiteX24" fmla="*/ 483608 w 2968904"/>
                  <a:gd name="connsiteY24" fmla="*/ 2255435 h 3279140"/>
                  <a:gd name="connsiteX25" fmla="*/ 538351 w 2968904"/>
                  <a:gd name="connsiteY25" fmla="*/ 2228063 h 3279140"/>
                  <a:gd name="connsiteX26" fmla="*/ 625938 w 2968904"/>
                  <a:gd name="connsiteY26" fmla="*/ 2310179 h 3279140"/>
                  <a:gd name="connsiteX27" fmla="*/ 680680 w 2968904"/>
                  <a:gd name="connsiteY27" fmla="*/ 2282807 h 3279140"/>
                  <a:gd name="connsiteX28" fmla="*/ 779216 w 2968904"/>
                  <a:gd name="connsiteY28" fmla="*/ 2288281 h 3279140"/>
                  <a:gd name="connsiteX29" fmla="*/ 839433 w 2968904"/>
                  <a:gd name="connsiteY29" fmla="*/ 2239012 h 3279140"/>
                  <a:gd name="connsiteX30" fmla="*/ 888701 w 2968904"/>
                  <a:gd name="connsiteY30" fmla="*/ 2326602 h 3279140"/>
                  <a:gd name="connsiteX31" fmla="*/ 850381 w 2968904"/>
                  <a:gd name="connsiteY31" fmla="*/ 2364922 h 3279140"/>
                  <a:gd name="connsiteX32" fmla="*/ 866804 w 2968904"/>
                  <a:gd name="connsiteY32" fmla="*/ 2457986 h 3279140"/>
                  <a:gd name="connsiteX33" fmla="*/ 866804 w 2968904"/>
                  <a:gd name="connsiteY33" fmla="*/ 2529153 h 3279140"/>
                  <a:gd name="connsiteX34" fmla="*/ 784690 w 2968904"/>
                  <a:gd name="connsiteY34" fmla="*/ 2572948 h 3279140"/>
                  <a:gd name="connsiteX35" fmla="*/ 735423 w 2968904"/>
                  <a:gd name="connsiteY35" fmla="*/ 2529153 h 3279140"/>
                  <a:gd name="connsiteX36" fmla="*/ 647835 w 2968904"/>
                  <a:gd name="connsiteY36" fmla="*/ 2540102 h 3279140"/>
                  <a:gd name="connsiteX37" fmla="*/ 686155 w 2968904"/>
                  <a:gd name="connsiteY37" fmla="*/ 2605794 h 3279140"/>
                  <a:gd name="connsiteX38" fmla="*/ 653309 w 2968904"/>
                  <a:gd name="connsiteY38" fmla="*/ 2693384 h 3279140"/>
                  <a:gd name="connsiteX39" fmla="*/ 609515 w 2968904"/>
                  <a:gd name="connsiteY39" fmla="*/ 2720755 h 3279140"/>
                  <a:gd name="connsiteX40" fmla="*/ 614990 w 2968904"/>
                  <a:gd name="connsiteY40" fmla="*/ 2786448 h 3279140"/>
                  <a:gd name="connsiteX41" fmla="*/ 647835 w 2968904"/>
                  <a:gd name="connsiteY41" fmla="*/ 2824768 h 3279140"/>
                  <a:gd name="connsiteX42" fmla="*/ 647835 w 2968904"/>
                  <a:gd name="connsiteY42" fmla="*/ 2879512 h 3279140"/>
                  <a:gd name="connsiteX43" fmla="*/ 697103 w 2968904"/>
                  <a:gd name="connsiteY43" fmla="*/ 2972576 h 3279140"/>
                  <a:gd name="connsiteX44" fmla="*/ 751845 w 2968904"/>
                  <a:gd name="connsiteY44" fmla="*/ 2967101 h 3279140"/>
                  <a:gd name="connsiteX45" fmla="*/ 751845 w 2968904"/>
                  <a:gd name="connsiteY45" fmla="*/ 2967101 h 3279140"/>
                  <a:gd name="connsiteX46" fmla="*/ 713526 w 2968904"/>
                  <a:gd name="connsiteY46" fmla="*/ 3021845 h 3279140"/>
                  <a:gd name="connsiteX47" fmla="*/ 724474 w 2968904"/>
                  <a:gd name="connsiteY47" fmla="*/ 3093012 h 3279140"/>
                  <a:gd name="connsiteX48" fmla="*/ 724474 w 2968904"/>
                  <a:gd name="connsiteY48" fmla="*/ 3093012 h 3279140"/>
                  <a:gd name="connsiteX49" fmla="*/ 697103 w 2968904"/>
                  <a:gd name="connsiteY49" fmla="*/ 3279140 h 3279140"/>
                  <a:gd name="connsiteX50" fmla="*/ 801113 w 2968904"/>
                  <a:gd name="connsiteY50" fmla="*/ 3136807 h 3279140"/>
                  <a:gd name="connsiteX51" fmla="*/ 905123 w 2968904"/>
                  <a:gd name="connsiteY51" fmla="*/ 3158704 h 3279140"/>
                  <a:gd name="connsiteX52" fmla="*/ 877752 w 2968904"/>
                  <a:gd name="connsiteY52" fmla="*/ 3098486 h 3279140"/>
                  <a:gd name="connsiteX53" fmla="*/ 954391 w 2968904"/>
                  <a:gd name="connsiteY53" fmla="*/ 3038268 h 3279140"/>
                  <a:gd name="connsiteX54" fmla="*/ 998185 w 2968904"/>
                  <a:gd name="connsiteY54" fmla="*/ 3071114 h 3279140"/>
                  <a:gd name="connsiteX55" fmla="*/ 1014608 w 2968904"/>
                  <a:gd name="connsiteY55" fmla="*/ 2983525 h 3279140"/>
                  <a:gd name="connsiteX56" fmla="*/ 1014608 w 2968904"/>
                  <a:gd name="connsiteY56" fmla="*/ 2983525 h 3279140"/>
                  <a:gd name="connsiteX57" fmla="*/ 1102195 w 2968904"/>
                  <a:gd name="connsiteY57" fmla="*/ 3038268 h 3279140"/>
                  <a:gd name="connsiteX58" fmla="*/ 1217154 w 2968904"/>
                  <a:gd name="connsiteY58" fmla="*/ 2939730 h 3279140"/>
                  <a:gd name="connsiteX59" fmla="*/ 1195257 w 2968904"/>
                  <a:gd name="connsiteY59" fmla="*/ 2819294 h 3279140"/>
                  <a:gd name="connsiteX60" fmla="*/ 1244525 w 2968904"/>
                  <a:gd name="connsiteY60" fmla="*/ 2704332 h 3279140"/>
                  <a:gd name="connsiteX61" fmla="*/ 1392329 w 2968904"/>
                  <a:gd name="connsiteY61" fmla="*/ 2786448 h 3279140"/>
                  <a:gd name="connsiteX62" fmla="*/ 1447071 w 2968904"/>
                  <a:gd name="connsiteY62" fmla="*/ 2824768 h 3279140"/>
                  <a:gd name="connsiteX63" fmla="*/ 1485391 w 2968904"/>
                  <a:gd name="connsiteY63" fmla="*/ 2742653 h 3279140"/>
                  <a:gd name="connsiteX64" fmla="*/ 1545607 w 2968904"/>
                  <a:gd name="connsiteY64" fmla="*/ 2748127 h 3279140"/>
                  <a:gd name="connsiteX65" fmla="*/ 1507288 w 2968904"/>
                  <a:gd name="connsiteY65" fmla="*/ 2660538 h 3279140"/>
                  <a:gd name="connsiteX66" fmla="*/ 1534659 w 2968904"/>
                  <a:gd name="connsiteY66" fmla="*/ 2583897 h 3279140"/>
                  <a:gd name="connsiteX67" fmla="*/ 1622246 w 2968904"/>
                  <a:gd name="connsiteY67" fmla="*/ 2479884 h 3279140"/>
                  <a:gd name="connsiteX68" fmla="*/ 1726256 w 2968904"/>
                  <a:gd name="connsiteY68" fmla="*/ 2485358 h 3279140"/>
                  <a:gd name="connsiteX69" fmla="*/ 1786473 w 2968904"/>
                  <a:gd name="connsiteY69" fmla="*/ 2397768 h 3279140"/>
                  <a:gd name="connsiteX70" fmla="*/ 1698885 w 2968904"/>
                  <a:gd name="connsiteY70" fmla="*/ 2277333 h 3279140"/>
                  <a:gd name="connsiteX71" fmla="*/ 1775524 w 2968904"/>
                  <a:gd name="connsiteY71" fmla="*/ 2156897 h 3279140"/>
                  <a:gd name="connsiteX72" fmla="*/ 1841215 w 2968904"/>
                  <a:gd name="connsiteY72" fmla="*/ 2036461 h 3279140"/>
                  <a:gd name="connsiteX73" fmla="*/ 1868586 w 2968904"/>
                  <a:gd name="connsiteY73" fmla="*/ 1916025 h 3279140"/>
                  <a:gd name="connsiteX74" fmla="*/ 1934277 w 2968904"/>
                  <a:gd name="connsiteY74" fmla="*/ 1883179 h 3279140"/>
                  <a:gd name="connsiteX75" fmla="*/ 2262730 w 2968904"/>
                  <a:gd name="connsiteY75" fmla="*/ 1675153 h 3279140"/>
                  <a:gd name="connsiteX76" fmla="*/ 2311998 w 2968904"/>
                  <a:gd name="connsiteY76" fmla="*/ 1680628 h 3279140"/>
                  <a:gd name="connsiteX77" fmla="*/ 2591183 w 2968904"/>
                  <a:gd name="connsiteY77" fmla="*/ 1636833 h 3279140"/>
                  <a:gd name="connsiteX78" fmla="*/ 2640451 w 2968904"/>
                  <a:gd name="connsiteY78" fmla="*/ 1571141 h 3279140"/>
                  <a:gd name="connsiteX79" fmla="*/ 2771832 w 2968904"/>
                  <a:gd name="connsiteY79" fmla="*/ 1565666 h 3279140"/>
                  <a:gd name="connsiteX80" fmla="*/ 2771832 w 2968904"/>
                  <a:gd name="connsiteY80" fmla="*/ 1565666 h 3279140"/>
                  <a:gd name="connsiteX81" fmla="*/ 2821100 w 2968904"/>
                  <a:gd name="connsiteY81" fmla="*/ 1582089 h 3279140"/>
                  <a:gd name="connsiteX82" fmla="*/ 2821100 w 2968904"/>
                  <a:gd name="connsiteY82" fmla="*/ 1582089 h 3279140"/>
                  <a:gd name="connsiteX83" fmla="*/ 2968904 w 2968904"/>
                  <a:gd name="connsiteY83" fmla="*/ 1647782 h 3279140"/>
                  <a:gd name="connsiteX84" fmla="*/ 2919636 w 2968904"/>
                  <a:gd name="connsiteY84" fmla="*/ 1527346 h 3279140"/>
                  <a:gd name="connsiteX85" fmla="*/ 2810152 w 2968904"/>
                  <a:gd name="connsiteY85" fmla="*/ 1412384 h 3279140"/>
                  <a:gd name="connsiteX86" fmla="*/ 2744461 w 2968904"/>
                  <a:gd name="connsiteY86" fmla="*/ 1445230 h 3279140"/>
                  <a:gd name="connsiteX87" fmla="*/ 2662348 w 2968904"/>
                  <a:gd name="connsiteY87" fmla="*/ 1406910 h 3279140"/>
                  <a:gd name="connsiteX88" fmla="*/ 2908688 w 2968904"/>
                  <a:gd name="connsiteY88" fmla="*/ 1012756 h 3279140"/>
                  <a:gd name="connsiteX89" fmla="*/ 2738987 w 2968904"/>
                  <a:gd name="connsiteY89" fmla="*/ 897795 h 3279140"/>
                  <a:gd name="connsiteX90" fmla="*/ 2689719 w 2968904"/>
                  <a:gd name="connsiteY90" fmla="*/ 914218 h 3279140"/>
                  <a:gd name="connsiteX91" fmla="*/ 2689719 w 2968904"/>
                  <a:gd name="connsiteY91" fmla="*/ 914218 h 3279140"/>
                  <a:gd name="connsiteX92" fmla="*/ 2563812 w 2968904"/>
                  <a:gd name="connsiteY92" fmla="*/ 815679 h 3279140"/>
                  <a:gd name="connsiteX93" fmla="*/ 2492647 w 2968904"/>
                  <a:gd name="connsiteY93" fmla="*/ 854000 h 3279140"/>
                  <a:gd name="connsiteX94" fmla="*/ 2492647 w 2968904"/>
                  <a:gd name="connsiteY94" fmla="*/ 854000 h 3279140"/>
                  <a:gd name="connsiteX95" fmla="*/ 2437905 w 2968904"/>
                  <a:gd name="connsiteY95" fmla="*/ 881372 h 3279140"/>
                  <a:gd name="connsiteX96" fmla="*/ 2399585 w 2968904"/>
                  <a:gd name="connsiteY96" fmla="*/ 908743 h 3279140"/>
                  <a:gd name="connsiteX97" fmla="*/ 2372214 w 2968904"/>
                  <a:gd name="connsiteY97" fmla="*/ 837577 h 3279140"/>
                  <a:gd name="connsiteX98" fmla="*/ 2301049 w 2968904"/>
                  <a:gd name="connsiteY98" fmla="*/ 810205 h 3279140"/>
                  <a:gd name="connsiteX99" fmla="*/ 2273678 w 2968904"/>
                  <a:gd name="connsiteY99" fmla="*/ 760936 h 3279140"/>
                  <a:gd name="connsiteX100" fmla="*/ 2218936 w 2968904"/>
                  <a:gd name="connsiteY100" fmla="*/ 870423 h 3279140"/>
                  <a:gd name="connsiteX101" fmla="*/ 2120400 w 2968904"/>
                  <a:gd name="connsiteY101" fmla="*/ 875897 h 3279140"/>
                  <a:gd name="connsiteX102" fmla="*/ 2082081 w 2968904"/>
                  <a:gd name="connsiteY102" fmla="*/ 936115 h 3279140"/>
                  <a:gd name="connsiteX103" fmla="*/ 1923328 w 2968904"/>
                  <a:gd name="connsiteY103" fmla="*/ 881372 h 3279140"/>
                  <a:gd name="connsiteX104" fmla="*/ 1863112 w 2968904"/>
                  <a:gd name="connsiteY104" fmla="*/ 908743 h 3279140"/>
                  <a:gd name="connsiteX105" fmla="*/ 1759102 w 2968904"/>
                  <a:gd name="connsiteY105" fmla="*/ 843051 h 3279140"/>
                  <a:gd name="connsiteX106" fmla="*/ 1780999 w 2968904"/>
                  <a:gd name="connsiteY106" fmla="*/ 771885 h 3279140"/>
                  <a:gd name="connsiteX107" fmla="*/ 1720782 w 2968904"/>
                  <a:gd name="connsiteY107" fmla="*/ 640500 h 3279140"/>
                  <a:gd name="connsiteX108" fmla="*/ 1676988 w 2968904"/>
                  <a:gd name="connsiteY108" fmla="*/ 673346 h 3279140"/>
                  <a:gd name="connsiteX109" fmla="*/ 1594875 w 2968904"/>
                  <a:gd name="connsiteY109" fmla="*/ 629551 h 3279140"/>
                  <a:gd name="connsiteX110" fmla="*/ 1638669 w 2968904"/>
                  <a:gd name="connsiteY110" fmla="*/ 569333 h 3279140"/>
                  <a:gd name="connsiteX111" fmla="*/ 1545607 w 2968904"/>
                  <a:gd name="connsiteY111" fmla="*/ 448898 h 3279140"/>
                  <a:gd name="connsiteX112" fmla="*/ 1485391 w 2968904"/>
                  <a:gd name="connsiteY112" fmla="*/ 454372 h 3279140"/>
                  <a:gd name="connsiteX113" fmla="*/ 1403277 w 2968904"/>
                  <a:gd name="connsiteY113" fmla="*/ 388680 h 3279140"/>
                  <a:gd name="connsiteX114" fmla="*/ 1321164 w 2968904"/>
                  <a:gd name="connsiteY114" fmla="*/ 366782 h 3279140"/>
                  <a:gd name="connsiteX115" fmla="*/ 1315690 w 2968904"/>
                  <a:gd name="connsiteY115" fmla="*/ 251821 h 3279140"/>
                  <a:gd name="connsiteX116" fmla="*/ 1222628 w 2968904"/>
                  <a:gd name="connsiteY116" fmla="*/ 142334 h 3279140"/>
                  <a:gd name="connsiteX117" fmla="*/ 1156937 w 2968904"/>
                  <a:gd name="connsiteY117" fmla="*/ 109487 h 3279140"/>
                  <a:gd name="connsiteX118" fmla="*/ 1156937 w 2968904"/>
                  <a:gd name="connsiteY118" fmla="*/ 109487 h 3279140"/>
                  <a:gd name="connsiteX119" fmla="*/ 1085773 w 2968904"/>
                  <a:gd name="connsiteY119" fmla="*/ 98539 h 3279140"/>
                  <a:gd name="connsiteX120" fmla="*/ 970814 w 2968904"/>
                  <a:gd name="connsiteY120" fmla="*/ 0 h 3279140"/>
                  <a:gd name="connsiteX121" fmla="*/ 970814 w 2968904"/>
                  <a:gd name="connsiteY121" fmla="*/ 0 h 3279140"/>
                  <a:gd name="connsiteX122" fmla="*/ 916072 w 2968904"/>
                  <a:gd name="connsiteY122" fmla="*/ 60218 h 3279140"/>
                  <a:gd name="connsiteX123" fmla="*/ 828484 w 2968904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112112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95690 w 2975129"/>
                  <a:gd name="connsiteY13" fmla="*/ 1675153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41648 w 2975129"/>
                  <a:gd name="connsiteY35" fmla="*/ 25291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95690 w 2975129"/>
                  <a:gd name="connsiteY13" fmla="*/ 1675153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41648 w 2975129"/>
                  <a:gd name="connsiteY35" fmla="*/ 25291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41648 w 2975129"/>
                  <a:gd name="connsiteY35" fmla="*/ 25291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25773 w 2975129"/>
                  <a:gd name="connsiteY35" fmla="*/ 251010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621215 w 2975129"/>
                  <a:gd name="connsiteY40" fmla="*/ 2786448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4060 w 2975129"/>
                  <a:gd name="connsiteY41" fmla="*/ 28247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23379 w 2975129"/>
                  <a:gd name="connsiteY58" fmla="*/ 2939730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0750 w 2975129"/>
                  <a:gd name="connsiteY60" fmla="*/ 2704332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26557 h 3279140"/>
                  <a:gd name="connsiteX61" fmla="*/ 1398554 w 2975129"/>
                  <a:gd name="connsiteY61" fmla="*/ 27864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265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07338 w 2975129"/>
                  <a:gd name="connsiteY50" fmla="*/ 31368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92380 w 2975129"/>
                  <a:gd name="connsiteY37" fmla="*/ 2605794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10513 w 2975129"/>
                  <a:gd name="connsiteY50" fmla="*/ 31495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54060 w 2975129"/>
                  <a:gd name="connsiteY36" fmla="*/ 2540102 h 3279140"/>
                  <a:gd name="connsiteX37" fmla="*/ 689205 w 2975129"/>
                  <a:gd name="connsiteY37" fmla="*/ 2589919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10513 w 2975129"/>
                  <a:gd name="connsiteY50" fmla="*/ 31495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  <a:gd name="connsiteX0" fmla="*/ 834709 w 2975129"/>
                  <a:gd name="connsiteY0" fmla="*/ 71167 h 3279140"/>
                  <a:gd name="connsiteX1" fmla="*/ 834709 w 2975129"/>
                  <a:gd name="connsiteY1" fmla="*/ 71167 h 3279140"/>
                  <a:gd name="connsiteX2" fmla="*/ 987987 w 2975129"/>
                  <a:gd name="connsiteY2" fmla="*/ 208026 h 3279140"/>
                  <a:gd name="connsiteX3" fmla="*/ 977039 w 2975129"/>
                  <a:gd name="connsiteY3" fmla="*/ 361308 h 3279140"/>
                  <a:gd name="connsiteX4" fmla="*/ 922297 w 2975129"/>
                  <a:gd name="connsiteY4" fmla="*/ 355833 h 3279140"/>
                  <a:gd name="connsiteX5" fmla="*/ 862080 w 2975129"/>
                  <a:gd name="connsiteY5" fmla="*/ 563859 h 3279140"/>
                  <a:gd name="connsiteX6" fmla="*/ 675957 w 2975129"/>
                  <a:gd name="connsiteY6" fmla="*/ 799256 h 3279140"/>
                  <a:gd name="connsiteX7" fmla="*/ 456988 w 2975129"/>
                  <a:gd name="connsiteY7" fmla="*/ 958013 h 3279140"/>
                  <a:gd name="connsiteX8" fmla="*/ 0 w 2975129"/>
                  <a:gd name="connsiteY8" fmla="*/ 1123119 h 3279140"/>
                  <a:gd name="connsiteX9" fmla="*/ 15547 w 2975129"/>
                  <a:gd name="connsiteY9" fmla="*/ 1230855 h 3279140"/>
                  <a:gd name="connsiteX10" fmla="*/ 24197 w 2975129"/>
                  <a:gd name="connsiteY10" fmla="*/ 1312970 h 3279140"/>
                  <a:gd name="connsiteX11" fmla="*/ 96237 w 2975129"/>
                  <a:gd name="connsiteY11" fmla="*/ 1401436 h 3279140"/>
                  <a:gd name="connsiteX12" fmla="*/ 117586 w 2975129"/>
                  <a:gd name="connsiteY12" fmla="*/ 1532820 h 3279140"/>
                  <a:gd name="connsiteX13" fmla="*/ 79815 w 2975129"/>
                  <a:gd name="connsiteY13" fmla="*/ 1671978 h 3279140"/>
                  <a:gd name="connsiteX14" fmla="*/ 6225 w 2975129"/>
                  <a:gd name="connsiteY14" fmla="*/ 1788332 h 3279140"/>
                  <a:gd name="connsiteX15" fmla="*/ 24525 w 2975129"/>
                  <a:gd name="connsiteY15" fmla="*/ 1872230 h 3279140"/>
                  <a:gd name="connsiteX16" fmla="*/ 24525 w 2975129"/>
                  <a:gd name="connsiteY16" fmla="*/ 1872230 h 3279140"/>
                  <a:gd name="connsiteX17" fmla="*/ 44670 w 2975129"/>
                  <a:gd name="connsiteY17" fmla="*/ 1951171 h 3279140"/>
                  <a:gd name="connsiteX18" fmla="*/ 47845 w 2975129"/>
                  <a:gd name="connsiteY18" fmla="*/ 1985113 h 3279140"/>
                  <a:gd name="connsiteX19" fmla="*/ 54195 w 2975129"/>
                  <a:gd name="connsiteY19" fmla="*/ 2020038 h 3279140"/>
                  <a:gd name="connsiteX20" fmla="*/ 123061 w 2975129"/>
                  <a:gd name="connsiteY20" fmla="*/ 2030987 h 3279140"/>
                  <a:gd name="connsiteX21" fmla="*/ 155906 w 2975129"/>
                  <a:gd name="connsiteY21" fmla="*/ 2085730 h 3279140"/>
                  <a:gd name="connsiteX22" fmla="*/ 380349 w 2975129"/>
                  <a:gd name="connsiteY22" fmla="*/ 2145948 h 3279140"/>
                  <a:gd name="connsiteX23" fmla="*/ 429617 w 2975129"/>
                  <a:gd name="connsiteY23" fmla="*/ 2244486 h 3279140"/>
                  <a:gd name="connsiteX24" fmla="*/ 489833 w 2975129"/>
                  <a:gd name="connsiteY24" fmla="*/ 2255435 h 3279140"/>
                  <a:gd name="connsiteX25" fmla="*/ 544576 w 2975129"/>
                  <a:gd name="connsiteY25" fmla="*/ 2228063 h 3279140"/>
                  <a:gd name="connsiteX26" fmla="*/ 632163 w 2975129"/>
                  <a:gd name="connsiteY26" fmla="*/ 2310179 h 3279140"/>
                  <a:gd name="connsiteX27" fmla="*/ 686905 w 2975129"/>
                  <a:gd name="connsiteY27" fmla="*/ 2282807 h 3279140"/>
                  <a:gd name="connsiteX28" fmla="*/ 785441 w 2975129"/>
                  <a:gd name="connsiteY28" fmla="*/ 2288281 h 3279140"/>
                  <a:gd name="connsiteX29" fmla="*/ 845658 w 2975129"/>
                  <a:gd name="connsiteY29" fmla="*/ 2239012 h 3279140"/>
                  <a:gd name="connsiteX30" fmla="*/ 894926 w 2975129"/>
                  <a:gd name="connsiteY30" fmla="*/ 2326602 h 3279140"/>
                  <a:gd name="connsiteX31" fmla="*/ 856606 w 2975129"/>
                  <a:gd name="connsiteY31" fmla="*/ 2364922 h 3279140"/>
                  <a:gd name="connsiteX32" fmla="*/ 873029 w 2975129"/>
                  <a:gd name="connsiteY32" fmla="*/ 2457986 h 3279140"/>
                  <a:gd name="connsiteX33" fmla="*/ 873029 w 2975129"/>
                  <a:gd name="connsiteY33" fmla="*/ 2529153 h 3279140"/>
                  <a:gd name="connsiteX34" fmla="*/ 790915 w 2975129"/>
                  <a:gd name="connsiteY34" fmla="*/ 2572948 h 3279140"/>
                  <a:gd name="connsiteX35" fmla="*/ 719423 w 2975129"/>
                  <a:gd name="connsiteY35" fmla="*/ 2516453 h 3279140"/>
                  <a:gd name="connsiteX36" fmla="*/ 638185 w 2975129"/>
                  <a:gd name="connsiteY36" fmla="*/ 2533752 h 3279140"/>
                  <a:gd name="connsiteX37" fmla="*/ 689205 w 2975129"/>
                  <a:gd name="connsiteY37" fmla="*/ 2589919 h 3279140"/>
                  <a:gd name="connsiteX38" fmla="*/ 659534 w 2975129"/>
                  <a:gd name="connsiteY38" fmla="*/ 2693384 h 3279140"/>
                  <a:gd name="connsiteX39" fmla="*/ 615740 w 2975129"/>
                  <a:gd name="connsiteY39" fmla="*/ 2720755 h 3279140"/>
                  <a:gd name="connsiteX40" fmla="*/ 598990 w 2975129"/>
                  <a:gd name="connsiteY40" fmla="*/ 2776923 h 3279140"/>
                  <a:gd name="connsiteX41" fmla="*/ 650885 w 2975129"/>
                  <a:gd name="connsiteY41" fmla="*/ 2837468 h 3279140"/>
                  <a:gd name="connsiteX42" fmla="*/ 654060 w 2975129"/>
                  <a:gd name="connsiteY42" fmla="*/ 2879512 h 3279140"/>
                  <a:gd name="connsiteX43" fmla="*/ 703328 w 2975129"/>
                  <a:gd name="connsiteY43" fmla="*/ 2972576 h 3279140"/>
                  <a:gd name="connsiteX44" fmla="*/ 758070 w 2975129"/>
                  <a:gd name="connsiteY44" fmla="*/ 2967101 h 3279140"/>
                  <a:gd name="connsiteX45" fmla="*/ 758070 w 2975129"/>
                  <a:gd name="connsiteY45" fmla="*/ 2967101 h 3279140"/>
                  <a:gd name="connsiteX46" fmla="*/ 719751 w 2975129"/>
                  <a:gd name="connsiteY46" fmla="*/ 3021845 h 3279140"/>
                  <a:gd name="connsiteX47" fmla="*/ 730699 w 2975129"/>
                  <a:gd name="connsiteY47" fmla="*/ 3093012 h 3279140"/>
                  <a:gd name="connsiteX48" fmla="*/ 730699 w 2975129"/>
                  <a:gd name="connsiteY48" fmla="*/ 3093012 h 3279140"/>
                  <a:gd name="connsiteX49" fmla="*/ 703328 w 2975129"/>
                  <a:gd name="connsiteY49" fmla="*/ 3279140 h 3279140"/>
                  <a:gd name="connsiteX50" fmla="*/ 810513 w 2975129"/>
                  <a:gd name="connsiteY50" fmla="*/ 3149507 h 3279140"/>
                  <a:gd name="connsiteX51" fmla="*/ 911348 w 2975129"/>
                  <a:gd name="connsiteY51" fmla="*/ 3158704 h 3279140"/>
                  <a:gd name="connsiteX52" fmla="*/ 883977 w 2975129"/>
                  <a:gd name="connsiteY52" fmla="*/ 3098486 h 3279140"/>
                  <a:gd name="connsiteX53" fmla="*/ 960616 w 2975129"/>
                  <a:gd name="connsiteY53" fmla="*/ 3038268 h 3279140"/>
                  <a:gd name="connsiteX54" fmla="*/ 1004410 w 2975129"/>
                  <a:gd name="connsiteY54" fmla="*/ 3071114 h 3279140"/>
                  <a:gd name="connsiteX55" fmla="*/ 1020833 w 2975129"/>
                  <a:gd name="connsiteY55" fmla="*/ 2983525 h 3279140"/>
                  <a:gd name="connsiteX56" fmla="*/ 1020833 w 2975129"/>
                  <a:gd name="connsiteY56" fmla="*/ 2983525 h 3279140"/>
                  <a:gd name="connsiteX57" fmla="*/ 1108420 w 2975129"/>
                  <a:gd name="connsiteY57" fmla="*/ 3038268 h 3279140"/>
                  <a:gd name="connsiteX58" fmla="*/ 1242429 w 2975129"/>
                  <a:gd name="connsiteY58" fmla="*/ 2936555 h 3279140"/>
                  <a:gd name="connsiteX59" fmla="*/ 1201482 w 2975129"/>
                  <a:gd name="connsiteY59" fmla="*/ 2819294 h 3279140"/>
                  <a:gd name="connsiteX60" fmla="*/ 1257100 w 2975129"/>
                  <a:gd name="connsiteY60" fmla="*/ 2713857 h 3279140"/>
                  <a:gd name="connsiteX61" fmla="*/ 1398554 w 2975129"/>
                  <a:gd name="connsiteY61" fmla="*/ 2799148 h 3279140"/>
                  <a:gd name="connsiteX62" fmla="*/ 1453296 w 2975129"/>
                  <a:gd name="connsiteY62" fmla="*/ 2824768 h 3279140"/>
                  <a:gd name="connsiteX63" fmla="*/ 1491616 w 2975129"/>
                  <a:gd name="connsiteY63" fmla="*/ 2742653 h 3279140"/>
                  <a:gd name="connsiteX64" fmla="*/ 1551832 w 2975129"/>
                  <a:gd name="connsiteY64" fmla="*/ 2748127 h 3279140"/>
                  <a:gd name="connsiteX65" fmla="*/ 1513513 w 2975129"/>
                  <a:gd name="connsiteY65" fmla="*/ 2660538 h 3279140"/>
                  <a:gd name="connsiteX66" fmla="*/ 1540884 w 2975129"/>
                  <a:gd name="connsiteY66" fmla="*/ 2583897 h 3279140"/>
                  <a:gd name="connsiteX67" fmla="*/ 1628471 w 2975129"/>
                  <a:gd name="connsiteY67" fmla="*/ 2479884 h 3279140"/>
                  <a:gd name="connsiteX68" fmla="*/ 1732481 w 2975129"/>
                  <a:gd name="connsiteY68" fmla="*/ 2485358 h 3279140"/>
                  <a:gd name="connsiteX69" fmla="*/ 1792698 w 2975129"/>
                  <a:gd name="connsiteY69" fmla="*/ 2397768 h 3279140"/>
                  <a:gd name="connsiteX70" fmla="*/ 1705110 w 2975129"/>
                  <a:gd name="connsiteY70" fmla="*/ 2277333 h 3279140"/>
                  <a:gd name="connsiteX71" fmla="*/ 1781749 w 2975129"/>
                  <a:gd name="connsiteY71" fmla="*/ 2156897 h 3279140"/>
                  <a:gd name="connsiteX72" fmla="*/ 1847440 w 2975129"/>
                  <a:gd name="connsiteY72" fmla="*/ 2036461 h 3279140"/>
                  <a:gd name="connsiteX73" fmla="*/ 1874811 w 2975129"/>
                  <a:gd name="connsiteY73" fmla="*/ 1916025 h 3279140"/>
                  <a:gd name="connsiteX74" fmla="*/ 1940502 w 2975129"/>
                  <a:gd name="connsiteY74" fmla="*/ 1883179 h 3279140"/>
                  <a:gd name="connsiteX75" fmla="*/ 2268955 w 2975129"/>
                  <a:gd name="connsiteY75" fmla="*/ 1675153 h 3279140"/>
                  <a:gd name="connsiteX76" fmla="*/ 2318223 w 2975129"/>
                  <a:gd name="connsiteY76" fmla="*/ 1680628 h 3279140"/>
                  <a:gd name="connsiteX77" fmla="*/ 2597408 w 2975129"/>
                  <a:gd name="connsiteY77" fmla="*/ 1636833 h 3279140"/>
                  <a:gd name="connsiteX78" fmla="*/ 2646676 w 2975129"/>
                  <a:gd name="connsiteY78" fmla="*/ 1571141 h 3279140"/>
                  <a:gd name="connsiteX79" fmla="*/ 2778057 w 2975129"/>
                  <a:gd name="connsiteY79" fmla="*/ 1565666 h 3279140"/>
                  <a:gd name="connsiteX80" fmla="*/ 2778057 w 2975129"/>
                  <a:gd name="connsiteY80" fmla="*/ 1565666 h 3279140"/>
                  <a:gd name="connsiteX81" fmla="*/ 2827325 w 2975129"/>
                  <a:gd name="connsiteY81" fmla="*/ 1582089 h 3279140"/>
                  <a:gd name="connsiteX82" fmla="*/ 2827325 w 2975129"/>
                  <a:gd name="connsiteY82" fmla="*/ 1582089 h 3279140"/>
                  <a:gd name="connsiteX83" fmla="*/ 2975129 w 2975129"/>
                  <a:gd name="connsiteY83" fmla="*/ 1647782 h 3279140"/>
                  <a:gd name="connsiteX84" fmla="*/ 2925861 w 2975129"/>
                  <a:gd name="connsiteY84" fmla="*/ 1527346 h 3279140"/>
                  <a:gd name="connsiteX85" fmla="*/ 2816377 w 2975129"/>
                  <a:gd name="connsiteY85" fmla="*/ 1412384 h 3279140"/>
                  <a:gd name="connsiteX86" fmla="*/ 2750686 w 2975129"/>
                  <a:gd name="connsiteY86" fmla="*/ 1445230 h 3279140"/>
                  <a:gd name="connsiteX87" fmla="*/ 2668573 w 2975129"/>
                  <a:gd name="connsiteY87" fmla="*/ 1406910 h 3279140"/>
                  <a:gd name="connsiteX88" fmla="*/ 2914913 w 2975129"/>
                  <a:gd name="connsiteY88" fmla="*/ 1012756 h 3279140"/>
                  <a:gd name="connsiteX89" fmla="*/ 2745212 w 2975129"/>
                  <a:gd name="connsiteY89" fmla="*/ 897795 h 3279140"/>
                  <a:gd name="connsiteX90" fmla="*/ 2695944 w 2975129"/>
                  <a:gd name="connsiteY90" fmla="*/ 914218 h 3279140"/>
                  <a:gd name="connsiteX91" fmla="*/ 2695944 w 2975129"/>
                  <a:gd name="connsiteY91" fmla="*/ 914218 h 3279140"/>
                  <a:gd name="connsiteX92" fmla="*/ 2570037 w 2975129"/>
                  <a:gd name="connsiteY92" fmla="*/ 815679 h 3279140"/>
                  <a:gd name="connsiteX93" fmla="*/ 2498872 w 2975129"/>
                  <a:gd name="connsiteY93" fmla="*/ 854000 h 3279140"/>
                  <a:gd name="connsiteX94" fmla="*/ 2498872 w 2975129"/>
                  <a:gd name="connsiteY94" fmla="*/ 854000 h 3279140"/>
                  <a:gd name="connsiteX95" fmla="*/ 2444130 w 2975129"/>
                  <a:gd name="connsiteY95" fmla="*/ 881372 h 3279140"/>
                  <a:gd name="connsiteX96" fmla="*/ 2405810 w 2975129"/>
                  <a:gd name="connsiteY96" fmla="*/ 908743 h 3279140"/>
                  <a:gd name="connsiteX97" fmla="*/ 2378439 w 2975129"/>
                  <a:gd name="connsiteY97" fmla="*/ 837577 h 3279140"/>
                  <a:gd name="connsiteX98" fmla="*/ 2307274 w 2975129"/>
                  <a:gd name="connsiteY98" fmla="*/ 810205 h 3279140"/>
                  <a:gd name="connsiteX99" fmla="*/ 2279903 w 2975129"/>
                  <a:gd name="connsiteY99" fmla="*/ 760936 h 3279140"/>
                  <a:gd name="connsiteX100" fmla="*/ 2225161 w 2975129"/>
                  <a:gd name="connsiteY100" fmla="*/ 870423 h 3279140"/>
                  <a:gd name="connsiteX101" fmla="*/ 2126625 w 2975129"/>
                  <a:gd name="connsiteY101" fmla="*/ 875897 h 3279140"/>
                  <a:gd name="connsiteX102" fmla="*/ 2088306 w 2975129"/>
                  <a:gd name="connsiteY102" fmla="*/ 936115 h 3279140"/>
                  <a:gd name="connsiteX103" fmla="*/ 1929553 w 2975129"/>
                  <a:gd name="connsiteY103" fmla="*/ 881372 h 3279140"/>
                  <a:gd name="connsiteX104" fmla="*/ 1869337 w 2975129"/>
                  <a:gd name="connsiteY104" fmla="*/ 908743 h 3279140"/>
                  <a:gd name="connsiteX105" fmla="*/ 1765327 w 2975129"/>
                  <a:gd name="connsiteY105" fmla="*/ 843051 h 3279140"/>
                  <a:gd name="connsiteX106" fmla="*/ 1787224 w 2975129"/>
                  <a:gd name="connsiteY106" fmla="*/ 771885 h 3279140"/>
                  <a:gd name="connsiteX107" fmla="*/ 1727007 w 2975129"/>
                  <a:gd name="connsiteY107" fmla="*/ 640500 h 3279140"/>
                  <a:gd name="connsiteX108" fmla="*/ 1683213 w 2975129"/>
                  <a:gd name="connsiteY108" fmla="*/ 673346 h 3279140"/>
                  <a:gd name="connsiteX109" fmla="*/ 1601100 w 2975129"/>
                  <a:gd name="connsiteY109" fmla="*/ 629551 h 3279140"/>
                  <a:gd name="connsiteX110" fmla="*/ 1644894 w 2975129"/>
                  <a:gd name="connsiteY110" fmla="*/ 569333 h 3279140"/>
                  <a:gd name="connsiteX111" fmla="*/ 1551832 w 2975129"/>
                  <a:gd name="connsiteY111" fmla="*/ 448898 h 3279140"/>
                  <a:gd name="connsiteX112" fmla="*/ 1491616 w 2975129"/>
                  <a:gd name="connsiteY112" fmla="*/ 454372 h 3279140"/>
                  <a:gd name="connsiteX113" fmla="*/ 1409502 w 2975129"/>
                  <a:gd name="connsiteY113" fmla="*/ 388680 h 3279140"/>
                  <a:gd name="connsiteX114" fmla="*/ 1327389 w 2975129"/>
                  <a:gd name="connsiteY114" fmla="*/ 366782 h 3279140"/>
                  <a:gd name="connsiteX115" fmla="*/ 1321915 w 2975129"/>
                  <a:gd name="connsiteY115" fmla="*/ 251821 h 3279140"/>
                  <a:gd name="connsiteX116" fmla="*/ 1228853 w 2975129"/>
                  <a:gd name="connsiteY116" fmla="*/ 142334 h 3279140"/>
                  <a:gd name="connsiteX117" fmla="*/ 1163162 w 2975129"/>
                  <a:gd name="connsiteY117" fmla="*/ 109487 h 3279140"/>
                  <a:gd name="connsiteX118" fmla="*/ 1163162 w 2975129"/>
                  <a:gd name="connsiteY118" fmla="*/ 109487 h 3279140"/>
                  <a:gd name="connsiteX119" fmla="*/ 1091998 w 2975129"/>
                  <a:gd name="connsiteY119" fmla="*/ 98539 h 3279140"/>
                  <a:gd name="connsiteX120" fmla="*/ 977039 w 2975129"/>
                  <a:gd name="connsiteY120" fmla="*/ 0 h 3279140"/>
                  <a:gd name="connsiteX121" fmla="*/ 977039 w 2975129"/>
                  <a:gd name="connsiteY121" fmla="*/ 0 h 3279140"/>
                  <a:gd name="connsiteX122" fmla="*/ 922297 w 2975129"/>
                  <a:gd name="connsiteY122" fmla="*/ 60218 h 3279140"/>
                  <a:gd name="connsiteX123" fmla="*/ 834709 w 2975129"/>
                  <a:gd name="connsiteY123" fmla="*/ 71167 h 3279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</a:cxnLst>
                <a:rect l="l" t="t" r="r" b="b"/>
                <a:pathLst>
                  <a:path w="2975129" h="3279140">
                    <a:moveTo>
                      <a:pt x="834709" y="71167"/>
                    </a:moveTo>
                    <a:lnTo>
                      <a:pt x="834709" y="71167"/>
                    </a:lnTo>
                    <a:lnTo>
                      <a:pt x="987987" y="208026"/>
                    </a:lnTo>
                    <a:lnTo>
                      <a:pt x="977039" y="361308"/>
                    </a:lnTo>
                    <a:lnTo>
                      <a:pt x="922297" y="355833"/>
                    </a:lnTo>
                    <a:lnTo>
                      <a:pt x="862080" y="563859"/>
                    </a:lnTo>
                    <a:lnTo>
                      <a:pt x="675957" y="799256"/>
                    </a:lnTo>
                    <a:lnTo>
                      <a:pt x="456988" y="958013"/>
                    </a:lnTo>
                    <a:lnTo>
                      <a:pt x="0" y="1123119"/>
                    </a:lnTo>
                    <a:lnTo>
                      <a:pt x="15547" y="1230855"/>
                    </a:lnTo>
                    <a:lnTo>
                      <a:pt x="24197" y="1312970"/>
                    </a:lnTo>
                    <a:lnTo>
                      <a:pt x="96237" y="1401436"/>
                    </a:lnTo>
                    <a:lnTo>
                      <a:pt x="117586" y="1532820"/>
                    </a:lnTo>
                    <a:lnTo>
                      <a:pt x="79815" y="1671978"/>
                    </a:lnTo>
                    <a:lnTo>
                      <a:pt x="6225" y="1788332"/>
                    </a:lnTo>
                    <a:lnTo>
                      <a:pt x="24525" y="1872230"/>
                    </a:lnTo>
                    <a:lnTo>
                      <a:pt x="24525" y="1872230"/>
                    </a:lnTo>
                    <a:lnTo>
                      <a:pt x="44670" y="1951171"/>
                    </a:lnTo>
                    <a:cubicBezTo>
                      <a:pt x="48903" y="1974127"/>
                      <a:pt x="46258" y="1973635"/>
                      <a:pt x="47845" y="1985113"/>
                    </a:cubicBezTo>
                    <a:cubicBezTo>
                      <a:pt x="49433" y="1996591"/>
                      <a:pt x="41659" y="2012392"/>
                      <a:pt x="54195" y="2020038"/>
                    </a:cubicBezTo>
                    <a:cubicBezTo>
                      <a:pt x="66731" y="2027684"/>
                      <a:pt x="94814" y="2027337"/>
                      <a:pt x="123061" y="2030987"/>
                    </a:cubicBezTo>
                    <a:lnTo>
                      <a:pt x="155906" y="2085730"/>
                    </a:lnTo>
                    <a:lnTo>
                      <a:pt x="380349" y="2145948"/>
                    </a:lnTo>
                    <a:lnTo>
                      <a:pt x="429617" y="2244486"/>
                    </a:lnTo>
                    <a:lnTo>
                      <a:pt x="489833" y="2255435"/>
                    </a:lnTo>
                    <a:lnTo>
                      <a:pt x="544576" y="2228063"/>
                    </a:lnTo>
                    <a:lnTo>
                      <a:pt x="632163" y="2310179"/>
                    </a:lnTo>
                    <a:lnTo>
                      <a:pt x="686905" y="2282807"/>
                    </a:lnTo>
                    <a:lnTo>
                      <a:pt x="785441" y="2288281"/>
                    </a:lnTo>
                    <a:lnTo>
                      <a:pt x="845658" y="2239012"/>
                    </a:lnTo>
                    <a:lnTo>
                      <a:pt x="894926" y="2326602"/>
                    </a:lnTo>
                    <a:lnTo>
                      <a:pt x="856606" y="2364922"/>
                    </a:lnTo>
                    <a:lnTo>
                      <a:pt x="873029" y="2457986"/>
                    </a:lnTo>
                    <a:lnTo>
                      <a:pt x="873029" y="2529153"/>
                    </a:lnTo>
                    <a:lnTo>
                      <a:pt x="790915" y="2572948"/>
                    </a:lnTo>
                    <a:lnTo>
                      <a:pt x="719423" y="2516453"/>
                    </a:lnTo>
                    <a:lnTo>
                      <a:pt x="638185" y="2533752"/>
                    </a:lnTo>
                    <a:lnTo>
                      <a:pt x="689205" y="2589919"/>
                    </a:lnTo>
                    <a:lnTo>
                      <a:pt x="659534" y="2693384"/>
                    </a:lnTo>
                    <a:lnTo>
                      <a:pt x="615740" y="2720755"/>
                    </a:lnTo>
                    <a:lnTo>
                      <a:pt x="598990" y="2776923"/>
                    </a:lnTo>
                    <a:lnTo>
                      <a:pt x="650885" y="2837468"/>
                    </a:lnTo>
                    <a:lnTo>
                      <a:pt x="654060" y="2879512"/>
                    </a:lnTo>
                    <a:lnTo>
                      <a:pt x="703328" y="2972576"/>
                    </a:lnTo>
                    <a:lnTo>
                      <a:pt x="758070" y="2967101"/>
                    </a:lnTo>
                    <a:lnTo>
                      <a:pt x="758070" y="2967101"/>
                    </a:lnTo>
                    <a:lnTo>
                      <a:pt x="719751" y="3021845"/>
                    </a:lnTo>
                    <a:lnTo>
                      <a:pt x="730699" y="3093012"/>
                    </a:lnTo>
                    <a:lnTo>
                      <a:pt x="730699" y="3093012"/>
                    </a:lnTo>
                    <a:lnTo>
                      <a:pt x="703328" y="3279140"/>
                    </a:lnTo>
                    <a:lnTo>
                      <a:pt x="810513" y="3149507"/>
                    </a:lnTo>
                    <a:lnTo>
                      <a:pt x="911348" y="3158704"/>
                    </a:lnTo>
                    <a:lnTo>
                      <a:pt x="883977" y="3098486"/>
                    </a:lnTo>
                    <a:lnTo>
                      <a:pt x="960616" y="3038268"/>
                    </a:lnTo>
                    <a:lnTo>
                      <a:pt x="1004410" y="3071114"/>
                    </a:lnTo>
                    <a:lnTo>
                      <a:pt x="1020833" y="2983525"/>
                    </a:lnTo>
                    <a:lnTo>
                      <a:pt x="1020833" y="2983525"/>
                    </a:lnTo>
                    <a:lnTo>
                      <a:pt x="1108420" y="3038268"/>
                    </a:lnTo>
                    <a:lnTo>
                      <a:pt x="1242429" y="2936555"/>
                    </a:lnTo>
                    <a:lnTo>
                      <a:pt x="1201482" y="2819294"/>
                    </a:lnTo>
                    <a:lnTo>
                      <a:pt x="1257100" y="2713857"/>
                    </a:lnTo>
                    <a:lnTo>
                      <a:pt x="1398554" y="2799148"/>
                    </a:lnTo>
                    <a:lnTo>
                      <a:pt x="1453296" y="2824768"/>
                    </a:lnTo>
                    <a:lnTo>
                      <a:pt x="1491616" y="2742653"/>
                    </a:lnTo>
                    <a:lnTo>
                      <a:pt x="1551832" y="2748127"/>
                    </a:lnTo>
                    <a:lnTo>
                      <a:pt x="1513513" y="2660538"/>
                    </a:lnTo>
                    <a:lnTo>
                      <a:pt x="1540884" y="2583897"/>
                    </a:lnTo>
                    <a:lnTo>
                      <a:pt x="1628471" y="2479884"/>
                    </a:lnTo>
                    <a:lnTo>
                      <a:pt x="1732481" y="2485358"/>
                    </a:lnTo>
                    <a:lnTo>
                      <a:pt x="1792698" y="2397768"/>
                    </a:lnTo>
                    <a:lnTo>
                      <a:pt x="1705110" y="2277333"/>
                    </a:lnTo>
                    <a:lnTo>
                      <a:pt x="1781749" y="2156897"/>
                    </a:lnTo>
                    <a:lnTo>
                      <a:pt x="1847440" y="2036461"/>
                    </a:lnTo>
                    <a:lnTo>
                      <a:pt x="1874811" y="1916025"/>
                    </a:lnTo>
                    <a:lnTo>
                      <a:pt x="1940502" y="1883179"/>
                    </a:lnTo>
                    <a:lnTo>
                      <a:pt x="2268955" y="1675153"/>
                    </a:lnTo>
                    <a:lnTo>
                      <a:pt x="2318223" y="1680628"/>
                    </a:lnTo>
                    <a:lnTo>
                      <a:pt x="2597408" y="1636833"/>
                    </a:lnTo>
                    <a:lnTo>
                      <a:pt x="2646676" y="1571141"/>
                    </a:lnTo>
                    <a:lnTo>
                      <a:pt x="2778057" y="1565666"/>
                    </a:lnTo>
                    <a:lnTo>
                      <a:pt x="2778057" y="1565666"/>
                    </a:lnTo>
                    <a:lnTo>
                      <a:pt x="2827325" y="1582089"/>
                    </a:lnTo>
                    <a:lnTo>
                      <a:pt x="2827325" y="1582089"/>
                    </a:lnTo>
                    <a:lnTo>
                      <a:pt x="2975129" y="1647782"/>
                    </a:lnTo>
                    <a:lnTo>
                      <a:pt x="2925861" y="1527346"/>
                    </a:lnTo>
                    <a:lnTo>
                      <a:pt x="2816377" y="1412384"/>
                    </a:lnTo>
                    <a:lnTo>
                      <a:pt x="2750686" y="1445230"/>
                    </a:lnTo>
                    <a:lnTo>
                      <a:pt x="2668573" y="1406910"/>
                    </a:lnTo>
                    <a:lnTo>
                      <a:pt x="2914913" y="1012756"/>
                    </a:lnTo>
                    <a:lnTo>
                      <a:pt x="2745212" y="897795"/>
                    </a:lnTo>
                    <a:lnTo>
                      <a:pt x="2695944" y="914218"/>
                    </a:lnTo>
                    <a:lnTo>
                      <a:pt x="2695944" y="914218"/>
                    </a:lnTo>
                    <a:lnTo>
                      <a:pt x="2570037" y="815679"/>
                    </a:lnTo>
                    <a:lnTo>
                      <a:pt x="2498872" y="854000"/>
                    </a:lnTo>
                    <a:lnTo>
                      <a:pt x="2498872" y="854000"/>
                    </a:lnTo>
                    <a:lnTo>
                      <a:pt x="2444130" y="881372"/>
                    </a:lnTo>
                    <a:lnTo>
                      <a:pt x="2405810" y="908743"/>
                    </a:lnTo>
                    <a:lnTo>
                      <a:pt x="2378439" y="837577"/>
                    </a:lnTo>
                    <a:lnTo>
                      <a:pt x="2307274" y="810205"/>
                    </a:lnTo>
                    <a:lnTo>
                      <a:pt x="2279903" y="760936"/>
                    </a:lnTo>
                    <a:lnTo>
                      <a:pt x="2225161" y="870423"/>
                    </a:lnTo>
                    <a:lnTo>
                      <a:pt x="2126625" y="875897"/>
                    </a:lnTo>
                    <a:lnTo>
                      <a:pt x="2088306" y="936115"/>
                    </a:lnTo>
                    <a:lnTo>
                      <a:pt x="1929553" y="881372"/>
                    </a:lnTo>
                    <a:lnTo>
                      <a:pt x="1869337" y="908743"/>
                    </a:lnTo>
                    <a:lnTo>
                      <a:pt x="1765327" y="843051"/>
                    </a:lnTo>
                    <a:lnTo>
                      <a:pt x="1787224" y="771885"/>
                    </a:lnTo>
                    <a:lnTo>
                      <a:pt x="1727007" y="640500"/>
                    </a:lnTo>
                    <a:lnTo>
                      <a:pt x="1683213" y="673346"/>
                    </a:lnTo>
                    <a:lnTo>
                      <a:pt x="1601100" y="629551"/>
                    </a:lnTo>
                    <a:lnTo>
                      <a:pt x="1644894" y="569333"/>
                    </a:lnTo>
                    <a:lnTo>
                      <a:pt x="1551832" y="448898"/>
                    </a:lnTo>
                    <a:lnTo>
                      <a:pt x="1491616" y="454372"/>
                    </a:lnTo>
                    <a:lnTo>
                      <a:pt x="1409502" y="388680"/>
                    </a:lnTo>
                    <a:lnTo>
                      <a:pt x="1327389" y="366782"/>
                    </a:lnTo>
                    <a:lnTo>
                      <a:pt x="1321915" y="251821"/>
                    </a:lnTo>
                    <a:lnTo>
                      <a:pt x="1228853" y="142334"/>
                    </a:lnTo>
                    <a:lnTo>
                      <a:pt x="1163162" y="109487"/>
                    </a:lnTo>
                    <a:lnTo>
                      <a:pt x="1163162" y="109487"/>
                    </a:lnTo>
                    <a:lnTo>
                      <a:pt x="1091998" y="98539"/>
                    </a:lnTo>
                    <a:lnTo>
                      <a:pt x="977039" y="0"/>
                    </a:lnTo>
                    <a:lnTo>
                      <a:pt x="977039" y="0"/>
                    </a:lnTo>
                    <a:lnTo>
                      <a:pt x="922297" y="60218"/>
                    </a:lnTo>
                    <a:lnTo>
                      <a:pt x="834709" y="71167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5" name="Forma libre 5"/>
              <p:cNvSpPr/>
              <p:nvPr/>
            </p:nvSpPr>
            <p:spPr>
              <a:xfrm>
                <a:off x="968743" y="5975329"/>
                <a:ext cx="91628" cy="236177"/>
              </a:xfrm>
              <a:custGeom>
                <a:avLst/>
                <a:gdLst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503628 w 596690"/>
                  <a:gd name="connsiteY28" fmla="*/ 1149615 h 1494500"/>
                  <a:gd name="connsiteX29" fmla="*/ 388670 w 596690"/>
                  <a:gd name="connsiteY29" fmla="*/ 1122243 h 1494500"/>
                  <a:gd name="connsiteX30" fmla="*/ 333927 w 596690"/>
                  <a:gd name="connsiteY30" fmla="*/ 1034654 h 1494500"/>
                  <a:gd name="connsiteX31" fmla="*/ 344876 w 596690"/>
                  <a:gd name="connsiteY31" fmla="*/ 903269 h 1494500"/>
                  <a:gd name="connsiteX32" fmla="*/ 328453 w 596690"/>
                  <a:gd name="connsiteY32" fmla="*/ 771885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503628 w 596690"/>
                  <a:gd name="connsiteY28" fmla="*/ 1149615 h 1494500"/>
                  <a:gd name="connsiteX29" fmla="*/ 388670 w 596690"/>
                  <a:gd name="connsiteY29" fmla="*/ 1122243 h 1494500"/>
                  <a:gd name="connsiteX30" fmla="*/ 333927 w 596690"/>
                  <a:gd name="connsiteY30" fmla="*/ 1034654 h 1494500"/>
                  <a:gd name="connsiteX31" fmla="*/ 344876 w 596690"/>
                  <a:gd name="connsiteY31" fmla="*/ 903269 h 1494500"/>
                  <a:gd name="connsiteX32" fmla="*/ 350678 w 596690"/>
                  <a:gd name="connsiteY32" fmla="*/ 838560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503628 w 596690"/>
                  <a:gd name="connsiteY28" fmla="*/ 1149615 h 1494500"/>
                  <a:gd name="connsiteX29" fmla="*/ 388670 w 596690"/>
                  <a:gd name="connsiteY29" fmla="*/ 1122243 h 1494500"/>
                  <a:gd name="connsiteX30" fmla="*/ 340277 w 596690"/>
                  <a:gd name="connsiteY30" fmla="*/ 1031479 h 1494500"/>
                  <a:gd name="connsiteX31" fmla="*/ 344876 w 596690"/>
                  <a:gd name="connsiteY31" fmla="*/ 903269 h 1494500"/>
                  <a:gd name="connsiteX32" fmla="*/ 350678 w 596690"/>
                  <a:gd name="connsiteY32" fmla="*/ 838560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596690"/>
                  <a:gd name="connsiteY0" fmla="*/ 0 h 1494500"/>
                  <a:gd name="connsiteX1" fmla="*/ 306556 w 596690"/>
                  <a:gd name="connsiteY1" fmla="*/ 0 h 1494500"/>
                  <a:gd name="connsiteX2" fmla="*/ 191598 w 596690"/>
                  <a:gd name="connsiteY2" fmla="*/ 114962 h 1494500"/>
                  <a:gd name="connsiteX3" fmla="*/ 202546 w 596690"/>
                  <a:gd name="connsiteY3" fmla="*/ 197077 h 1494500"/>
                  <a:gd name="connsiteX4" fmla="*/ 202546 w 596690"/>
                  <a:gd name="connsiteY4" fmla="*/ 197077 h 1494500"/>
                  <a:gd name="connsiteX5" fmla="*/ 125907 w 596690"/>
                  <a:gd name="connsiteY5" fmla="*/ 131385 h 1494500"/>
                  <a:gd name="connsiteX6" fmla="*/ 93062 w 596690"/>
                  <a:gd name="connsiteY6" fmla="*/ 279193 h 1494500"/>
                  <a:gd name="connsiteX7" fmla="*/ 38320 w 596690"/>
                  <a:gd name="connsiteY7" fmla="*/ 421526 h 1494500"/>
                  <a:gd name="connsiteX8" fmla="*/ 16423 w 596690"/>
                  <a:gd name="connsiteY8" fmla="*/ 541962 h 1494500"/>
                  <a:gd name="connsiteX9" fmla="*/ 5474 w 596690"/>
                  <a:gd name="connsiteY9" fmla="*/ 613128 h 1494500"/>
                  <a:gd name="connsiteX10" fmla="*/ 5474 w 596690"/>
                  <a:gd name="connsiteY10" fmla="*/ 613128 h 1494500"/>
                  <a:gd name="connsiteX11" fmla="*/ 16423 w 596690"/>
                  <a:gd name="connsiteY11" fmla="*/ 760936 h 1494500"/>
                  <a:gd name="connsiteX12" fmla="*/ 0 w 596690"/>
                  <a:gd name="connsiteY12" fmla="*/ 832103 h 1494500"/>
                  <a:gd name="connsiteX13" fmla="*/ 65691 w 596690"/>
                  <a:gd name="connsiteY13" fmla="*/ 897795 h 1494500"/>
                  <a:gd name="connsiteX14" fmla="*/ 5474 w 596690"/>
                  <a:gd name="connsiteY14" fmla="*/ 1023705 h 1494500"/>
                  <a:gd name="connsiteX15" fmla="*/ 0 w 596690"/>
                  <a:gd name="connsiteY15" fmla="*/ 1089397 h 1494500"/>
                  <a:gd name="connsiteX16" fmla="*/ 49268 w 596690"/>
                  <a:gd name="connsiteY16" fmla="*/ 1160564 h 1494500"/>
                  <a:gd name="connsiteX17" fmla="*/ 109484 w 596690"/>
                  <a:gd name="connsiteY17" fmla="*/ 1193410 h 1494500"/>
                  <a:gd name="connsiteX18" fmla="*/ 169701 w 596690"/>
                  <a:gd name="connsiteY18" fmla="*/ 1281000 h 1494500"/>
                  <a:gd name="connsiteX19" fmla="*/ 235392 w 596690"/>
                  <a:gd name="connsiteY19" fmla="*/ 1390487 h 1494500"/>
                  <a:gd name="connsiteX20" fmla="*/ 257288 w 596690"/>
                  <a:gd name="connsiteY20" fmla="*/ 1494500 h 1494500"/>
                  <a:gd name="connsiteX21" fmla="*/ 361299 w 596690"/>
                  <a:gd name="connsiteY21" fmla="*/ 1472602 h 1494500"/>
                  <a:gd name="connsiteX22" fmla="*/ 361299 w 596690"/>
                  <a:gd name="connsiteY22" fmla="*/ 1374064 h 1494500"/>
                  <a:gd name="connsiteX23" fmla="*/ 405092 w 596690"/>
                  <a:gd name="connsiteY23" fmla="*/ 1346692 h 1494500"/>
                  <a:gd name="connsiteX24" fmla="*/ 487206 w 596690"/>
                  <a:gd name="connsiteY24" fmla="*/ 1385013 h 1494500"/>
                  <a:gd name="connsiteX25" fmla="*/ 487206 w 596690"/>
                  <a:gd name="connsiteY25" fmla="*/ 1330269 h 1494500"/>
                  <a:gd name="connsiteX26" fmla="*/ 541948 w 596690"/>
                  <a:gd name="connsiteY26" fmla="*/ 1237205 h 1494500"/>
                  <a:gd name="connsiteX27" fmla="*/ 596690 w 596690"/>
                  <a:gd name="connsiteY27" fmla="*/ 1237205 h 1494500"/>
                  <a:gd name="connsiteX28" fmla="*/ 497278 w 596690"/>
                  <a:gd name="connsiteY28" fmla="*/ 1136915 h 1494500"/>
                  <a:gd name="connsiteX29" fmla="*/ 388670 w 596690"/>
                  <a:gd name="connsiteY29" fmla="*/ 1122243 h 1494500"/>
                  <a:gd name="connsiteX30" fmla="*/ 340277 w 596690"/>
                  <a:gd name="connsiteY30" fmla="*/ 1031479 h 1494500"/>
                  <a:gd name="connsiteX31" fmla="*/ 344876 w 596690"/>
                  <a:gd name="connsiteY31" fmla="*/ 903269 h 1494500"/>
                  <a:gd name="connsiteX32" fmla="*/ 350678 w 596690"/>
                  <a:gd name="connsiteY32" fmla="*/ 838560 h 1494500"/>
                  <a:gd name="connsiteX33" fmla="*/ 306556 w 596690"/>
                  <a:gd name="connsiteY33" fmla="*/ 662397 h 1494500"/>
                  <a:gd name="connsiteX34" fmla="*/ 388670 w 596690"/>
                  <a:gd name="connsiteY34" fmla="*/ 536487 h 1494500"/>
                  <a:gd name="connsiteX35" fmla="*/ 416041 w 596690"/>
                  <a:gd name="connsiteY35" fmla="*/ 377731 h 1494500"/>
                  <a:gd name="connsiteX36" fmla="*/ 399618 w 596690"/>
                  <a:gd name="connsiteY36" fmla="*/ 279193 h 1494500"/>
                  <a:gd name="connsiteX37" fmla="*/ 333927 w 596690"/>
                  <a:gd name="connsiteY37" fmla="*/ 197077 h 1494500"/>
                  <a:gd name="connsiteX38" fmla="*/ 306556 w 596690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46692 h 1494500"/>
                  <a:gd name="connsiteX24" fmla="*/ 487206 w 606215"/>
                  <a:gd name="connsiteY24" fmla="*/ 1385013 h 1494500"/>
                  <a:gd name="connsiteX25" fmla="*/ 487206 w 606215"/>
                  <a:gd name="connsiteY25" fmla="*/ 1330269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46692 h 1494500"/>
                  <a:gd name="connsiteX24" fmla="*/ 487206 w 606215"/>
                  <a:gd name="connsiteY24" fmla="*/ 1385013 h 1494500"/>
                  <a:gd name="connsiteX25" fmla="*/ 503081 w 606215"/>
                  <a:gd name="connsiteY25" fmla="*/ 1333444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85013 h 1494500"/>
                  <a:gd name="connsiteX25" fmla="*/ 503081 w 606215"/>
                  <a:gd name="connsiteY25" fmla="*/ 1333444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41948 w 606215"/>
                  <a:gd name="connsiteY26" fmla="*/ 1237205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35392 w 606215"/>
                  <a:gd name="connsiteY19" fmla="*/ 1390487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69701 w 606215"/>
                  <a:gd name="connsiteY18" fmla="*/ 12810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109484 w 606215"/>
                  <a:gd name="connsiteY17" fmla="*/ 1193410 h 1494500"/>
                  <a:gd name="connsiteX18" fmla="*/ 157001 w 606215"/>
                  <a:gd name="connsiteY18" fmla="*/ 12683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49268 w 606215"/>
                  <a:gd name="connsiteY16" fmla="*/ 1160564 h 1494500"/>
                  <a:gd name="connsiteX17" fmla="*/ 99959 w 606215"/>
                  <a:gd name="connsiteY17" fmla="*/ 1193410 h 1494500"/>
                  <a:gd name="connsiteX18" fmla="*/ 157001 w 606215"/>
                  <a:gd name="connsiteY18" fmla="*/ 12683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06556 w 606215"/>
                  <a:gd name="connsiteY0" fmla="*/ 0 h 1494500"/>
                  <a:gd name="connsiteX1" fmla="*/ 306556 w 606215"/>
                  <a:gd name="connsiteY1" fmla="*/ 0 h 1494500"/>
                  <a:gd name="connsiteX2" fmla="*/ 191598 w 606215"/>
                  <a:gd name="connsiteY2" fmla="*/ 114962 h 1494500"/>
                  <a:gd name="connsiteX3" fmla="*/ 202546 w 606215"/>
                  <a:gd name="connsiteY3" fmla="*/ 197077 h 1494500"/>
                  <a:gd name="connsiteX4" fmla="*/ 202546 w 606215"/>
                  <a:gd name="connsiteY4" fmla="*/ 197077 h 1494500"/>
                  <a:gd name="connsiteX5" fmla="*/ 125907 w 606215"/>
                  <a:gd name="connsiteY5" fmla="*/ 131385 h 1494500"/>
                  <a:gd name="connsiteX6" fmla="*/ 93062 w 606215"/>
                  <a:gd name="connsiteY6" fmla="*/ 279193 h 1494500"/>
                  <a:gd name="connsiteX7" fmla="*/ 38320 w 606215"/>
                  <a:gd name="connsiteY7" fmla="*/ 421526 h 1494500"/>
                  <a:gd name="connsiteX8" fmla="*/ 16423 w 606215"/>
                  <a:gd name="connsiteY8" fmla="*/ 541962 h 1494500"/>
                  <a:gd name="connsiteX9" fmla="*/ 5474 w 606215"/>
                  <a:gd name="connsiteY9" fmla="*/ 613128 h 1494500"/>
                  <a:gd name="connsiteX10" fmla="*/ 5474 w 606215"/>
                  <a:gd name="connsiteY10" fmla="*/ 613128 h 1494500"/>
                  <a:gd name="connsiteX11" fmla="*/ 16423 w 606215"/>
                  <a:gd name="connsiteY11" fmla="*/ 760936 h 1494500"/>
                  <a:gd name="connsiteX12" fmla="*/ 0 w 606215"/>
                  <a:gd name="connsiteY12" fmla="*/ 832103 h 1494500"/>
                  <a:gd name="connsiteX13" fmla="*/ 65691 w 606215"/>
                  <a:gd name="connsiteY13" fmla="*/ 897795 h 1494500"/>
                  <a:gd name="connsiteX14" fmla="*/ 5474 w 606215"/>
                  <a:gd name="connsiteY14" fmla="*/ 1023705 h 1494500"/>
                  <a:gd name="connsiteX15" fmla="*/ 0 w 606215"/>
                  <a:gd name="connsiteY15" fmla="*/ 1089397 h 1494500"/>
                  <a:gd name="connsiteX16" fmla="*/ 20693 w 606215"/>
                  <a:gd name="connsiteY16" fmla="*/ 1144689 h 1494500"/>
                  <a:gd name="connsiteX17" fmla="*/ 99959 w 606215"/>
                  <a:gd name="connsiteY17" fmla="*/ 1193410 h 1494500"/>
                  <a:gd name="connsiteX18" fmla="*/ 157001 w 606215"/>
                  <a:gd name="connsiteY18" fmla="*/ 1268300 h 1494500"/>
                  <a:gd name="connsiteX19" fmla="*/ 219517 w 606215"/>
                  <a:gd name="connsiteY19" fmla="*/ 1361912 h 1494500"/>
                  <a:gd name="connsiteX20" fmla="*/ 257288 w 606215"/>
                  <a:gd name="connsiteY20" fmla="*/ 1494500 h 1494500"/>
                  <a:gd name="connsiteX21" fmla="*/ 361299 w 606215"/>
                  <a:gd name="connsiteY21" fmla="*/ 1472602 h 1494500"/>
                  <a:gd name="connsiteX22" fmla="*/ 361299 w 606215"/>
                  <a:gd name="connsiteY22" fmla="*/ 1374064 h 1494500"/>
                  <a:gd name="connsiteX23" fmla="*/ 405092 w 606215"/>
                  <a:gd name="connsiteY23" fmla="*/ 1356217 h 1494500"/>
                  <a:gd name="connsiteX24" fmla="*/ 487206 w 606215"/>
                  <a:gd name="connsiteY24" fmla="*/ 1394538 h 1494500"/>
                  <a:gd name="connsiteX25" fmla="*/ 503081 w 606215"/>
                  <a:gd name="connsiteY25" fmla="*/ 1333444 h 1494500"/>
                  <a:gd name="connsiteX26" fmla="*/ 551473 w 606215"/>
                  <a:gd name="connsiteY26" fmla="*/ 1246730 h 1494500"/>
                  <a:gd name="connsiteX27" fmla="*/ 606215 w 606215"/>
                  <a:gd name="connsiteY27" fmla="*/ 1237205 h 1494500"/>
                  <a:gd name="connsiteX28" fmla="*/ 497278 w 606215"/>
                  <a:gd name="connsiteY28" fmla="*/ 1136915 h 1494500"/>
                  <a:gd name="connsiteX29" fmla="*/ 388670 w 606215"/>
                  <a:gd name="connsiteY29" fmla="*/ 1122243 h 1494500"/>
                  <a:gd name="connsiteX30" fmla="*/ 340277 w 606215"/>
                  <a:gd name="connsiteY30" fmla="*/ 1031479 h 1494500"/>
                  <a:gd name="connsiteX31" fmla="*/ 344876 w 606215"/>
                  <a:gd name="connsiteY31" fmla="*/ 903269 h 1494500"/>
                  <a:gd name="connsiteX32" fmla="*/ 350678 w 606215"/>
                  <a:gd name="connsiteY32" fmla="*/ 838560 h 1494500"/>
                  <a:gd name="connsiteX33" fmla="*/ 306556 w 606215"/>
                  <a:gd name="connsiteY33" fmla="*/ 662397 h 1494500"/>
                  <a:gd name="connsiteX34" fmla="*/ 388670 w 606215"/>
                  <a:gd name="connsiteY34" fmla="*/ 536487 h 1494500"/>
                  <a:gd name="connsiteX35" fmla="*/ 416041 w 606215"/>
                  <a:gd name="connsiteY35" fmla="*/ 377731 h 1494500"/>
                  <a:gd name="connsiteX36" fmla="*/ 399618 w 606215"/>
                  <a:gd name="connsiteY36" fmla="*/ 279193 h 1494500"/>
                  <a:gd name="connsiteX37" fmla="*/ 333927 w 606215"/>
                  <a:gd name="connsiteY37" fmla="*/ 197077 h 1494500"/>
                  <a:gd name="connsiteX38" fmla="*/ 306556 w 606215"/>
                  <a:gd name="connsiteY38" fmla="*/ 0 h 1494500"/>
                  <a:gd name="connsiteX0" fmla="*/ 312906 w 612565"/>
                  <a:gd name="connsiteY0" fmla="*/ 0 h 1494500"/>
                  <a:gd name="connsiteX1" fmla="*/ 312906 w 612565"/>
                  <a:gd name="connsiteY1" fmla="*/ 0 h 1494500"/>
                  <a:gd name="connsiteX2" fmla="*/ 197948 w 612565"/>
                  <a:gd name="connsiteY2" fmla="*/ 114962 h 1494500"/>
                  <a:gd name="connsiteX3" fmla="*/ 208896 w 612565"/>
                  <a:gd name="connsiteY3" fmla="*/ 197077 h 1494500"/>
                  <a:gd name="connsiteX4" fmla="*/ 208896 w 612565"/>
                  <a:gd name="connsiteY4" fmla="*/ 197077 h 1494500"/>
                  <a:gd name="connsiteX5" fmla="*/ 132257 w 612565"/>
                  <a:gd name="connsiteY5" fmla="*/ 131385 h 1494500"/>
                  <a:gd name="connsiteX6" fmla="*/ 99412 w 612565"/>
                  <a:gd name="connsiteY6" fmla="*/ 279193 h 1494500"/>
                  <a:gd name="connsiteX7" fmla="*/ 44670 w 612565"/>
                  <a:gd name="connsiteY7" fmla="*/ 421526 h 1494500"/>
                  <a:gd name="connsiteX8" fmla="*/ 22773 w 612565"/>
                  <a:gd name="connsiteY8" fmla="*/ 541962 h 1494500"/>
                  <a:gd name="connsiteX9" fmla="*/ 11824 w 612565"/>
                  <a:gd name="connsiteY9" fmla="*/ 613128 h 1494500"/>
                  <a:gd name="connsiteX10" fmla="*/ 11824 w 612565"/>
                  <a:gd name="connsiteY10" fmla="*/ 613128 h 1494500"/>
                  <a:gd name="connsiteX11" fmla="*/ 22773 w 612565"/>
                  <a:gd name="connsiteY11" fmla="*/ 760936 h 1494500"/>
                  <a:gd name="connsiteX12" fmla="*/ 6350 w 612565"/>
                  <a:gd name="connsiteY12" fmla="*/ 832103 h 1494500"/>
                  <a:gd name="connsiteX13" fmla="*/ 72041 w 612565"/>
                  <a:gd name="connsiteY13" fmla="*/ 897795 h 1494500"/>
                  <a:gd name="connsiteX14" fmla="*/ 11824 w 612565"/>
                  <a:gd name="connsiteY14" fmla="*/ 1023705 h 1494500"/>
                  <a:gd name="connsiteX15" fmla="*/ 0 w 612565"/>
                  <a:gd name="connsiteY15" fmla="*/ 1057647 h 1494500"/>
                  <a:gd name="connsiteX16" fmla="*/ 27043 w 612565"/>
                  <a:gd name="connsiteY16" fmla="*/ 1144689 h 1494500"/>
                  <a:gd name="connsiteX17" fmla="*/ 106309 w 612565"/>
                  <a:gd name="connsiteY17" fmla="*/ 1193410 h 1494500"/>
                  <a:gd name="connsiteX18" fmla="*/ 163351 w 612565"/>
                  <a:gd name="connsiteY18" fmla="*/ 1268300 h 1494500"/>
                  <a:gd name="connsiteX19" fmla="*/ 225867 w 612565"/>
                  <a:gd name="connsiteY19" fmla="*/ 1361912 h 1494500"/>
                  <a:gd name="connsiteX20" fmla="*/ 263638 w 612565"/>
                  <a:gd name="connsiteY20" fmla="*/ 1494500 h 1494500"/>
                  <a:gd name="connsiteX21" fmla="*/ 367649 w 612565"/>
                  <a:gd name="connsiteY21" fmla="*/ 1472602 h 1494500"/>
                  <a:gd name="connsiteX22" fmla="*/ 367649 w 612565"/>
                  <a:gd name="connsiteY22" fmla="*/ 1374064 h 1494500"/>
                  <a:gd name="connsiteX23" fmla="*/ 411442 w 612565"/>
                  <a:gd name="connsiteY23" fmla="*/ 1356217 h 1494500"/>
                  <a:gd name="connsiteX24" fmla="*/ 493556 w 612565"/>
                  <a:gd name="connsiteY24" fmla="*/ 1394538 h 1494500"/>
                  <a:gd name="connsiteX25" fmla="*/ 509431 w 612565"/>
                  <a:gd name="connsiteY25" fmla="*/ 1333444 h 1494500"/>
                  <a:gd name="connsiteX26" fmla="*/ 557823 w 612565"/>
                  <a:gd name="connsiteY26" fmla="*/ 1246730 h 1494500"/>
                  <a:gd name="connsiteX27" fmla="*/ 612565 w 612565"/>
                  <a:gd name="connsiteY27" fmla="*/ 1237205 h 1494500"/>
                  <a:gd name="connsiteX28" fmla="*/ 503628 w 612565"/>
                  <a:gd name="connsiteY28" fmla="*/ 1136915 h 1494500"/>
                  <a:gd name="connsiteX29" fmla="*/ 395020 w 612565"/>
                  <a:gd name="connsiteY29" fmla="*/ 1122243 h 1494500"/>
                  <a:gd name="connsiteX30" fmla="*/ 346627 w 612565"/>
                  <a:gd name="connsiteY30" fmla="*/ 1031479 h 1494500"/>
                  <a:gd name="connsiteX31" fmla="*/ 351226 w 612565"/>
                  <a:gd name="connsiteY31" fmla="*/ 903269 h 1494500"/>
                  <a:gd name="connsiteX32" fmla="*/ 357028 w 612565"/>
                  <a:gd name="connsiteY32" fmla="*/ 838560 h 1494500"/>
                  <a:gd name="connsiteX33" fmla="*/ 312906 w 612565"/>
                  <a:gd name="connsiteY33" fmla="*/ 662397 h 1494500"/>
                  <a:gd name="connsiteX34" fmla="*/ 395020 w 612565"/>
                  <a:gd name="connsiteY34" fmla="*/ 536487 h 1494500"/>
                  <a:gd name="connsiteX35" fmla="*/ 422391 w 612565"/>
                  <a:gd name="connsiteY35" fmla="*/ 377731 h 1494500"/>
                  <a:gd name="connsiteX36" fmla="*/ 405968 w 612565"/>
                  <a:gd name="connsiteY36" fmla="*/ 279193 h 1494500"/>
                  <a:gd name="connsiteX37" fmla="*/ 340277 w 612565"/>
                  <a:gd name="connsiteY37" fmla="*/ 197077 h 1494500"/>
                  <a:gd name="connsiteX38" fmla="*/ 312906 w 612565"/>
                  <a:gd name="connsiteY38" fmla="*/ 0 h 1494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12565" h="1494500">
                    <a:moveTo>
                      <a:pt x="312906" y="0"/>
                    </a:moveTo>
                    <a:lnTo>
                      <a:pt x="312906" y="0"/>
                    </a:lnTo>
                    <a:lnTo>
                      <a:pt x="197948" y="114962"/>
                    </a:lnTo>
                    <a:lnTo>
                      <a:pt x="208896" y="197077"/>
                    </a:lnTo>
                    <a:lnTo>
                      <a:pt x="208896" y="197077"/>
                    </a:lnTo>
                    <a:lnTo>
                      <a:pt x="132257" y="131385"/>
                    </a:lnTo>
                    <a:lnTo>
                      <a:pt x="99412" y="279193"/>
                    </a:lnTo>
                    <a:lnTo>
                      <a:pt x="44670" y="421526"/>
                    </a:lnTo>
                    <a:lnTo>
                      <a:pt x="22773" y="541962"/>
                    </a:lnTo>
                    <a:lnTo>
                      <a:pt x="11824" y="613128"/>
                    </a:lnTo>
                    <a:lnTo>
                      <a:pt x="11824" y="613128"/>
                    </a:lnTo>
                    <a:lnTo>
                      <a:pt x="22773" y="760936"/>
                    </a:lnTo>
                    <a:lnTo>
                      <a:pt x="6350" y="832103"/>
                    </a:lnTo>
                    <a:lnTo>
                      <a:pt x="72041" y="897795"/>
                    </a:lnTo>
                    <a:lnTo>
                      <a:pt x="11824" y="1023705"/>
                    </a:lnTo>
                    <a:lnTo>
                      <a:pt x="0" y="1057647"/>
                    </a:lnTo>
                    <a:lnTo>
                      <a:pt x="27043" y="1144689"/>
                    </a:lnTo>
                    <a:lnTo>
                      <a:pt x="106309" y="1193410"/>
                    </a:lnTo>
                    <a:lnTo>
                      <a:pt x="163351" y="1268300"/>
                    </a:lnTo>
                    <a:lnTo>
                      <a:pt x="225867" y="1361912"/>
                    </a:lnTo>
                    <a:lnTo>
                      <a:pt x="263638" y="1494500"/>
                    </a:lnTo>
                    <a:lnTo>
                      <a:pt x="367649" y="1472602"/>
                    </a:lnTo>
                    <a:lnTo>
                      <a:pt x="367649" y="1374064"/>
                    </a:lnTo>
                    <a:lnTo>
                      <a:pt x="411442" y="1356217"/>
                    </a:lnTo>
                    <a:lnTo>
                      <a:pt x="493556" y="1394538"/>
                    </a:lnTo>
                    <a:lnTo>
                      <a:pt x="509431" y="1333444"/>
                    </a:lnTo>
                    <a:lnTo>
                      <a:pt x="557823" y="1246730"/>
                    </a:lnTo>
                    <a:lnTo>
                      <a:pt x="612565" y="1237205"/>
                    </a:lnTo>
                    <a:lnTo>
                      <a:pt x="503628" y="1136915"/>
                    </a:lnTo>
                    <a:lnTo>
                      <a:pt x="395020" y="1122243"/>
                    </a:lnTo>
                    <a:lnTo>
                      <a:pt x="346627" y="1031479"/>
                    </a:lnTo>
                    <a:lnTo>
                      <a:pt x="351226" y="903269"/>
                    </a:lnTo>
                    <a:lnTo>
                      <a:pt x="357028" y="838560"/>
                    </a:lnTo>
                    <a:lnTo>
                      <a:pt x="312906" y="662397"/>
                    </a:lnTo>
                    <a:lnTo>
                      <a:pt x="395020" y="536487"/>
                    </a:lnTo>
                    <a:lnTo>
                      <a:pt x="422391" y="377731"/>
                    </a:lnTo>
                    <a:lnTo>
                      <a:pt x="405968" y="279193"/>
                    </a:lnTo>
                    <a:lnTo>
                      <a:pt x="340277" y="197077"/>
                    </a:lnTo>
                    <a:lnTo>
                      <a:pt x="312906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6" name="Forma libre 6"/>
              <p:cNvSpPr/>
              <p:nvPr/>
            </p:nvSpPr>
            <p:spPr>
              <a:xfrm>
                <a:off x="837041" y="6002148"/>
                <a:ext cx="50768" cy="44986"/>
              </a:xfrm>
              <a:custGeom>
                <a:avLst/>
                <a:gdLst>
                  <a:gd name="connsiteX0" fmla="*/ 0 w 339402"/>
                  <a:gd name="connsiteY0" fmla="*/ 235398 h 284667"/>
                  <a:gd name="connsiteX1" fmla="*/ 93062 w 339402"/>
                  <a:gd name="connsiteY1" fmla="*/ 158757 h 284667"/>
                  <a:gd name="connsiteX2" fmla="*/ 104011 w 339402"/>
                  <a:gd name="connsiteY2" fmla="*/ 104013 h 284667"/>
                  <a:gd name="connsiteX3" fmla="*/ 186124 w 339402"/>
                  <a:gd name="connsiteY3" fmla="*/ 60218 h 284667"/>
                  <a:gd name="connsiteX4" fmla="*/ 213495 w 339402"/>
                  <a:gd name="connsiteY4" fmla="*/ 5475 h 284667"/>
                  <a:gd name="connsiteX5" fmla="*/ 290134 w 339402"/>
                  <a:gd name="connsiteY5" fmla="*/ 0 h 284667"/>
                  <a:gd name="connsiteX6" fmla="*/ 290134 w 339402"/>
                  <a:gd name="connsiteY6" fmla="*/ 0 h 284667"/>
                  <a:gd name="connsiteX7" fmla="*/ 339402 w 339402"/>
                  <a:gd name="connsiteY7" fmla="*/ 169705 h 284667"/>
                  <a:gd name="connsiteX8" fmla="*/ 279186 w 339402"/>
                  <a:gd name="connsiteY8" fmla="*/ 213500 h 284667"/>
                  <a:gd name="connsiteX9" fmla="*/ 279186 w 339402"/>
                  <a:gd name="connsiteY9" fmla="*/ 213500 h 284667"/>
                  <a:gd name="connsiteX10" fmla="*/ 191598 w 339402"/>
                  <a:gd name="connsiteY10" fmla="*/ 224449 h 284667"/>
                  <a:gd name="connsiteX11" fmla="*/ 169701 w 339402"/>
                  <a:gd name="connsiteY11" fmla="*/ 284667 h 284667"/>
                  <a:gd name="connsiteX12" fmla="*/ 82114 w 339402"/>
                  <a:gd name="connsiteY12" fmla="*/ 262770 h 284667"/>
                  <a:gd name="connsiteX13" fmla="*/ 82114 w 339402"/>
                  <a:gd name="connsiteY13" fmla="*/ 262770 h 284667"/>
                  <a:gd name="connsiteX14" fmla="*/ 0 w 339402"/>
                  <a:gd name="connsiteY14" fmla="*/ 235398 h 284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39402" h="284667">
                    <a:moveTo>
                      <a:pt x="0" y="235398"/>
                    </a:moveTo>
                    <a:lnTo>
                      <a:pt x="93062" y="158757"/>
                    </a:lnTo>
                    <a:lnTo>
                      <a:pt x="104011" y="104013"/>
                    </a:lnTo>
                    <a:lnTo>
                      <a:pt x="186124" y="60218"/>
                    </a:lnTo>
                    <a:lnTo>
                      <a:pt x="213495" y="5475"/>
                    </a:lnTo>
                    <a:lnTo>
                      <a:pt x="290134" y="0"/>
                    </a:lnTo>
                    <a:lnTo>
                      <a:pt x="290134" y="0"/>
                    </a:lnTo>
                    <a:lnTo>
                      <a:pt x="339402" y="169705"/>
                    </a:lnTo>
                    <a:lnTo>
                      <a:pt x="279186" y="213500"/>
                    </a:lnTo>
                    <a:lnTo>
                      <a:pt x="279186" y="213500"/>
                    </a:lnTo>
                    <a:lnTo>
                      <a:pt x="191598" y="224449"/>
                    </a:lnTo>
                    <a:lnTo>
                      <a:pt x="169701" y="284667"/>
                    </a:lnTo>
                    <a:lnTo>
                      <a:pt x="82114" y="262770"/>
                    </a:lnTo>
                    <a:lnTo>
                      <a:pt x="82114" y="262770"/>
                    </a:lnTo>
                    <a:lnTo>
                      <a:pt x="0" y="235398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7" name="Forma libre 7"/>
              <p:cNvSpPr/>
              <p:nvPr/>
            </p:nvSpPr>
            <p:spPr>
              <a:xfrm>
                <a:off x="821483" y="6041943"/>
                <a:ext cx="119551" cy="132363"/>
              </a:xfrm>
              <a:custGeom>
                <a:avLst/>
                <a:gdLst>
                  <a:gd name="connsiteX0" fmla="*/ 257289 w 799236"/>
                  <a:gd name="connsiteY0" fmla="*/ 837576 h 837576"/>
                  <a:gd name="connsiteX1" fmla="*/ 109485 w 799236"/>
                  <a:gd name="connsiteY1" fmla="*/ 749987 h 837576"/>
                  <a:gd name="connsiteX2" fmla="*/ 71165 w 799236"/>
                  <a:gd name="connsiteY2" fmla="*/ 689769 h 837576"/>
                  <a:gd name="connsiteX3" fmla="*/ 93062 w 799236"/>
                  <a:gd name="connsiteY3" fmla="*/ 635025 h 837576"/>
                  <a:gd name="connsiteX4" fmla="*/ 98536 w 799236"/>
                  <a:gd name="connsiteY4" fmla="*/ 585756 h 837576"/>
                  <a:gd name="connsiteX5" fmla="*/ 136856 w 799236"/>
                  <a:gd name="connsiteY5" fmla="*/ 640499 h 837576"/>
                  <a:gd name="connsiteX6" fmla="*/ 136856 w 799236"/>
                  <a:gd name="connsiteY6" fmla="*/ 640499 h 837576"/>
                  <a:gd name="connsiteX7" fmla="*/ 180650 w 799236"/>
                  <a:gd name="connsiteY7" fmla="*/ 613128 h 837576"/>
                  <a:gd name="connsiteX8" fmla="*/ 164227 w 799236"/>
                  <a:gd name="connsiteY8" fmla="*/ 503641 h 837576"/>
                  <a:gd name="connsiteX9" fmla="*/ 93062 w 799236"/>
                  <a:gd name="connsiteY9" fmla="*/ 443423 h 837576"/>
                  <a:gd name="connsiteX10" fmla="*/ 49268 w 799236"/>
                  <a:gd name="connsiteY10" fmla="*/ 405102 h 837576"/>
                  <a:gd name="connsiteX11" fmla="*/ 60217 w 799236"/>
                  <a:gd name="connsiteY11" fmla="*/ 355833 h 837576"/>
                  <a:gd name="connsiteX12" fmla="*/ 109485 w 799236"/>
                  <a:gd name="connsiteY12" fmla="*/ 333936 h 837576"/>
                  <a:gd name="connsiteX13" fmla="*/ 0 w 799236"/>
                  <a:gd name="connsiteY13" fmla="*/ 208025 h 837576"/>
                  <a:gd name="connsiteX14" fmla="*/ 16423 w 799236"/>
                  <a:gd name="connsiteY14" fmla="*/ 125910 h 837576"/>
                  <a:gd name="connsiteX15" fmla="*/ 32846 w 799236"/>
                  <a:gd name="connsiteY15" fmla="*/ 54743 h 837576"/>
                  <a:gd name="connsiteX16" fmla="*/ 98536 w 799236"/>
                  <a:gd name="connsiteY16" fmla="*/ 5474 h 837576"/>
                  <a:gd name="connsiteX17" fmla="*/ 279185 w 799236"/>
                  <a:gd name="connsiteY17" fmla="*/ 60218 h 837576"/>
                  <a:gd name="connsiteX18" fmla="*/ 328453 w 799236"/>
                  <a:gd name="connsiteY18" fmla="*/ 0 h 837576"/>
                  <a:gd name="connsiteX19" fmla="*/ 377721 w 799236"/>
                  <a:gd name="connsiteY19" fmla="*/ 21897 h 837576"/>
                  <a:gd name="connsiteX20" fmla="*/ 339402 w 799236"/>
                  <a:gd name="connsiteY20" fmla="*/ 109487 h 837576"/>
                  <a:gd name="connsiteX21" fmla="*/ 339402 w 799236"/>
                  <a:gd name="connsiteY21" fmla="*/ 109487 h 837576"/>
                  <a:gd name="connsiteX22" fmla="*/ 377721 w 799236"/>
                  <a:gd name="connsiteY22" fmla="*/ 136859 h 837576"/>
                  <a:gd name="connsiteX23" fmla="*/ 448886 w 799236"/>
                  <a:gd name="connsiteY23" fmla="*/ 54743 h 837576"/>
                  <a:gd name="connsiteX24" fmla="*/ 541948 w 799236"/>
                  <a:gd name="connsiteY24" fmla="*/ 98538 h 837576"/>
                  <a:gd name="connsiteX25" fmla="*/ 574793 w 799236"/>
                  <a:gd name="connsiteY25" fmla="*/ 136859 h 837576"/>
                  <a:gd name="connsiteX26" fmla="*/ 645958 w 799236"/>
                  <a:gd name="connsiteY26" fmla="*/ 109487 h 837576"/>
                  <a:gd name="connsiteX27" fmla="*/ 700700 w 799236"/>
                  <a:gd name="connsiteY27" fmla="*/ 164230 h 837576"/>
                  <a:gd name="connsiteX28" fmla="*/ 733546 w 799236"/>
                  <a:gd name="connsiteY28" fmla="*/ 257295 h 837576"/>
                  <a:gd name="connsiteX29" fmla="*/ 799236 w 799236"/>
                  <a:gd name="connsiteY29" fmla="*/ 317512 h 837576"/>
                  <a:gd name="connsiteX30" fmla="*/ 722597 w 799236"/>
                  <a:gd name="connsiteY30" fmla="*/ 394153 h 837576"/>
                  <a:gd name="connsiteX31" fmla="*/ 777340 w 799236"/>
                  <a:gd name="connsiteY31" fmla="*/ 531012 h 837576"/>
                  <a:gd name="connsiteX32" fmla="*/ 722597 w 799236"/>
                  <a:gd name="connsiteY32" fmla="*/ 531012 h 837576"/>
                  <a:gd name="connsiteX33" fmla="*/ 722597 w 799236"/>
                  <a:gd name="connsiteY33" fmla="*/ 596705 h 837576"/>
                  <a:gd name="connsiteX34" fmla="*/ 739020 w 799236"/>
                  <a:gd name="connsiteY34" fmla="*/ 673346 h 837576"/>
                  <a:gd name="connsiteX35" fmla="*/ 739020 w 799236"/>
                  <a:gd name="connsiteY35" fmla="*/ 673346 h 837576"/>
                  <a:gd name="connsiteX36" fmla="*/ 645958 w 799236"/>
                  <a:gd name="connsiteY36" fmla="*/ 684294 h 837576"/>
                  <a:gd name="connsiteX37" fmla="*/ 645958 w 799236"/>
                  <a:gd name="connsiteY37" fmla="*/ 618602 h 837576"/>
                  <a:gd name="connsiteX38" fmla="*/ 596690 w 799236"/>
                  <a:gd name="connsiteY38" fmla="*/ 635025 h 837576"/>
                  <a:gd name="connsiteX39" fmla="*/ 569319 w 799236"/>
                  <a:gd name="connsiteY39" fmla="*/ 569333 h 837576"/>
                  <a:gd name="connsiteX40" fmla="*/ 525525 w 799236"/>
                  <a:gd name="connsiteY40" fmla="*/ 498166 h 837576"/>
                  <a:gd name="connsiteX41" fmla="*/ 487206 w 799236"/>
                  <a:gd name="connsiteY41" fmla="*/ 596705 h 837576"/>
                  <a:gd name="connsiteX42" fmla="*/ 443412 w 799236"/>
                  <a:gd name="connsiteY42" fmla="*/ 656923 h 837576"/>
                  <a:gd name="connsiteX43" fmla="*/ 372247 w 799236"/>
                  <a:gd name="connsiteY43" fmla="*/ 678820 h 837576"/>
                  <a:gd name="connsiteX44" fmla="*/ 257289 w 799236"/>
                  <a:gd name="connsiteY44" fmla="*/ 837576 h 837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799236" h="837576">
                    <a:moveTo>
                      <a:pt x="257289" y="837576"/>
                    </a:moveTo>
                    <a:lnTo>
                      <a:pt x="109485" y="749987"/>
                    </a:lnTo>
                    <a:lnTo>
                      <a:pt x="71165" y="689769"/>
                    </a:lnTo>
                    <a:lnTo>
                      <a:pt x="93062" y="635025"/>
                    </a:lnTo>
                    <a:lnTo>
                      <a:pt x="98536" y="585756"/>
                    </a:lnTo>
                    <a:lnTo>
                      <a:pt x="136856" y="640499"/>
                    </a:lnTo>
                    <a:lnTo>
                      <a:pt x="136856" y="640499"/>
                    </a:lnTo>
                    <a:lnTo>
                      <a:pt x="180650" y="613128"/>
                    </a:lnTo>
                    <a:lnTo>
                      <a:pt x="164227" y="503641"/>
                    </a:lnTo>
                    <a:lnTo>
                      <a:pt x="93062" y="443423"/>
                    </a:lnTo>
                    <a:lnTo>
                      <a:pt x="49268" y="405102"/>
                    </a:lnTo>
                    <a:lnTo>
                      <a:pt x="60217" y="355833"/>
                    </a:lnTo>
                    <a:lnTo>
                      <a:pt x="109485" y="333936"/>
                    </a:lnTo>
                    <a:lnTo>
                      <a:pt x="0" y="208025"/>
                    </a:lnTo>
                    <a:lnTo>
                      <a:pt x="16423" y="125910"/>
                    </a:lnTo>
                    <a:lnTo>
                      <a:pt x="32846" y="54743"/>
                    </a:lnTo>
                    <a:lnTo>
                      <a:pt x="98536" y="5474"/>
                    </a:lnTo>
                    <a:lnTo>
                      <a:pt x="279185" y="60218"/>
                    </a:lnTo>
                    <a:lnTo>
                      <a:pt x="328453" y="0"/>
                    </a:lnTo>
                    <a:lnTo>
                      <a:pt x="377721" y="21897"/>
                    </a:lnTo>
                    <a:lnTo>
                      <a:pt x="339402" y="109487"/>
                    </a:lnTo>
                    <a:lnTo>
                      <a:pt x="339402" y="109487"/>
                    </a:lnTo>
                    <a:lnTo>
                      <a:pt x="377721" y="136859"/>
                    </a:lnTo>
                    <a:lnTo>
                      <a:pt x="448886" y="54743"/>
                    </a:lnTo>
                    <a:lnTo>
                      <a:pt x="541948" y="98538"/>
                    </a:lnTo>
                    <a:lnTo>
                      <a:pt x="574793" y="136859"/>
                    </a:lnTo>
                    <a:lnTo>
                      <a:pt x="645958" y="109487"/>
                    </a:lnTo>
                    <a:lnTo>
                      <a:pt x="700700" y="164230"/>
                    </a:lnTo>
                    <a:lnTo>
                      <a:pt x="733546" y="257295"/>
                    </a:lnTo>
                    <a:lnTo>
                      <a:pt x="799236" y="317512"/>
                    </a:lnTo>
                    <a:lnTo>
                      <a:pt x="722597" y="394153"/>
                    </a:lnTo>
                    <a:lnTo>
                      <a:pt x="777340" y="531012"/>
                    </a:lnTo>
                    <a:lnTo>
                      <a:pt x="722597" y="531012"/>
                    </a:lnTo>
                    <a:lnTo>
                      <a:pt x="722597" y="596705"/>
                    </a:lnTo>
                    <a:lnTo>
                      <a:pt x="739020" y="673346"/>
                    </a:lnTo>
                    <a:lnTo>
                      <a:pt x="739020" y="673346"/>
                    </a:lnTo>
                    <a:lnTo>
                      <a:pt x="645958" y="684294"/>
                    </a:lnTo>
                    <a:lnTo>
                      <a:pt x="645958" y="618602"/>
                    </a:lnTo>
                    <a:lnTo>
                      <a:pt x="596690" y="635025"/>
                    </a:lnTo>
                    <a:lnTo>
                      <a:pt x="569319" y="569333"/>
                    </a:lnTo>
                    <a:lnTo>
                      <a:pt x="525525" y="498166"/>
                    </a:lnTo>
                    <a:lnTo>
                      <a:pt x="487206" y="596705"/>
                    </a:lnTo>
                    <a:lnTo>
                      <a:pt x="443412" y="656923"/>
                    </a:lnTo>
                    <a:lnTo>
                      <a:pt x="372247" y="678820"/>
                    </a:lnTo>
                    <a:lnTo>
                      <a:pt x="257289" y="837576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8" name="Forma libre 8"/>
              <p:cNvSpPr/>
              <p:nvPr/>
            </p:nvSpPr>
            <p:spPr>
              <a:xfrm>
                <a:off x="927257" y="6070401"/>
                <a:ext cx="94711" cy="184509"/>
              </a:xfrm>
              <a:custGeom>
                <a:avLst/>
                <a:gdLst>
                  <a:gd name="connsiteX0" fmla="*/ 263519 w 633177"/>
                  <a:gd name="connsiteY0" fmla="*/ 0 h 1167553"/>
                  <a:gd name="connsiteX1" fmla="*/ 212279 w 633177"/>
                  <a:gd name="connsiteY1" fmla="*/ 18300 h 1167553"/>
                  <a:gd name="connsiteX2" fmla="*/ 193979 w 633177"/>
                  <a:gd name="connsiteY2" fmla="*/ 62220 h 1167553"/>
                  <a:gd name="connsiteX3" fmla="*/ 219599 w 633177"/>
                  <a:gd name="connsiteY3" fmla="*/ 106141 h 1167553"/>
                  <a:gd name="connsiteX4" fmla="*/ 179339 w 633177"/>
                  <a:gd name="connsiteY4" fmla="*/ 109801 h 1167553"/>
                  <a:gd name="connsiteX5" fmla="*/ 157380 w 633177"/>
                  <a:gd name="connsiteY5" fmla="*/ 153721 h 1167553"/>
                  <a:gd name="connsiteX6" fmla="*/ 117120 w 633177"/>
                  <a:gd name="connsiteY6" fmla="*/ 131761 h 1167553"/>
                  <a:gd name="connsiteX7" fmla="*/ 32940 w 633177"/>
                  <a:gd name="connsiteY7" fmla="*/ 223262 h 1167553"/>
                  <a:gd name="connsiteX8" fmla="*/ 84180 w 633177"/>
                  <a:gd name="connsiteY8" fmla="*/ 358684 h 1167553"/>
                  <a:gd name="connsiteX9" fmla="*/ 32940 w 633177"/>
                  <a:gd name="connsiteY9" fmla="*/ 366004 h 1167553"/>
                  <a:gd name="connsiteX10" fmla="*/ 29280 w 633177"/>
                  <a:gd name="connsiteY10" fmla="*/ 428224 h 1167553"/>
                  <a:gd name="connsiteX11" fmla="*/ 51240 w 633177"/>
                  <a:gd name="connsiteY11" fmla="*/ 483125 h 1167553"/>
                  <a:gd name="connsiteX12" fmla="*/ 14640 w 633177"/>
                  <a:gd name="connsiteY12" fmla="*/ 512405 h 1167553"/>
                  <a:gd name="connsiteX13" fmla="*/ 95160 w 633177"/>
                  <a:gd name="connsiteY13" fmla="*/ 538026 h 1167553"/>
                  <a:gd name="connsiteX14" fmla="*/ 69540 w 633177"/>
                  <a:gd name="connsiteY14" fmla="*/ 589266 h 1167553"/>
                  <a:gd name="connsiteX15" fmla="*/ 47580 w 633177"/>
                  <a:gd name="connsiteY15" fmla="*/ 629527 h 1167553"/>
                  <a:gd name="connsiteX16" fmla="*/ 3660 w 633177"/>
                  <a:gd name="connsiteY16" fmla="*/ 636847 h 1167553"/>
                  <a:gd name="connsiteX17" fmla="*/ 0 w 633177"/>
                  <a:gd name="connsiteY17" fmla="*/ 691747 h 1167553"/>
                  <a:gd name="connsiteX18" fmla="*/ 32940 w 633177"/>
                  <a:gd name="connsiteY18" fmla="*/ 761288 h 1167553"/>
                  <a:gd name="connsiteX19" fmla="*/ 117120 w 633177"/>
                  <a:gd name="connsiteY19" fmla="*/ 794228 h 1167553"/>
                  <a:gd name="connsiteX20" fmla="*/ 117120 w 633177"/>
                  <a:gd name="connsiteY20" fmla="*/ 794228 h 1167553"/>
                  <a:gd name="connsiteX21" fmla="*/ 76860 w 633177"/>
                  <a:gd name="connsiteY21" fmla="*/ 834489 h 1167553"/>
                  <a:gd name="connsiteX22" fmla="*/ 47580 w 633177"/>
                  <a:gd name="connsiteY22" fmla="*/ 911350 h 1167553"/>
                  <a:gd name="connsiteX23" fmla="*/ 80520 w 633177"/>
                  <a:gd name="connsiteY23" fmla="*/ 962590 h 1167553"/>
                  <a:gd name="connsiteX24" fmla="*/ 43920 w 633177"/>
                  <a:gd name="connsiteY24" fmla="*/ 1021151 h 1167553"/>
                  <a:gd name="connsiteX25" fmla="*/ 98820 w 633177"/>
                  <a:gd name="connsiteY25" fmla="*/ 1032131 h 1167553"/>
                  <a:gd name="connsiteX26" fmla="*/ 146400 w 633177"/>
                  <a:gd name="connsiteY26" fmla="*/ 1065071 h 1167553"/>
                  <a:gd name="connsiteX27" fmla="*/ 161040 w 633177"/>
                  <a:gd name="connsiteY27" fmla="*/ 1138272 h 1167553"/>
                  <a:gd name="connsiteX28" fmla="*/ 219599 w 633177"/>
                  <a:gd name="connsiteY28" fmla="*/ 1087032 h 1167553"/>
                  <a:gd name="connsiteX29" fmla="*/ 204959 w 633177"/>
                  <a:gd name="connsiteY29" fmla="*/ 1050431 h 1167553"/>
                  <a:gd name="connsiteX30" fmla="*/ 296459 w 633177"/>
                  <a:gd name="connsiteY30" fmla="*/ 1043111 h 1167553"/>
                  <a:gd name="connsiteX31" fmla="*/ 311099 w 633177"/>
                  <a:gd name="connsiteY31" fmla="*/ 1090692 h 1167553"/>
                  <a:gd name="connsiteX32" fmla="*/ 365998 w 633177"/>
                  <a:gd name="connsiteY32" fmla="*/ 1098012 h 1167553"/>
                  <a:gd name="connsiteX33" fmla="*/ 387958 w 633177"/>
                  <a:gd name="connsiteY33" fmla="*/ 1072391 h 1167553"/>
                  <a:gd name="connsiteX34" fmla="*/ 439198 w 633177"/>
                  <a:gd name="connsiteY34" fmla="*/ 1079712 h 1167553"/>
                  <a:gd name="connsiteX35" fmla="*/ 402598 w 633177"/>
                  <a:gd name="connsiteY35" fmla="*/ 1130952 h 1167553"/>
                  <a:gd name="connsiteX36" fmla="*/ 453838 w 633177"/>
                  <a:gd name="connsiteY36" fmla="*/ 1167553 h 1167553"/>
                  <a:gd name="connsiteX37" fmla="*/ 490438 w 633177"/>
                  <a:gd name="connsiteY37" fmla="*/ 1134612 h 1167553"/>
                  <a:gd name="connsiteX38" fmla="*/ 527037 w 633177"/>
                  <a:gd name="connsiteY38" fmla="*/ 1149252 h 1167553"/>
                  <a:gd name="connsiteX39" fmla="*/ 633177 w 633177"/>
                  <a:gd name="connsiteY39" fmla="*/ 1072391 h 1167553"/>
                  <a:gd name="connsiteX40" fmla="*/ 567297 w 633177"/>
                  <a:gd name="connsiteY40" fmla="*/ 936970 h 1167553"/>
                  <a:gd name="connsiteX41" fmla="*/ 527037 w 633177"/>
                  <a:gd name="connsiteY41" fmla="*/ 893049 h 1167553"/>
                  <a:gd name="connsiteX42" fmla="*/ 490438 w 633177"/>
                  <a:gd name="connsiteY42" fmla="*/ 757628 h 1167553"/>
                  <a:gd name="connsiteX43" fmla="*/ 384298 w 633177"/>
                  <a:gd name="connsiteY43" fmla="*/ 607566 h 1167553"/>
                  <a:gd name="connsiteX44" fmla="*/ 296459 w 633177"/>
                  <a:gd name="connsiteY44" fmla="*/ 549006 h 1167553"/>
                  <a:gd name="connsiteX45" fmla="*/ 259859 w 633177"/>
                  <a:gd name="connsiteY45" fmla="*/ 446525 h 1167553"/>
                  <a:gd name="connsiteX46" fmla="*/ 303779 w 633177"/>
                  <a:gd name="connsiteY46" fmla="*/ 366004 h 1167553"/>
                  <a:gd name="connsiteX47" fmla="*/ 340379 w 633177"/>
                  <a:gd name="connsiteY47" fmla="*/ 292803 h 1167553"/>
                  <a:gd name="connsiteX48" fmla="*/ 267179 w 633177"/>
                  <a:gd name="connsiteY48" fmla="*/ 234242 h 1167553"/>
                  <a:gd name="connsiteX49" fmla="*/ 285479 w 633177"/>
                  <a:gd name="connsiteY49" fmla="*/ 157381 h 1167553"/>
                  <a:gd name="connsiteX50" fmla="*/ 263519 w 633177"/>
                  <a:gd name="connsiteY50" fmla="*/ 0 h 1167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633177" h="1167553">
                    <a:moveTo>
                      <a:pt x="263519" y="0"/>
                    </a:moveTo>
                    <a:lnTo>
                      <a:pt x="212279" y="18300"/>
                    </a:lnTo>
                    <a:lnTo>
                      <a:pt x="193979" y="62220"/>
                    </a:lnTo>
                    <a:lnTo>
                      <a:pt x="219599" y="106141"/>
                    </a:lnTo>
                    <a:lnTo>
                      <a:pt x="179339" y="109801"/>
                    </a:lnTo>
                    <a:lnTo>
                      <a:pt x="157380" y="153721"/>
                    </a:lnTo>
                    <a:lnTo>
                      <a:pt x="117120" y="131761"/>
                    </a:lnTo>
                    <a:lnTo>
                      <a:pt x="32940" y="223262"/>
                    </a:lnTo>
                    <a:lnTo>
                      <a:pt x="84180" y="358684"/>
                    </a:lnTo>
                    <a:lnTo>
                      <a:pt x="32940" y="366004"/>
                    </a:lnTo>
                    <a:lnTo>
                      <a:pt x="29280" y="428224"/>
                    </a:lnTo>
                    <a:lnTo>
                      <a:pt x="51240" y="483125"/>
                    </a:lnTo>
                    <a:lnTo>
                      <a:pt x="14640" y="512405"/>
                    </a:lnTo>
                    <a:lnTo>
                      <a:pt x="95160" y="538026"/>
                    </a:lnTo>
                    <a:lnTo>
                      <a:pt x="69540" y="589266"/>
                    </a:lnTo>
                    <a:lnTo>
                      <a:pt x="47580" y="629527"/>
                    </a:lnTo>
                    <a:lnTo>
                      <a:pt x="3660" y="636847"/>
                    </a:lnTo>
                    <a:lnTo>
                      <a:pt x="0" y="691747"/>
                    </a:lnTo>
                    <a:lnTo>
                      <a:pt x="32940" y="761288"/>
                    </a:lnTo>
                    <a:lnTo>
                      <a:pt x="117120" y="794228"/>
                    </a:lnTo>
                    <a:lnTo>
                      <a:pt x="117120" y="794228"/>
                    </a:lnTo>
                    <a:lnTo>
                      <a:pt x="76860" y="834489"/>
                    </a:lnTo>
                    <a:lnTo>
                      <a:pt x="47580" y="911350"/>
                    </a:lnTo>
                    <a:lnTo>
                      <a:pt x="80520" y="962590"/>
                    </a:lnTo>
                    <a:lnTo>
                      <a:pt x="43920" y="1021151"/>
                    </a:lnTo>
                    <a:lnTo>
                      <a:pt x="98820" y="1032131"/>
                    </a:lnTo>
                    <a:lnTo>
                      <a:pt x="146400" y="1065071"/>
                    </a:lnTo>
                    <a:lnTo>
                      <a:pt x="161040" y="1138272"/>
                    </a:lnTo>
                    <a:lnTo>
                      <a:pt x="219599" y="1087032"/>
                    </a:lnTo>
                    <a:lnTo>
                      <a:pt x="204959" y="1050431"/>
                    </a:lnTo>
                    <a:lnTo>
                      <a:pt x="296459" y="1043111"/>
                    </a:lnTo>
                    <a:lnTo>
                      <a:pt x="311099" y="1090692"/>
                    </a:lnTo>
                    <a:lnTo>
                      <a:pt x="365998" y="1098012"/>
                    </a:lnTo>
                    <a:lnTo>
                      <a:pt x="387958" y="1072391"/>
                    </a:lnTo>
                    <a:lnTo>
                      <a:pt x="439198" y="1079712"/>
                    </a:lnTo>
                    <a:lnTo>
                      <a:pt x="402598" y="1130952"/>
                    </a:lnTo>
                    <a:lnTo>
                      <a:pt x="453838" y="1167553"/>
                    </a:lnTo>
                    <a:lnTo>
                      <a:pt x="490438" y="1134612"/>
                    </a:lnTo>
                    <a:lnTo>
                      <a:pt x="527037" y="1149252"/>
                    </a:lnTo>
                    <a:lnTo>
                      <a:pt x="633177" y="1072391"/>
                    </a:lnTo>
                    <a:lnTo>
                      <a:pt x="567297" y="936970"/>
                    </a:lnTo>
                    <a:lnTo>
                      <a:pt x="527037" y="893049"/>
                    </a:lnTo>
                    <a:lnTo>
                      <a:pt x="490438" y="757628"/>
                    </a:lnTo>
                    <a:lnTo>
                      <a:pt x="384298" y="607566"/>
                    </a:lnTo>
                    <a:lnTo>
                      <a:pt x="296459" y="549006"/>
                    </a:lnTo>
                    <a:lnTo>
                      <a:pt x="259859" y="446525"/>
                    </a:lnTo>
                    <a:lnTo>
                      <a:pt x="303779" y="366004"/>
                    </a:lnTo>
                    <a:lnTo>
                      <a:pt x="340379" y="292803"/>
                    </a:lnTo>
                    <a:lnTo>
                      <a:pt x="267179" y="234242"/>
                    </a:lnTo>
                    <a:lnTo>
                      <a:pt x="285479" y="157381"/>
                    </a:lnTo>
                    <a:lnTo>
                      <a:pt x="263519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29" name="Forma libre 9"/>
              <p:cNvSpPr/>
              <p:nvPr/>
            </p:nvSpPr>
            <p:spPr>
              <a:xfrm>
                <a:off x="862657" y="6122457"/>
                <a:ext cx="81572" cy="99485"/>
              </a:xfrm>
              <a:custGeom>
                <a:avLst/>
                <a:gdLst>
                  <a:gd name="connsiteX0" fmla="*/ 0 w 545337"/>
                  <a:gd name="connsiteY0" fmla="*/ 336724 h 629527"/>
                  <a:gd name="connsiteX1" fmla="*/ 182999 w 545337"/>
                  <a:gd name="connsiteY1" fmla="*/ 431885 h 629527"/>
                  <a:gd name="connsiteX2" fmla="*/ 259858 w 545337"/>
                  <a:gd name="connsiteY2" fmla="*/ 497766 h 629527"/>
                  <a:gd name="connsiteX3" fmla="*/ 237899 w 545337"/>
                  <a:gd name="connsiteY3" fmla="*/ 527046 h 629527"/>
                  <a:gd name="connsiteX4" fmla="*/ 347698 w 545337"/>
                  <a:gd name="connsiteY4" fmla="*/ 629527 h 629527"/>
                  <a:gd name="connsiteX5" fmla="*/ 420898 w 545337"/>
                  <a:gd name="connsiteY5" fmla="*/ 541686 h 629527"/>
                  <a:gd name="connsiteX6" fmla="*/ 464817 w 545337"/>
                  <a:gd name="connsiteY6" fmla="*/ 559986 h 629527"/>
                  <a:gd name="connsiteX7" fmla="*/ 464817 w 545337"/>
                  <a:gd name="connsiteY7" fmla="*/ 559986 h 629527"/>
                  <a:gd name="connsiteX8" fmla="*/ 497757 w 545337"/>
                  <a:gd name="connsiteY8" fmla="*/ 497766 h 629527"/>
                  <a:gd name="connsiteX9" fmla="*/ 545337 w 545337"/>
                  <a:gd name="connsiteY9" fmla="*/ 468485 h 629527"/>
                  <a:gd name="connsiteX10" fmla="*/ 453837 w 545337"/>
                  <a:gd name="connsiteY10" fmla="*/ 431885 h 629527"/>
                  <a:gd name="connsiteX11" fmla="*/ 409918 w 545337"/>
                  <a:gd name="connsiteY11" fmla="*/ 355024 h 629527"/>
                  <a:gd name="connsiteX12" fmla="*/ 420898 w 545337"/>
                  <a:gd name="connsiteY12" fmla="*/ 303784 h 629527"/>
                  <a:gd name="connsiteX13" fmla="*/ 472137 w 545337"/>
                  <a:gd name="connsiteY13" fmla="*/ 278163 h 629527"/>
                  <a:gd name="connsiteX14" fmla="*/ 512397 w 545337"/>
                  <a:gd name="connsiteY14" fmla="*/ 212283 h 629527"/>
                  <a:gd name="connsiteX15" fmla="*/ 446517 w 545337"/>
                  <a:gd name="connsiteY15" fmla="*/ 193982 h 629527"/>
                  <a:gd name="connsiteX16" fmla="*/ 355018 w 545337"/>
                  <a:gd name="connsiteY16" fmla="*/ 183002 h 629527"/>
                  <a:gd name="connsiteX17" fmla="*/ 355018 w 545337"/>
                  <a:gd name="connsiteY17" fmla="*/ 117122 h 629527"/>
                  <a:gd name="connsiteX18" fmla="*/ 314758 w 545337"/>
                  <a:gd name="connsiteY18" fmla="*/ 142742 h 629527"/>
                  <a:gd name="connsiteX19" fmla="*/ 252538 w 545337"/>
                  <a:gd name="connsiteY19" fmla="*/ 0 h 629527"/>
                  <a:gd name="connsiteX20" fmla="*/ 179339 w 545337"/>
                  <a:gd name="connsiteY20" fmla="*/ 157382 h 629527"/>
                  <a:gd name="connsiteX21" fmla="*/ 106139 w 545337"/>
                  <a:gd name="connsiteY21" fmla="*/ 183002 h 629527"/>
                  <a:gd name="connsiteX22" fmla="*/ 0 w 545337"/>
                  <a:gd name="connsiteY22" fmla="*/ 336724 h 629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545337" h="629527">
                    <a:moveTo>
                      <a:pt x="0" y="336724"/>
                    </a:moveTo>
                    <a:lnTo>
                      <a:pt x="182999" y="431885"/>
                    </a:lnTo>
                    <a:lnTo>
                      <a:pt x="259858" y="497766"/>
                    </a:lnTo>
                    <a:lnTo>
                      <a:pt x="237899" y="527046"/>
                    </a:lnTo>
                    <a:lnTo>
                      <a:pt x="347698" y="629527"/>
                    </a:lnTo>
                    <a:lnTo>
                      <a:pt x="420898" y="541686"/>
                    </a:lnTo>
                    <a:lnTo>
                      <a:pt x="464817" y="559986"/>
                    </a:lnTo>
                    <a:lnTo>
                      <a:pt x="464817" y="559986"/>
                    </a:lnTo>
                    <a:lnTo>
                      <a:pt x="497757" y="497766"/>
                    </a:lnTo>
                    <a:lnTo>
                      <a:pt x="545337" y="468485"/>
                    </a:lnTo>
                    <a:lnTo>
                      <a:pt x="453837" y="431885"/>
                    </a:lnTo>
                    <a:lnTo>
                      <a:pt x="409918" y="355024"/>
                    </a:lnTo>
                    <a:lnTo>
                      <a:pt x="420898" y="303784"/>
                    </a:lnTo>
                    <a:lnTo>
                      <a:pt x="472137" y="278163"/>
                    </a:lnTo>
                    <a:lnTo>
                      <a:pt x="512397" y="212283"/>
                    </a:lnTo>
                    <a:lnTo>
                      <a:pt x="446517" y="193982"/>
                    </a:lnTo>
                    <a:lnTo>
                      <a:pt x="355018" y="183002"/>
                    </a:lnTo>
                    <a:lnTo>
                      <a:pt x="355018" y="117122"/>
                    </a:lnTo>
                    <a:lnTo>
                      <a:pt x="314758" y="142742"/>
                    </a:lnTo>
                    <a:lnTo>
                      <a:pt x="252538" y="0"/>
                    </a:lnTo>
                    <a:lnTo>
                      <a:pt x="179339" y="157382"/>
                    </a:lnTo>
                    <a:lnTo>
                      <a:pt x="106139" y="183002"/>
                    </a:lnTo>
                    <a:lnTo>
                      <a:pt x="0" y="336724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0" name="Forma libre 10"/>
              <p:cNvSpPr/>
              <p:nvPr/>
            </p:nvSpPr>
            <p:spPr>
              <a:xfrm>
                <a:off x="916308" y="6210952"/>
                <a:ext cx="153837" cy="117415"/>
              </a:xfrm>
              <a:custGeom>
                <a:avLst/>
                <a:gdLst>
                  <a:gd name="connsiteX0" fmla="*/ 373318 w 1028454"/>
                  <a:gd name="connsiteY0" fmla="*/ 742989 h 742989"/>
                  <a:gd name="connsiteX1" fmla="*/ 325738 w 1028454"/>
                  <a:gd name="connsiteY1" fmla="*/ 666128 h 742989"/>
                  <a:gd name="connsiteX2" fmla="*/ 336718 w 1028454"/>
                  <a:gd name="connsiteY2" fmla="*/ 607567 h 742989"/>
                  <a:gd name="connsiteX3" fmla="*/ 256198 w 1028454"/>
                  <a:gd name="connsiteY3" fmla="*/ 549006 h 742989"/>
                  <a:gd name="connsiteX4" fmla="*/ 292798 w 1028454"/>
                  <a:gd name="connsiteY4" fmla="*/ 534366 h 742989"/>
                  <a:gd name="connsiteX5" fmla="*/ 190319 w 1028454"/>
                  <a:gd name="connsiteY5" fmla="*/ 391625 h 742989"/>
                  <a:gd name="connsiteX6" fmla="*/ 102479 w 1028454"/>
                  <a:gd name="connsiteY6" fmla="*/ 329404 h 742989"/>
                  <a:gd name="connsiteX7" fmla="*/ 54900 w 1028454"/>
                  <a:gd name="connsiteY7" fmla="*/ 259863 h 742989"/>
                  <a:gd name="connsiteX8" fmla="*/ 54900 w 1028454"/>
                  <a:gd name="connsiteY8" fmla="*/ 259863 h 742989"/>
                  <a:gd name="connsiteX9" fmla="*/ 21960 w 1028454"/>
                  <a:gd name="connsiteY9" fmla="*/ 142742 h 742989"/>
                  <a:gd name="connsiteX10" fmla="*/ 0 w 1028454"/>
                  <a:gd name="connsiteY10" fmla="*/ 80521 h 742989"/>
                  <a:gd name="connsiteX11" fmla="*/ 69539 w 1028454"/>
                  <a:gd name="connsiteY11" fmla="*/ 0 h 742989"/>
                  <a:gd name="connsiteX12" fmla="*/ 102479 w 1028454"/>
                  <a:gd name="connsiteY12" fmla="*/ 10981 h 742989"/>
                  <a:gd name="connsiteX13" fmla="*/ 142739 w 1028454"/>
                  <a:gd name="connsiteY13" fmla="*/ 76861 h 742989"/>
                  <a:gd name="connsiteX14" fmla="*/ 102479 w 1028454"/>
                  <a:gd name="connsiteY14" fmla="*/ 135422 h 742989"/>
                  <a:gd name="connsiteX15" fmla="*/ 168359 w 1028454"/>
                  <a:gd name="connsiteY15" fmla="*/ 164702 h 742989"/>
                  <a:gd name="connsiteX16" fmla="*/ 197639 w 1028454"/>
                  <a:gd name="connsiteY16" fmla="*/ 179342 h 742989"/>
                  <a:gd name="connsiteX17" fmla="*/ 234239 w 1028454"/>
                  <a:gd name="connsiteY17" fmla="*/ 274503 h 742989"/>
                  <a:gd name="connsiteX18" fmla="*/ 311098 w 1028454"/>
                  <a:gd name="connsiteY18" fmla="*/ 215943 h 742989"/>
                  <a:gd name="connsiteX19" fmla="*/ 300118 w 1028454"/>
                  <a:gd name="connsiteY19" fmla="*/ 168362 h 742989"/>
                  <a:gd name="connsiteX20" fmla="*/ 358678 w 1028454"/>
                  <a:gd name="connsiteY20" fmla="*/ 168362 h 742989"/>
                  <a:gd name="connsiteX21" fmla="*/ 376978 w 1028454"/>
                  <a:gd name="connsiteY21" fmla="*/ 219603 h 742989"/>
                  <a:gd name="connsiteX22" fmla="*/ 435537 w 1028454"/>
                  <a:gd name="connsiteY22" fmla="*/ 226923 h 742989"/>
                  <a:gd name="connsiteX23" fmla="*/ 475797 w 1028454"/>
                  <a:gd name="connsiteY23" fmla="*/ 197643 h 742989"/>
                  <a:gd name="connsiteX24" fmla="*/ 475797 w 1028454"/>
                  <a:gd name="connsiteY24" fmla="*/ 197643 h 742989"/>
                  <a:gd name="connsiteX25" fmla="*/ 472137 w 1028454"/>
                  <a:gd name="connsiteY25" fmla="*/ 259863 h 742989"/>
                  <a:gd name="connsiteX26" fmla="*/ 527037 w 1028454"/>
                  <a:gd name="connsiteY26" fmla="*/ 303784 h 742989"/>
                  <a:gd name="connsiteX27" fmla="*/ 578277 w 1028454"/>
                  <a:gd name="connsiteY27" fmla="*/ 270843 h 742989"/>
                  <a:gd name="connsiteX28" fmla="*/ 622196 w 1028454"/>
                  <a:gd name="connsiteY28" fmla="*/ 270843 h 742989"/>
                  <a:gd name="connsiteX29" fmla="*/ 728336 w 1028454"/>
                  <a:gd name="connsiteY29" fmla="*/ 183002 h 742989"/>
                  <a:gd name="connsiteX30" fmla="*/ 629516 w 1028454"/>
                  <a:gd name="connsiteY30" fmla="*/ 3660 h 742989"/>
                  <a:gd name="connsiteX31" fmla="*/ 717356 w 1028454"/>
                  <a:gd name="connsiteY31" fmla="*/ 0 h 742989"/>
                  <a:gd name="connsiteX32" fmla="*/ 761276 w 1028454"/>
                  <a:gd name="connsiteY32" fmla="*/ 76861 h 742989"/>
                  <a:gd name="connsiteX33" fmla="*/ 761276 w 1028454"/>
                  <a:gd name="connsiteY33" fmla="*/ 168362 h 742989"/>
                  <a:gd name="connsiteX34" fmla="*/ 801535 w 1028454"/>
                  <a:gd name="connsiteY34" fmla="*/ 230583 h 742989"/>
                  <a:gd name="connsiteX35" fmla="*/ 823495 w 1028454"/>
                  <a:gd name="connsiteY35" fmla="*/ 296464 h 742989"/>
                  <a:gd name="connsiteX36" fmla="*/ 845455 w 1028454"/>
                  <a:gd name="connsiteY36" fmla="*/ 409925 h 742989"/>
                  <a:gd name="connsiteX37" fmla="*/ 925975 w 1028454"/>
                  <a:gd name="connsiteY37" fmla="*/ 391625 h 742989"/>
                  <a:gd name="connsiteX38" fmla="*/ 988194 w 1028454"/>
                  <a:gd name="connsiteY38" fmla="*/ 406265 h 742989"/>
                  <a:gd name="connsiteX39" fmla="*/ 1028454 w 1028454"/>
                  <a:gd name="connsiteY39" fmla="*/ 450185 h 742989"/>
                  <a:gd name="connsiteX40" fmla="*/ 1021134 w 1028454"/>
                  <a:gd name="connsiteY40" fmla="*/ 501426 h 742989"/>
                  <a:gd name="connsiteX41" fmla="*/ 951594 w 1028454"/>
                  <a:gd name="connsiteY41" fmla="*/ 541686 h 742989"/>
                  <a:gd name="connsiteX42" fmla="*/ 863755 w 1028454"/>
                  <a:gd name="connsiteY42" fmla="*/ 574627 h 742989"/>
                  <a:gd name="connsiteX43" fmla="*/ 724676 w 1028454"/>
                  <a:gd name="connsiteY43" fmla="*/ 406265 h 742989"/>
                  <a:gd name="connsiteX44" fmla="*/ 658796 w 1028454"/>
                  <a:gd name="connsiteY44" fmla="*/ 409925 h 742989"/>
                  <a:gd name="connsiteX45" fmla="*/ 625856 w 1028454"/>
                  <a:gd name="connsiteY45" fmla="*/ 472146 h 742989"/>
                  <a:gd name="connsiteX46" fmla="*/ 556317 w 1028454"/>
                  <a:gd name="connsiteY46" fmla="*/ 505086 h 742989"/>
                  <a:gd name="connsiteX47" fmla="*/ 530697 w 1028454"/>
                  <a:gd name="connsiteY47" fmla="*/ 625867 h 742989"/>
                  <a:gd name="connsiteX48" fmla="*/ 464817 w 1028454"/>
                  <a:gd name="connsiteY48" fmla="*/ 629527 h 742989"/>
                  <a:gd name="connsiteX49" fmla="*/ 413578 w 1028454"/>
                  <a:gd name="connsiteY49" fmla="*/ 673448 h 742989"/>
                  <a:gd name="connsiteX50" fmla="*/ 373318 w 1028454"/>
                  <a:gd name="connsiteY50" fmla="*/ 742989 h 742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028454" h="742989">
                    <a:moveTo>
                      <a:pt x="373318" y="742989"/>
                    </a:moveTo>
                    <a:lnTo>
                      <a:pt x="325738" y="666128"/>
                    </a:lnTo>
                    <a:lnTo>
                      <a:pt x="336718" y="607567"/>
                    </a:lnTo>
                    <a:lnTo>
                      <a:pt x="256198" y="549006"/>
                    </a:lnTo>
                    <a:lnTo>
                      <a:pt x="292798" y="534366"/>
                    </a:lnTo>
                    <a:lnTo>
                      <a:pt x="190319" y="391625"/>
                    </a:lnTo>
                    <a:lnTo>
                      <a:pt x="102479" y="329404"/>
                    </a:lnTo>
                    <a:lnTo>
                      <a:pt x="54900" y="259863"/>
                    </a:lnTo>
                    <a:lnTo>
                      <a:pt x="54900" y="259863"/>
                    </a:lnTo>
                    <a:lnTo>
                      <a:pt x="21960" y="142742"/>
                    </a:lnTo>
                    <a:lnTo>
                      <a:pt x="0" y="80521"/>
                    </a:lnTo>
                    <a:lnTo>
                      <a:pt x="69539" y="0"/>
                    </a:lnTo>
                    <a:lnTo>
                      <a:pt x="102479" y="10981"/>
                    </a:lnTo>
                    <a:lnTo>
                      <a:pt x="142739" y="76861"/>
                    </a:lnTo>
                    <a:lnTo>
                      <a:pt x="102479" y="135422"/>
                    </a:lnTo>
                    <a:lnTo>
                      <a:pt x="168359" y="164702"/>
                    </a:lnTo>
                    <a:lnTo>
                      <a:pt x="197639" y="179342"/>
                    </a:lnTo>
                    <a:lnTo>
                      <a:pt x="234239" y="274503"/>
                    </a:lnTo>
                    <a:lnTo>
                      <a:pt x="311098" y="215943"/>
                    </a:lnTo>
                    <a:lnTo>
                      <a:pt x="300118" y="168362"/>
                    </a:lnTo>
                    <a:lnTo>
                      <a:pt x="358678" y="168362"/>
                    </a:lnTo>
                    <a:lnTo>
                      <a:pt x="376978" y="219603"/>
                    </a:lnTo>
                    <a:lnTo>
                      <a:pt x="435537" y="226923"/>
                    </a:lnTo>
                    <a:lnTo>
                      <a:pt x="475797" y="197643"/>
                    </a:lnTo>
                    <a:lnTo>
                      <a:pt x="475797" y="197643"/>
                    </a:lnTo>
                    <a:lnTo>
                      <a:pt x="472137" y="259863"/>
                    </a:lnTo>
                    <a:lnTo>
                      <a:pt x="527037" y="303784"/>
                    </a:lnTo>
                    <a:lnTo>
                      <a:pt x="578277" y="270843"/>
                    </a:lnTo>
                    <a:lnTo>
                      <a:pt x="622196" y="270843"/>
                    </a:lnTo>
                    <a:lnTo>
                      <a:pt x="728336" y="183002"/>
                    </a:lnTo>
                    <a:lnTo>
                      <a:pt x="629516" y="3660"/>
                    </a:lnTo>
                    <a:lnTo>
                      <a:pt x="717356" y="0"/>
                    </a:lnTo>
                    <a:lnTo>
                      <a:pt x="761276" y="76861"/>
                    </a:lnTo>
                    <a:lnTo>
                      <a:pt x="761276" y="168362"/>
                    </a:lnTo>
                    <a:lnTo>
                      <a:pt x="801535" y="230583"/>
                    </a:lnTo>
                    <a:lnTo>
                      <a:pt x="823495" y="296464"/>
                    </a:lnTo>
                    <a:lnTo>
                      <a:pt x="845455" y="409925"/>
                    </a:lnTo>
                    <a:lnTo>
                      <a:pt x="925975" y="391625"/>
                    </a:lnTo>
                    <a:lnTo>
                      <a:pt x="988194" y="406265"/>
                    </a:lnTo>
                    <a:lnTo>
                      <a:pt x="1028454" y="450185"/>
                    </a:lnTo>
                    <a:lnTo>
                      <a:pt x="1021134" y="501426"/>
                    </a:lnTo>
                    <a:lnTo>
                      <a:pt x="951594" y="541686"/>
                    </a:lnTo>
                    <a:lnTo>
                      <a:pt x="863755" y="574627"/>
                    </a:lnTo>
                    <a:lnTo>
                      <a:pt x="724676" y="406265"/>
                    </a:lnTo>
                    <a:lnTo>
                      <a:pt x="658796" y="409925"/>
                    </a:lnTo>
                    <a:lnTo>
                      <a:pt x="625856" y="472146"/>
                    </a:lnTo>
                    <a:lnTo>
                      <a:pt x="556317" y="505086"/>
                    </a:lnTo>
                    <a:lnTo>
                      <a:pt x="530697" y="625867"/>
                    </a:lnTo>
                    <a:lnTo>
                      <a:pt x="464817" y="629527"/>
                    </a:lnTo>
                    <a:lnTo>
                      <a:pt x="413578" y="673448"/>
                    </a:lnTo>
                    <a:lnTo>
                      <a:pt x="373318" y="742989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1" name="Forma libre 11"/>
              <p:cNvSpPr/>
              <p:nvPr/>
            </p:nvSpPr>
            <p:spPr>
              <a:xfrm>
                <a:off x="1022516" y="6119565"/>
                <a:ext cx="127012" cy="198969"/>
              </a:xfrm>
              <a:custGeom>
                <a:avLst/>
                <a:gdLst>
                  <a:gd name="connsiteX0" fmla="*/ 3660 w 849115"/>
                  <a:gd name="connsiteY0" fmla="*/ 0 h 1259054"/>
                  <a:gd name="connsiteX1" fmla="*/ 65879 w 849115"/>
                  <a:gd name="connsiteY1" fmla="*/ 14640 h 1259054"/>
                  <a:gd name="connsiteX2" fmla="*/ 106139 w 849115"/>
                  <a:gd name="connsiteY2" fmla="*/ 62221 h 1259054"/>
                  <a:gd name="connsiteX3" fmla="*/ 344038 w 849115"/>
                  <a:gd name="connsiteY3" fmla="*/ 128102 h 1259054"/>
                  <a:gd name="connsiteX4" fmla="*/ 380638 w 849115"/>
                  <a:gd name="connsiteY4" fmla="*/ 226923 h 1259054"/>
                  <a:gd name="connsiteX5" fmla="*/ 453837 w 849115"/>
                  <a:gd name="connsiteY5" fmla="*/ 234243 h 1259054"/>
                  <a:gd name="connsiteX6" fmla="*/ 501417 w 849115"/>
                  <a:gd name="connsiteY6" fmla="*/ 215942 h 1259054"/>
                  <a:gd name="connsiteX7" fmla="*/ 592916 w 849115"/>
                  <a:gd name="connsiteY7" fmla="*/ 292803 h 1259054"/>
                  <a:gd name="connsiteX8" fmla="*/ 658796 w 849115"/>
                  <a:gd name="connsiteY8" fmla="*/ 263523 h 1259054"/>
                  <a:gd name="connsiteX9" fmla="*/ 761275 w 849115"/>
                  <a:gd name="connsiteY9" fmla="*/ 263523 h 1259054"/>
                  <a:gd name="connsiteX10" fmla="*/ 812515 w 849115"/>
                  <a:gd name="connsiteY10" fmla="*/ 219603 h 1259054"/>
                  <a:gd name="connsiteX11" fmla="*/ 849115 w 849115"/>
                  <a:gd name="connsiteY11" fmla="*/ 289143 h 1259054"/>
                  <a:gd name="connsiteX12" fmla="*/ 805195 w 849115"/>
                  <a:gd name="connsiteY12" fmla="*/ 322084 h 1259054"/>
                  <a:gd name="connsiteX13" fmla="*/ 830815 w 849115"/>
                  <a:gd name="connsiteY13" fmla="*/ 486785 h 1259054"/>
                  <a:gd name="connsiteX14" fmla="*/ 746636 w 849115"/>
                  <a:gd name="connsiteY14" fmla="*/ 519726 h 1259054"/>
                  <a:gd name="connsiteX15" fmla="*/ 684416 w 849115"/>
                  <a:gd name="connsiteY15" fmla="*/ 472145 h 1259054"/>
                  <a:gd name="connsiteX16" fmla="*/ 581936 w 849115"/>
                  <a:gd name="connsiteY16" fmla="*/ 490445 h 1259054"/>
                  <a:gd name="connsiteX17" fmla="*/ 636836 w 849115"/>
                  <a:gd name="connsiteY17" fmla="*/ 556326 h 1259054"/>
                  <a:gd name="connsiteX18" fmla="*/ 611216 w 849115"/>
                  <a:gd name="connsiteY18" fmla="*/ 647827 h 1259054"/>
                  <a:gd name="connsiteX19" fmla="*/ 567297 w 849115"/>
                  <a:gd name="connsiteY19" fmla="*/ 677108 h 1259054"/>
                  <a:gd name="connsiteX20" fmla="*/ 548997 w 849115"/>
                  <a:gd name="connsiteY20" fmla="*/ 746648 h 1259054"/>
                  <a:gd name="connsiteX21" fmla="*/ 600236 w 849115"/>
                  <a:gd name="connsiteY21" fmla="*/ 801549 h 1259054"/>
                  <a:gd name="connsiteX22" fmla="*/ 607556 w 849115"/>
                  <a:gd name="connsiteY22" fmla="*/ 856450 h 1259054"/>
                  <a:gd name="connsiteX23" fmla="*/ 647816 w 849115"/>
                  <a:gd name="connsiteY23" fmla="*/ 936970 h 1259054"/>
                  <a:gd name="connsiteX24" fmla="*/ 699056 w 849115"/>
                  <a:gd name="connsiteY24" fmla="*/ 944290 h 1259054"/>
                  <a:gd name="connsiteX25" fmla="*/ 662456 w 849115"/>
                  <a:gd name="connsiteY25" fmla="*/ 991871 h 1259054"/>
                  <a:gd name="connsiteX26" fmla="*/ 680756 w 849115"/>
                  <a:gd name="connsiteY26" fmla="*/ 1076052 h 1259054"/>
                  <a:gd name="connsiteX27" fmla="*/ 625856 w 849115"/>
                  <a:gd name="connsiteY27" fmla="*/ 1083372 h 1259054"/>
                  <a:gd name="connsiteX28" fmla="*/ 611216 w 849115"/>
                  <a:gd name="connsiteY28" fmla="*/ 1215133 h 1259054"/>
                  <a:gd name="connsiteX29" fmla="*/ 563637 w 849115"/>
                  <a:gd name="connsiteY29" fmla="*/ 1259054 h 1259054"/>
                  <a:gd name="connsiteX30" fmla="*/ 530697 w 849115"/>
                  <a:gd name="connsiteY30" fmla="*/ 1112652 h 1259054"/>
                  <a:gd name="connsiteX31" fmla="*/ 483117 w 849115"/>
                  <a:gd name="connsiteY31" fmla="*/ 1127292 h 1259054"/>
                  <a:gd name="connsiteX32" fmla="*/ 475797 w 849115"/>
                  <a:gd name="connsiteY32" fmla="*/ 1174873 h 1259054"/>
                  <a:gd name="connsiteX33" fmla="*/ 442857 w 849115"/>
                  <a:gd name="connsiteY33" fmla="*/ 1141933 h 1259054"/>
                  <a:gd name="connsiteX34" fmla="*/ 325738 w 849115"/>
                  <a:gd name="connsiteY34" fmla="*/ 1152913 h 1259054"/>
                  <a:gd name="connsiteX35" fmla="*/ 325738 w 849115"/>
                  <a:gd name="connsiteY35" fmla="*/ 1152913 h 1259054"/>
                  <a:gd name="connsiteX36" fmla="*/ 256198 w 849115"/>
                  <a:gd name="connsiteY36" fmla="*/ 1163893 h 1259054"/>
                  <a:gd name="connsiteX37" fmla="*/ 230578 w 849115"/>
                  <a:gd name="connsiteY37" fmla="*/ 1134613 h 1259054"/>
                  <a:gd name="connsiteX38" fmla="*/ 314758 w 849115"/>
                  <a:gd name="connsiteY38" fmla="*/ 1105332 h 1259054"/>
                  <a:gd name="connsiteX39" fmla="*/ 322078 w 849115"/>
                  <a:gd name="connsiteY39" fmla="*/ 1028471 h 1259054"/>
                  <a:gd name="connsiteX40" fmla="*/ 292798 w 849115"/>
                  <a:gd name="connsiteY40" fmla="*/ 977231 h 1259054"/>
                  <a:gd name="connsiteX41" fmla="*/ 212279 w 849115"/>
                  <a:gd name="connsiteY41" fmla="*/ 955271 h 1259054"/>
                  <a:gd name="connsiteX42" fmla="*/ 135419 w 849115"/>
                  <a:gd name="connsiteY42" fmla="*/ 966251 h 1259054"/>
                  <a:gd name="connsiteX43" fmla="*/ 117119 w 849115"/>
                  <a:gd name="connsiteY43" fmla="*/ 823509 h 1259054"/>
                  <a:gd name="connsiteX44" fmla="*/ 62219 w 849115"/>
                  <a:gd name="connsiteY44" fmla="*/ 732008 h 1259054"/>
                  <a:gd name="connsiteX45" fmla="*/ 65879 w 849115"/>
                  <a:gd name="connsiteY45" fmla="*/ 644167 h 1259054"/>
                  <a:gd name="connsiteX46" fmla="*/ 14640 w 849115"/>
                  <a:gd name="connsiteY46" fmla="*/ 559986 h 1259054"/>
                  <a:gd name="connsiteX47" fmla="*/ 18300 w 849115"/>
                  <a:gd name="connsiteY47" fmla="*/ 475805 h 1259054"/>
                  <a:gd name="connsiteX48" fmla="*/ 54899 w 849115"/>
                  <a:gd name="connsiteY48" fmla="*/ 461165 h 1259054"/>
                  <a:gd name="connsiteX49" fmla="*/ 150059 w 849115"/>
                  <a:gd name="connsiteY49" fmla="*/ 497766 h 1259054"/>
                  <a:gd name="connsiteX50" fmla="*/ 157379 w 849115"/>
                  <a:gd name="connsiteY50" fmla="*/ 424565 h 1259054"/>
                  <a:gd name="connsiteX51" fmla="*/ 201299 w 849115"/>
                  <a:gd name="connsiteY51" fmla="*/ 340384 h 1259054"/>
                  <a:gd name="connsiteX52" fmla="*/ 278158 w 849115"/>
                  <a:gd name="connsiteY52" fmla="*/ 333064 h 1259054"/>
                  <a:gd name="connsiteX53" fmla="*/ 146399 w 849115"/>
                  <a:gd name="connsiteY53" fmla="*/ 212282 h 1259054"/>
                  <a:gd name="connsiteX54" fmla="*/ 54899 w 849115"/>
                  <a:gd name="connsiteY54" fmla="*/ 201302 h 1259054"/>
                  <a:gd name="connsiteX55" fmla="*/ 0 w 849115"/>
                  <a:gd name="connsiteY55" fmla="*/ 128102 h 1259054"/>
                  <a:gd name="connsiteX56" fmla="*/ 3660 w 849115"/>
                  <a:gd name="connsiteY56" fmla="*/ 0 h 1259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849115" h="1259054">
                    <a:moveTo>
                      <a:pt x="3660" y="0"/>
                    </a:moveTo>
                    <a:lnTo>
                      <a:pt x="65879" y="14640"/>
                    </a:lnTo>
                    <a:lnTo>
                      <a:pt x="106139" y="62221"/>
                    </a:lnTo>
                    <a:lnTo>
                      <a:pt x="344038" y="128102"/>
                    </a:lnTo>
                    <a:lnTo>
                      <a:pt x="380638" y="226923"/>
                    </a:lnTo>
                    <a:lnTo>
                      <a:pt x="453837" y="234243"/>
                    </a:lnTo>
                    <a:lnTo>
                      <a:pt x="501417" y="215942"/>
                    </a:lnTo>
                    <a:lnTo>
                      <a:pt x="592916" y="292803"/>
                    </a:lnTo>
                    <a:lnTo>
                      <a:pt x="658796" y="263523"/>
                    </a:lnTo>
                    <a:lnTo>
                      <a:pt x="761275" y="263523"/>
                    </a:lnTo>
                    <a:lnTo>
                      <a:pt x="812515" y="219603"/>
                    </a:lnTo>
                    <a:lnTo>
                      <a:pt x="849115" y="289143"/>
                    </a:lnTo>
                    <a:lnTo>
                      <a:pt x="805195" y="322084"/>
                    </a:lnTo>
                    <a:lnTo>
                      <a:pt x="830815" y="486785"/>
                    </a:lnTo>
                    <a:lnTo>
                      <a:pt x="746636" y="519726"/>
                    </a:lnTo>
                    <a:lnTo>
                      <a:pt x="684416" y="472145"/>
                    </a:lnTo>
                    <a:lnTo>
                      <a:pt x="581936" y="490445"/>
                    </a:lnTo>
                    <a:lnTo>
                      <a:pt x="636836" y="556326"/>
                    </a:lnTo>
                    <a:lnTo>
                      <a:pt x="611216" y="647827"/>
                    </a:lnTo>
                    <a:lnTo>
                      <a:pt x="567297" y="677108"/>
                    </a:lnTo>
                    <a:lnTo>
                      <a:pt x="548997" y="746648"/>
                    </a:lnTo>
                    <a:lnTo>
                      <a:pt x="600236" y="801549"/>
                    </a:lnTo>
                    <a:lnTo>
                      <a:pt x="607556" y="856450"/>
                    </a:lnTo>
                    <a:lnTo>
                      <a:pt x="647816" y="936970"/>
                    </a:lnTo>
                    <a:lnTo>
                      <a:pt x="699056" y="944290"/>
                    </a:lnTo>
                    <a:lnTo>
                      <a:pt x="662456" y="991871"/>
                    </a:lnTo>
                    <a:lnTo>
                      <a:pt x="680756" y="1076052"/>
                    </a:lnTo>
                    <a:lnTo>
                      <a:pt x="625856" y="1083372"/>
                    </a:lnTo>
                    <a:lnTo>
                      <a:pt x="611216" y="1215133"/>
                    </a:lnTo>
                    <a:lnTo>
                      <a:pt x="563637" y="1259054"/>
                    </a:lnTo>
                    <a:lnTo>
                      <a:pt x="530697" y="1112652"/>
                    </a:lnTo>
                    <a:lnTo>
                      <a:pt x="483117" y="1127292"/>
                    </a:lnTo>
                    <a:lnTo>
                      <a:pt x="475797" y="1174873"/>
                    </a:lnTo>
                    <a:lnTo>
                      <a:pt x="442857" y="1141933"/>
                    </a:lnTo>
                    <a:lnTo>
                      <a:pt x="325738" y="1152913"/>
                    </a:lnTo>
                    <a:lnTo>
                      <a:pt x="325738" y="1152913"/>
                    </a:lnTo>
                    <a:lnTo>
                      <a:pt x="256198" y="1163893"/>
                    </a:lnTo>
                    <a:lnTo>
                      <a:pt x="230578" y="1134613"/>
                    </a:lnTo>
                    <a:lnTo>
                      <a:pt x="314758" y="1105332"/>
                    </a:lnTo>
                    <a:lnTo>
                      <a:pt x="322078" y="1028471"/>
                    </a:lnTo>
                    <a:lnTo>
                      <a:pt x="292798" y="977231"/>
                    </a:lnTo>
                    <a:lnTo>
                      <a:pt x="212279" y="955271"/>
                    </a:lnTo>
                    <a:lnTo>
                      <a:pt x="135419" y="966251"/>
                    </a:lnTo>
                    <a:lnTo>
                      <a:pt x="117119" y="823509"/>
                    </a:lnTo>
                    <a:lnTo>
                      <a:pt x="62219" y="732008"/>
                    </a:lnTo>
                    <a:lnTo>
                      <a:pt x="65879" y="644167"/>
                    </a:lnTo>
                    <a:lnTo>
                      <a:pt x="14640" y="559986"/>
                    </a:lnTo>
                    <a:lnTo>
                      <a:pt x="18300" y="475805"/>
                    </a:lnTo>
                    <a:lnTo>
                      <a:pt x="54899" y="461165"/>
                    </a:lnTo>
                    <a:lnTo>
                      <a:pt x="150059" y="497766"/>
                    </a:lnTo>
                    <a:lnTo>
                      <a:pt x="157379" y="424565"/>
                    </a:lnTo>
                    <a:lnTo>
                      <a:pt x="201299" y="340384"/>
                    </a:lnTo>
                    <a:lnTo>
                      <a:pt x="278158" y="333064"/>
                    </a:lnTo>
                    <a:lnTo>
                      <a:pt x="146399" y="212282"/>
                    </a:lnTo>
                    <a:lnTo>
                      <a:pt x="54899" y="201302"/>
                    </a:lnTo>
                    <a:lnTo>
                      <a:pt x="0" y="128102"/>
                    </a:lnTo>
                    <a:lnTo>
                      <a:pt x="3660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2" name="Forma libre 12"/>
              <p:cNvSpPr/>
              <p:nvPr/>
            </p:nvSpPr>
            <p:spPr>
              <a:xfrm>
                <a:off x="971972" y="6276059"/>
                <a:ext cx="108514" cy="158734"/>
              </a:xfrm>
              <a:custGeom>
                <a:avLst/>
                <a:gdLst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32940 w 713696"/>
                  <a:gd name="connsiteY8" fmla="*/ 281823 h 988211"/>
                  <a:gd name="connsiteX9" fmla="*/ 87839 w 713696"/>
                  <a:gd name="connsiteY9" fmla="*/ 219603 h 988211"/>
                  <a:gd name="connsiteX10" fmla="*/ 172019 w 713696"/>
                  <a:gd name="connsiteY10" fmla="*/ 215943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32940 w 713696"/>
                  <a:gd name="connsiteY8" fmla="*/ 281823 h 988211"/>
                  <a:gd name="connsiteX9" fmla="*/ 87839 w 713696"/>
                  <a:gd name="connsiteY9" fmla="*/ 219603 h 988211"/>
                  <a:gd name="connsiteX10" fmla="*/ 162275 w 713696"/>
                  <a:gd name="connsiteY10" fmla="*/ 206199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32940 w 713696"/>
                  <a:gd name="connsiteY8" fmla="*/ 281823 h 988211"/>
                  <a:gd name="connsiteX9" fmla="*/ 81343 w 713696"/>
                  <a:gd name="connsiteY9" fmla="*/ 206610 h 988211"/>
                  <a:gd name="connsiteX10" fmla="*/ 162275 w 713696"/>
                  <a:gd name="connsiteY10" fmla="*/ 206199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67178 w 713696"/>
                  <a:gd name="connsiteY0" fmla="*/ 925990 h 988211"/>
                  <a:gd name="connsiteX1" fmla="*/ 190319 w 713696"/>
                  <a:gd name="connsiteY1" fmla="*/ 779589 h 988211"/>
                  <a:gd name="connsiteX2" fmla="*/ 135419 w 713696"/>
                  <a:gd name="connsiteY2" fmla="*/ 640507 h 988211"/>
                  <a:gd name="connsiteX3" fmla="*/ 135419 w 713696"/>
                  <a:gd name="connsiteY3" fmla="*/ 640507 h 988211"/>
                  <a:gd name="connsiteX4" fmla="*/ 117119 w 713696"/>
                  <a:gd name="connsiteY4" fmla="*/ 592927 h 988211"/>
                  <a:gd name="connsiteX5" fmla="*/ 40259 w 713696"/>
                  <a:gd name="connsiteY5" fmla="*/ 391624 h 988211"/>
                  <a:gd name="connsiteX6" fmla="*/ 0 w 713696"/>
                  <a:gd name="connsiteY6" fmla="*/ 398945 h 988211"/>
                  <a:gd name="connsiteX7" fmla="*/ 10980 w 713696"/>
                  <a:gd name="connsiteY7" fmla="*/ 347704 h 988211"/>
                  <a:gd name="connsiteX8" fmla="*/ 23196 w 713696"/>
                  <a:gd name="connsiteY8" fmla="*/ 272078 h 988211"/>
                  <a:gd name="connsiteX9" fmla="*/ 81343 w 713696"/>
                  <a:gd name="connsiteY9" fmla="*/ 206610 h 988211"/>
                  <a:gd name="connsiteX10" fmla="*/ 162275 w 713696"/>
                  <a:gd name="connsiteY10" fmla="*/ 206199 h 988211"/>
                  <a:gd name="connsiteX11" fmla="*/ 190319 w 713696"/>
                  <a:gd name="connsiteY11" fmla="*/ 102481 h 988211"/>
                  <a:gd name="connsiteX12" fmla="*/ 259858 w 713696"/>
                  <a:gd name="connsiteY12" fmla="*/ 58561 h 988211"/>
                  <a:gd name="connsiteX13" fmla="*/ 292798 w 713696"/>
                  <a:gd name="connsiteY13" fmla="*/ 0 h 988211"/>
                  <a:gd name="connsiteX14" fmla="*/ 333058 w 713696"/>
                  <a:gd name="connsiteY14" fmla="*/ 0 h 988211"/>
                  <a:gd name="connsiteX15" fmla="*/ 483117 w 713696"/>
                  <a:gd name="connsiteY15" fmla="*/ 164702 h 988211"/>
                  <a:gd name="connsiteX16" fmla="*/ 552657 w 713696"/>
                  <a:gd name="connsiteY16" fmla="*/ 307444 h 988211"/>
                  <a:gd name="connsiteX17" fmla="*/ 684416 w 713696"/>
                  <a:gd name="connsiteY17" fmla="*/ 391624 h 988211"/>
                  <a:gd name="connsiteX18" fmla="*/ 713696 w 713696"/>
                  <a:gd name="connsiteY18" fmla="*/ 439205 h 988211"/>
                  <a:gd name="connsiteX19" fmla="*/ 702716 w 713696"/>
                  <a:gd name="connsiteY19" fmla="*/ 475805 h 988211"/>
                  <a:gd name="connsiteX20" fmla="*/ 658796 w 713696"/>
                  <a:gd name="connsiteY20" fmla="*/ 424565 h 988211"/>
                  <a:gd name="connsiteX21" fmla="*/ 618536 w 713696"/>
                  <a:gd name="connsiteY21" fmla="*/ 490446 h 988211"/>
                  <a:gd name="connsiteX22" fmla="*/ 618536 w 713696"/>
                  <a:gd name="connsiteY22" fmla="*/ 490446 h 988211"/>
                  <a:gd name="connsiteX23" fmla="*/ 633176 w 713696"/>
                  <a:gd name="connsiteY23" fmla="*/ 545346 h 988211"/>
                  <a:gd name="connsiteX24" fmla="*/ 592916 w 713696"/>
                  <a:gd name="connsiteY24" fmla="*/ 559986 h 988211"/>
                  <a:gd name="connsiteX25" fmla="*/ 607556 w 713696"/>
                  <a:gd name="connsiteY25" fmla="*/ 611227 h 988211"/>
                  <a:gd name="connsiteX26" fmla="*/ 636836 w 713696"/>
                  <a:gd name="connsiteY26" fmla="*/ 600247 h 988211"/>
                  <a:gd name="connsiteX27" fmla="*/ 688076 w 713696"/>
                  <a:gd name="connsiteY27" fmla="*/ 728348 h 988211"/>
                  <a:gd name="connsiteX28" fmla="*/ 633176 w 713696"/>
                  <a:gd name="connsiteY28" fmla="*/ 746648 h 988211"/>
                  <a:gd name="connsiteX29" fmla="*/ 633176 w 713696"/>
                  <a:gd name="connsiteY29" fmla="*/ 808869 h 988211"/>
                  <a:gd name="connsiteX30" fmla="*/ 574616 w 713696"/>
                  <a:gd name="connsiteY30" fmla="*/ 827169 h 988211"/>
                  <a:gd name="connsiteX31" fmla="*/ 527037 w 713696"/>
                  <a:gd name="connsiteY31" fmla="*/ 904030 h 988211"/>
                  <a:gd name="connsiteX32" fmla="*/ 527037 w 713696"/>
                  <a:gd name="connsiteY32" fmla="*/ 904030 h 988211"/>
                  <a:gd name="connsiteX33" fmla="*/ 446517 w 713696"/>
                  <a:gd name="connsiteY33" fmla="*/ 973571 h 988211"/>
                  <a:gd name="connsiteX34" fmla="*/ 380638 w 713696"/>
                  <a:gd name="connsiteY34" fmla="*/ 988211 h 988211"/>
                  <a:gd name="connsiteX35" fmla="*/ 391617 w 713696"/>
                  <a:gd name="connsiteY35" fmla="*/ 925990 h 988211"/>
                  <a:gd name="connsiteX36" fmla="*/ 347698 w 713696"/>
                  <a:gd name="connsiteY36" fmla="*/ 904030 h 988211"/>
                  <a:gd name="connsiteX37" fmla="*/ 391617 w 713696"/>
                  <a:gd name="connsiteY37" fmla="*/ 834489 h 988211"/>
                  <a:gd name="connsiteX38" fmla="*/ 322078 w 713696"/>
                  <a:gd name="connsiteY38" fmla="*/ 819849 h 988211"/>
                  <a:gd name="connsiteX39" fmla="*/ 267178 w 713696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01424 w 722204"/>
                  <a:gd name="connsiteY24" fmla="*/ 559986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400125 w 722204"/>
                  <a:gd name="connsiteY37" fmla="*/ 834489 h 988211"/>
                  <a:gd name="connsiteX38" fmla="*/ 330586 w 722204"/>
                  <a:gd name="connsiteY38" fmla="*/ 819849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01424 w 722204"/>
                  <a:gd name="connsiteY24" fmla="*/ 559986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400125 w 722204"/>
                  <a:gd name="connsiteY37" fmla="*/ 834489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01424 w 722204"/>
                  <a:gd name="connsiteY24" fmla="*/ 559986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14416 w 722204"/>
                  <a:gd name="connsiteY24" fmla="*/ 572978 h 988211"/>
                  <a:gd name="connsiteX25" fmla="*/ 616064 w 722204"/>
                  <a:gd name="connsiteY25" fmla="*/ 611227 h 988211"/>
                  <a:gd name="connsiteX26" fmla="*/ 645344 w 722204"/>
                  <a:gd name="connsiteY26" fmla="*/ 600247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14416 w 722204"/>
                  <a:gd name="connsiteY24" fmla="*/ 572978 h 988211"/>
                  <a:gd name="connsiteX25" fmla="*/ 616064 w 722204"/>
                  <a:gd name="connsiteY25" fmla="*/ 611227 h 988211"/>
                  <a:gd name="connsiteX26" fmla="*/ 658337 w 722204"/>
                  <a:gd name="connsiteY26" fmla="*/ 632728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22204"/>
                  <a:gd name="connsiteY0" fmla="*/ 925990 h 988211"/>
                  <a:gd name="connsiteX1" fmla="*/ 198827 w 722204"/>
                  <a:gd name="connsiteY1" fmla="*/ 779589 h 988211"/>
                  <a:gd name="connsiteX2" fmla="*/ 143927 w 722204"/>
                  <a:gd name="connsiteY2" fmla="*/ 640507 h 988211"/>
                  <a:gd name="connsiteX3" fmla="*/ 143927 w 722204"/>
                  <a:gd name="connsiteY3" fmla="*/ 640507 h 988211"/>
                  <a:gd name="connsiteX4" fmla="*/ 125627 w 722204"/>
                  <a:gd name="connsiteY4" fmla="*/ 592927 h 988211"/>
                  <a:gd name="connsiteX5" fmla="*/ 48767 w 722204"/>
                  <a:gd name="connsiteY5" fmla="*/ 391624 h 988211"/>
                  <a:gd name="connsiteX6" fmla="*/ 8508 w 722204"/>
                  <a:gd name="connsiteY6" fmla="*/ 398945 h 988211"/>
                  <a:gd name="connsiteX7" fmla="*/ 0 w 722204"/>
                  <a:gd name="connsiteY7" fmla="*/ 318471 h 988211"/>
                  <a:gd name="connsiteX8" fmla="*/ 31704 w 722204"/>
                  <a:gd name="connsiteY8" fmla="*/ 272078 h 988211"/>
                  <a:gd name="connsiteX9" fmla="*/ 89851 w 722204"/>
                  <a:gd name="connsiteY9" fmla="*/ 206610 h 988211"/>
                  <a:gd name="connsiteX10" fmla="*/ 170783 w 722204"/>
                  <a:gd name="connsiteY10" fmla="*/ 206199 h 988211"/>
                  <a:gd name="connsiteX11" fmla="*/ 198827 w 722204"/>
                  <a:gd name="connsiteY11" fmla="*/ 102481 h 988211"/>
                  <a:gd name="connsiteX12" fmla="*/ 268366 w 722204"/>
                  <a:gd name="connsiteY12" fmla="*/ 58561 h 988211"/>
                  <a:gd name="connsiteX13" fmla="*/ 301306 w 722204"/>
                  <a:gd name="connsiteY13" fmla="*/ 0 h 988211"/>
                  <a:gd name="connsiteX14" fmla="*/ 341566 w 722204"/>
                  <a:gd name="connsiteY14" fmla="*/ 0 h 988211"/>
                  <a:gd name="connsiteX15" fmla="*/ 491625 w 722204"/>
                  <a:gd name="connsiteY15" fmla="*/ 164702 h 988211"/>
                  <a:gd name="connsiteX16" fmla="*/ 561165 w 722204"/>
                  <a:gd name="connsiteY16" fmla="*/ 307444 h 988211"/>
                  <a:gd name="connsiteX17" fmla="*/ 692924 w 722204"/>
                  <a:gd name="connsiteY17" fmla="*/ 391624 h 988211"/>
                  <a:gd name="connsiteX18" fmla="*/ 722204 w 722204"/>
                  <a:gd name="connsiteY18" fmla="*/ 439205 h 988211"/>
                  <a:gd name="connsiteX19" fmla="*/ 711224 w 722204"/>
                  <a:gd name="connsiteY19" fmla="*/ 475805 h 988211"/>
                  <a:gd name="connsiteX20" fmla="*/ 667304 w 722204"/>
                  <a:gd name="connsiteY20" fmla="*/ 424565 h 988211"/>
                  <a:gd name="connsiteX21" fmla="*/ 627044 w 722204"/>
                  <a:gd name="connsiteY21" fmla="*/ 490446 h 988211"/>
                  <a:gd name="connsiteX22" fmla="*/ 627044 w 722204"/>
                  <a:gd name="connsiteY22" fmla="*/ 490446 h 988211"/>
                  <a:gd name="connsiteX23" fmla="*/ 641684 w 722204"/>
                  <a:gd name="connsiteY23" fmla="*/ 545346 h 988211"/>
                  <a:gd name="connsiteX24" fmla="*/ 614416 w 722204"/>
                  <a:gd name="connsiteY24" fmla="*/ 572978 h 988211"/>
                  <a:gd name="connsiteX25" fmla="*/ 635552 w 722204"/>
                  <a:gd name="connsiteY25" fmla="*/ 598234 h 988211"/>
                  <a:gd name="connsiteX26" fmla="*/ 658337 w 722204"/>
                  <a:gd name="connsiteY26" fmla="*/ 632728 h 988211"/>
                  <a:gd name="connsiteX27" fmla="*/ 696584 w 722204"/>
                  <a:gd name="connsiteY27" fmla="*/ 728348 h 988211"/>
                  <a:gd name="connsiteX28" fmla="*/ 641684 w 722204"/>
                  <a:gd name="connsiteY28" fmla="*/ 746648 h 988211"/>
                  <a:gd name="connsiteX29" fmla="*/ 641684 w 722204"/>
                  <a:gd name="connsiteY29" fmla="*/ 808869 h 988211"/>
                  <a:gd name="connsiteX30" fmla="*/ 583124 w 722204"/>
                  <a:gd name="connsiteY30" fmla="*/ 827169 h 988211"/>
                  <a:gd name="connsiteX31" fmla="*/ 535545 w 722204"/>
                  <a:gd name="connsiteY31" fmla="*/ 904030 h 988211"/>
                  <a:gd name="connsiteX32" fmla="*/ 535545 w 722204"/>
                  <a:gd name="connsiteY32" fmla="*/ 904030 h 988211"/>
                  <a:gd name="connsiteX33" fmla="*/ 455025 w 722204"/>
                  <a:gd name="connsiteY33" fmla="*/ 973571 h 988211"/>
                  <a:gd name="connsiteX34" fmla="*/ 389146 w 722204"/>
                  <a:gd name="connsiteY34" fmla="*/ 988211 h 988211"/>
                  <a:gd name="connsiteX35" fmla="*/ 400125 w 722204"/>
                  <a:gd name="connsiteY35" fmla="*/ 925990 h 988211"/>
                  <a:gd name="connsiteX36" fmla="*/ 356206 w 722204"/>
                  <a:gd name="connsiteY36" fmla="*/ 904030 h 988211"/>
                  <a:gd name="connsiteX37" fmla="*/ 374140 w 722204"/>
                  <a:gd name="connsiteY37" fmla="*/ 847482 h 988211"/>
                  <a:gd name="connsiteX38" fmla="*/ 327338 w 722204"/>
                  <a:gd name="connsiteY38" fmla="*/ 849082 h 988211"/>
                  <a:gd name="connsiteX39" fmla="*/ 275686 w 722204"/>
                  <a:gd name="connsiteY39" fmla="*/ 925990 h 988211"/>
                  <a:gd name="connsiteX0" fmla="*/ 275686 w 735196"/>
                  <a:gd name="connsiteY0" fmla="*/ 925990 h 988211"/>
                  <a:gd name="connsiteX1" fmla="*/ 198827 w 735196"/>
                  <a:gd name="connsiteY1" fmla="*/ 779589 h 988211"/>
                  <a:gd name="connsiteX2" fmla="*/ 143927 w 735196"/>
                  <a:gd name="connsiteY2" fmla="*/ 640507 h 988211"/>
                  <a:gd name="connsiteX3" fmla="*/ 143927 w 735196"/>
                  <a:gd name="connsiteY3" fmla="*/ 640507 h 988211"/>
                  <a:gd name="connsiteX4" fmla="*/ 125627 w 735196"/>
                  <a:gd name="connsiteY4" fmla="*/ 592927 h 988211"/>
                  <a:gd name="connsiteX5" fmla="*/ 48767 w 735196"/>
                  <a:gd name="connsiteY5" fmla="*/ 391624 h 988211"/>
                  <a:gd name="connsiteX6" fmla="*/ 8508 w 735196"/>
                  <a:gd name="connsiteY6" fmla="*/ 398945 h 988211"/>
                  <a:gd name="connsiteX7" fmla="*/ 0 w 735196"/>
                  <a:gd name="connsiteY7" fmla="*/ 318471 h 988211"/>
                  <a:gd name="connsiteX8" fmla="*/ 31704 w 735196"/>
                  <a:gd name="connsiteY8" fmla="*/ 272078 h 988211"/>
                  <a:gd name="connsiteX9" fmla="*/ 89851 w 735196"/>
                  <a:gd name="connsiteY9" fmla="*/ 206610 h 988211"/>
                  <a:gd name="connsiteX10" fmla="*/ 170783 w 735196"/>
                  <a:gd name="connsiteY10" fmla="*/ 206199 h 988211"/>
                  <a:gd name="connsiteX11" fmla="*/ 198827 w 735196"/>
                  <a:gd name="connsiteY11" fmla="*/ 102481 h 988211"/>
                  <a:gd name="connsiteX12" fmla="*/ 268366 w 735196"/>
                  <a:gd name="connsiteY12" fmla="*/ 58561 h 988211"/>
                  <a:gd name="connsiteX13" fmla="*/ 301306 w 735196"/>
                  <a:gd name="connsiteY13" fmla="*/ 0 h 988211"/>
                  <a:gd name="connsiteX14" fmla="*/ 341566 w 735196"/>
                  <a:gd name="connsiteY14" fmla="*/ 0 h 988211"/>
                  <a:gd name="connsiteX15" fmla="*/ 491625 w 735196"/>
                  <a:gd name="connsiteY15" fmla="*/ 164702 h 988211"/>
                  <a:gd name="connsiteX16" fmla="*/ 561165 w 735196"/>
                  <a:gd name="connsiteY16" fmla="*/ 307444 h 988211"/>
                  <a:gd name="connsiteX17" fmla="*/ 692924 w 735196"/>
                  <a:gd name="connsiteY17" fmla="*/ 391624 h 988211"/>
                  <a:gd name="connsiteX18" fmla="*/ 735196 w 735196"/>
                  <a:gd name="connsiteY18" fmla="*/ 422964 h 988211"/>
                  <a:gd name="connsiteX19" fmla="*/ 711224 w 735196"/>
                  <a:gd name="connsiteY19" fmla="*/ 475805 h 988211"/>
                  <a:gd name="connsiteX20" fmla="*/ 667304 w 735196"/>
                  <a:gd name="connsiteY20" fmla="*/ 424565 h 988211"/>
                  <a:gd name="connsiteX21" fmla="*/ 627044 w 735196"/>
                  <a:gd name="connsiteY21" fmla="*/ 490446 h 988211"/>
                  <a:gd name="connsiteX22" fmla="*/ 627044 w 735196"/>
                  <a:gd name="connsiteY22" fmla="*/ 490446 h 988211"/>
                  <a:gd name="connsiteX23" fmla="*/ 641684 w 735196"/>
                  <a:gd name="connsiteY23" fmla="*/ 545346 h 988211"/>
                  <a:gd name="connsiteX24" fmla="*/ 614416 w 735196"/>
                  <a:gd name="connsiteY24" fmla="*/ 572978 h 988211"/>
                  <a:gd name="connsiteX25" fmla="*/ 635552 w 735196"/>
                  <a:gd name="connsiteY25" fmla="*/ 598234 h 988211"/>
                  <a:gd name="connsiteX26" fmla="*/ 658337 w 735196"/>
                  <a:gd name="connsiteY26" fmla="*/ 632728 h 988211"/>
                  <a:gd name="connsiteX27" fmla="*/ 696584 w 735196"/>
                  <a:gd name="connsiteY27" fmla="*/ 728348 h 988211"/>
                  <a:gd name="connsiteX28" fmla="*/ 641684 w 735196"/>
                  <a:gd name="connsiteY28" fmla="*/ 746648 h 988211"/>
                  <a:gd name="connsiteX29" fmla="*/ 641684 w 735196"/>
                  <a:gd name="connsiteY29" fmla="*/ 808869 h 988211"/>
                  <a:gd name="connsiteX30" fmla="*/ 583124 w 735196"/>
                  <a:gd name="connsiteY30" fmla="*/ 827169 h 988211"/>
                  <a:gd name="connsiteX31" fmla="*/ 535545 w 735196"/>
                  <a:gd name="connsiteY31" fmla="*/ 904030 h 988211"/>
                  <a:gd name="connsiteX32" fmla="*/ 535545 w 735196"/>
                  <a:gd name="connsiteY32" fmla="*/ 904030 h 988211"/>
                  <a:gd name="connsiteX33" fmla="*/ 455025 w 735196"/>
                  <a:gd name="connsiteY33" fmla="*/ 973571 h 988211"/>
                  <a:gd name="connsiteX34" fmla="*/ 389146 w 735196"/>
                  <a:gd name="connsiteY34" fmla="*/ 988211 h 988211"/>
                  <a:gd name="connsiteX35" fmla="*/ 400125 w 735196"/>
                  <a:gd name="connsiteY35" fmla="*/ 925990 h 988211"/>
                  <a:gd name="connsiteX36" fmla="*/ 356206 w 735196"/>
                  <a:gd name="connsiteY36" fmla="*/ 904030 h 988211"/>
                  <a:gd name="connsiteX37" fmla="*/ 374140 w 735196"/>
                  <a:gd name="connsiteY37" fmla="*/ 847482 h 988211"/>
                  <a:gd name="connsiteX38" fmla="*/ 327338 w 735196"/>
                  <a:gd name="connsiteY38" fmla="*/ 849082 h 988211"/>
                  <a:gd name="connsiteX39" fmla="*/ 275686 w 735196"/>
                  <a:gd name="connsiteY39" fmla="*/ 925990 h 988211"/>
                  <a:gd name="connsiteX0" fmla="*/ 275686 w 735196"/>
                  <a:gd name="connsiteY0" fmla="*/ 925990 h 988211"/>
                  <a:gd name="connsiteX1" fmla="*/ 198827 w 735196"/>
                  <a:gd name="connsiteY1" fmla="*/ 779589 h 988211"/>
                  <a:gd name="connsiteX2" fmla="*/ 143927 w 735196"/>
                  <a:gd name="connsiteY2" fmla="*/ 640507 h 988211"/>
                  <a:gd name="connsiteX3" fmla="*/ 143927 w 735196"/>
                  <a:gd name="connsiteY3" fmla="*/ 640507 h 988211"/>
                  <a:gd name="connsiteX4" fmla="*/ 125627 w 735196"/>
                  <a:gd name="connsiteY4" fmla="*/ 592927 h 988211"/>
                  <a:gd name="connsiteX5" fmla="*/ 48767 w 735196"/>
                  <a:gd name="connsiteY5" fmla="*/ 391624 h 988211"/>
                  <a:gd name="connsiteX6" fmla="*/ 8508 w 735196"/>
                  <a:gd name="connsiteY6" fmla="*/ 398945 h 988211"/>
                  <a:gd name="connsiteX7" fmla="*/ 0 w 735196"/>
                  <a:gd name="connsiteY7" fmla="*/ 318471 h 988211"/>
                  <a:gd name="connsiteX8" fmla="*/ 31704 w 735196"/>
                  <a:gd name="connsiteY8" fmla="*/ 272078 h 988211"/>
                  <a:gd name="connsiteX9" fmla="*/ 89851 w 735196"/>
                  <a:gd name="connsiteY9" fmla="*/ 206610 h 988211"/>
                  <a:gd name="connsiteX10" fmla="*/ 170783 w 735196"/>
                  <a:gd name="connsiteY10" fmla="*/ 206199 h 988211"/>
                  <a:gd name="connsiteX11" fmla="*/ 198827 w 735196"/>
                  <a:gd name="connsiteY11" fmla="*/ 102481 h 988211"/>
                  <a:gd name="connsiteX12" fmla="*/ 268366 w 735196"/>
                  <a:gd name="connsiteY12" fmla="*/ 58561 h 988211"/>
                  <a:gd name="connsiteX13" fmla="*/ 301306 w 735196"/>
                  <a:gd name="connsiteY13" fmla="*/ 0 h 988211"/>
                  <a:gd name="connsiteX14" fmla="*/ 341566 w 735196"/>
                  <a:gd name="connsiteY14" fmla="*/ 0 h 988211"/>
                  <a:gd name="connsiteX15" fmla="*/ 491625 w 735196"/>
                  <a:gd name="connsiteY15" fmla="*/ 164702 h 988211"/>
                  <a:gd name="connsiteX16" fmla="*/ 561165 w 735196"/>
                  <a:gd name="connsiteY16" fmla="*/ 307444 h 988211"/>
                  <a:gd name="connsiteX17" fmla="*/ 647451 w 735196"/>
                  <a:gd name="connsiteY17" fmla="*/ 339654 h 988211"/>
                  <a:gd name="connsiteX18" fmla="*/ 735196 w 735196"/>
                  <a:gd name="connsiteY18" fmla="*/ 422964 h 988211"/>
                  <a:gd name="connsiteX19" fmla="*/ 711224 w 735196"/>
                  <a:gd name="connsiteY19" fmla="*/ 475805 h 988211"/>
                  <a:gd name="connsiteX20" fmla="*/ 667304 w 735196"/>
                  <a:gd name="connsiteY20" fmla="*/ 424565 h 988211"/>
                  <a:gd name="connsiteX21" fmla="*/ 627044 w 735196"/>
                  <a:gd name="connsiteY21" fmla="*/ 490446 h 988211"/>
                  <a:gd name="connsiteX22" fmla="*/ 627044 w 735196"/>
                  <a:gd name="connsiteY22" fmla="*/ 490446 h 988211"/>
                  <a:gd name="connsiteX23" fmla="*/ 641684 w 735196"/>
                  <a:gd name="connsiteY23" fmla="*/ 545346 h 988211"/>
                  <a:gd name="connsiteX24" fmla="*/ 614416 w 735196"/>
                  <a:gd name="connsiteY24" fmla="*/ 572978 h 988211"/>
                  <a:gd name="connsiteX25" fmla="*/ 635552 w 735196"/>
                  <a:gd name="connsiteY25" fmla="*/ 598234 h 988211"/>
                  <a:gd name="connsiteX26" fmla="*/ 658337 w 735196"/>
                  <a:gd name="connsiteY26" fmla="*/ 632728 h 988211"/>
                  <a:gd name="connsiteX27" fmla="*/ 696584 w 735196"/>
                  <a:gd name="connsiteY27" fmla="*/ 728348 h 988211"/>
                  <a:gd name="connsiteX28" fmla="*/ 641684 w 735196"/>
                  <a:gd name="connsiteY28" fmla="*/ 746648 h 988211"/>
                  <a:gd name="connsiteX29" fmla="*/ 641684 w 735196"/>
                  <a:gd name="connsiteY29" fmla="*/ 808869 h 988211"/>
                  <a:gd name="connsiteX30" fmla="*/ 583124 w 735196"/>
                  <a:gd name="connsiteY30" fmla="*/ 827169 h 988211"/>
                  <a:gd name="connsiteX31" fmla="*/ 535545 w 735196"/>
                  <a:gd name="connsiteY31" fmla="*/ 904030 h 988211"/>
                  <a:gd name="connsiteX32" fmla="*/ 535545 w 735196"/>
                  <a:gd name="connsiteY32" fmla="*/ 904030 h 988211"/>
                  <a:gd name="connsiteX33" fmla="*/ 455025 w 735196"/>
                  <a:gd name="connsiteY33" fmla="*/ 973571 h 988211"/>
                  <a:gd name="connsiteX34" fmla="*/ 389146 w 735196"/>
                  <a:gd name="connsiteY34" fmla="*/ 988211 h 988211"/>
                  <a:gd name="connsiteX35" fmla="*/ 400125 w 735196"/>
                  <a:gd name="connsiteY35" fmla="*/ 925990 h 988211"/>
                  <a:gd name="connsiteX36" fmla="*/ 356206 w 735196"/>
                  <a:gd name="connsiteY36" fmla="*/ 904030 h 988211"/>
                  <a:gd name="connsiteX37" fmla="*/ 374140 w 735196"/>
                  <a:gd name="connsiteY37" fmla="*/ 847482 h 988211"/>
                  <a:gd name="connsiteX38" fmla="*/ 327338 w 735196"/>
                  <a:gd name="connsiteY38" fmla="*/ 849082 h 988211"/>
                  <a:gd name="connsiteX39" fmla="*/ 275686 w 735196"/>
                  <a:gd name="connsiteY39" fmla="*/ 925990 h 988211"/>
                  <a:gd name="connsiteX0" fmla="*/ 275686 w 735196"/>
                  <a:gd name="connsiteY0" fmla="*/ 925990 h 988211"/>
                  <a:gd name="connsiteX1" fmla="*/ 198827 w 735196"/>
                  <a:gd name="connsiteY1" fmla="*/ 779589 h 988211"/>
                  <a:gd name="connsiteX2" fmla="*/ 143927 w 735196"/>
                  <a:gd name="connsiteY2" fmla="*/ 640507 h 988211"/>
                  <a:gd name="connsiteX3" fmla="*/ 143927 w 735196"/>
                  <a:gd name="connsiteY3" fmla="*/ 640507 h 988211"/>
                  <a:gd name="connsiteX4" fmla="*/ 125627 w 735196"/>
                  <a:gd name="connsiteY4" fmla="*/ 592927 h 988211"/>
                  <a:gd name="connsiteX5" fmla="*/ 48767 w 735196"/>
                  <a:gd name="connsiteY5" fmla="*/ 391624 h 988211"/>
                  <a:gd name="connsiteX6" fmla="*/ 8508 w 735196"/>
                  <a:gd name="connsiteY6" fmla="*/ 398945 h 988211"/>
                  <a:gd name="connsiteX7" fmla="*/ 0 w 735196"/>
                  <a:gd name="connsiteY7" fmla="*/ 318471 h 988211"/>
                  <a:gd name="connsiteX8" fmla="*/ 31704 w 735196"/>
                  <a:gd name="connsiteY8" fmla="*/ 272078 h 988211"/>
                  <a:gd name="connsiteX9" fmla="*/ 89851 w 735196"/>
                  <a:gd name="connsiteY9" fmla="*/ 206610 h 988211"/>
                  <a:gd name="connsiteX10" fmla="*/ 170783 w 735196"/>
                  <a:gd name="connsiteY10" fmla="*/ 206199 h 988211"/>
                  <a:gd name="connsiteX11" fmla="*/ 198827 w 735196"/>
                  <a:gd name="connsiteY11" fmla="*/ 102481 h 988211"/>
                  <a:gd name="connsiteX12" fmla="*/ 268366 w 735196"/>
                  <a:gd name="connsiteY12" fmla="*/ 58561 h 988211"/>
                  <a:gd name="connsiteX13" fmla="*/ 301306 w 735196"/>
                  <a:gd name="connsiteY13" fmla="*/ 0 h 988211"/>
                  <a:gd name="connsiteX14" fmla="*/ 341566 w 735196"/>
                  <a:gd name="connsiteY14" fmla="*/ 0 h 988211"/>
                  <a:gd name="connsiteX15" fmla="*/ 491625 w 735196"/>
                  <a:gd name="connsiteY15" fmla="*/ 164702 h 988211"/>
                  <a:gd name="connsiteX16" fmla="*/ 561165 w 735196"/>
                  <a:gd name="connsiteY16" fmla="*/ 307444 h 988211"/>
                  <a:gd name="connsiteX17" fmla="*/ 634459 w 735196"/>
                  <a:gd name="connsiteY17" fmla="*/ 359142 h 988211"/>
                  <a:gd name="connsiteX18" fmla="*/ 735196 w 735196"/>
                  <a:gd name="connsiteY18" fmla="*/ 422964 h 988211"/>
                  <a:gd name="connsiteX19" fmla="*/ 711224 w 735196"/>
                  <a:gd name="connsiteY19" fmla="*/ 475805 h 988211"/>
                  <a:gd name="connsiteX20" fmla="*/ 667304 w 735196"/>
                  <a:gd name="connsiteY20" fmla="*/ 424565 h 988211"/>
                  <a:gd name="connsiteX21" fmla="*/ 627044 w 735196"/>
                  <a:gd name="connsiteY21" fmla="*/ 490446 h 988211"/>
                  <a:gd name="connsiteX22" fmla="*/ 627044 w 735196"/>
                  <a:gd name="connsiteY22" fmla="*/ 490446 h 988211"/>
                  <a:gd name="connsiteX23" fmla="*/ 641684 w 735196"/>
                  <a:gd name="connsiteY23" fmla="*/ 545346 h 988211"/>
                  <a:gd name="connsiteX24" fmla="*/ 614416 w 735196"/>
                  <a:gd name="connsiteY24" fmla="*/ 572978 h 988211"/>
                  <a:gd name="connsiteX25" fmla="*/ 635552 w 735196"/>
                  <a:gd name="connsiteY25" fmla="*/ 598234 h 988211"/>
                  <a:gd name="connsiteX26" fmla="*/ 658337 w 735196"/>
                  <a:gd name="connsiteY26" fmla="*/ 632728 h 988211"/>
                  <a:gd name="connsiteX27" fmla="*/ 696584 w 735196"/>
                  <a:gd name="connsiteY27" fmla="*/ 728348 h 988211"/>
                  <a:gd name="connsiteX28" fmla="*/ 641684 w 735196"/>
                  <a:gd name="connsiteY28" fmla="*/ 746648 h 988211"/>
                  <a:gd name="connsiteX29" fmla="*/ 641684 w 735196"/>
                  <a:gd name="connsiteY29" fmla="*/ 808869 h 988211"/>
                  <a:gd name="connsiteX30" fmla="*/ 583124 w 735196"/>
                  <a:gd name="connsiteY30" fmla="*/ 827169 h 988211"/>
                  <a:gd name="connsiteX31" fmla="*/ 535545 w 735196"/>
                  <a:gd name="connsiteY31" fmla="*/ 904030 h 988211"/>
                  <a:gd name="connsiteX32" fmla="*/ 535545 w 735196"/>
                  <a:gd name="connsiteY32" fmla="*/ 904030 h 988211"/>
                  <a:gd name="connsiteX33" fmla="*/ 455025 w 735196"/>
                  <a:gd name="connsiteY33" fmla="*/ 973571 h 988211"/>
                  <a:gd name="connsiteX34" fmla="*/ 389146 w 735196"/>
                  <a:gd name="connsiteY34" fmla="*/ 988211 h 988211"/>
                  <a:gd name="connsiteX35" fmla="*/ 400125 w 735196"/>
                  <a:gd name="connsiteY35" fmla="*/ 925990 h 988211"/>
                  <a:gd name="connsiteX36" fmla="*/ 356206 w 735196"/>
                  <a:gd name="connsiteY36" fmla="*/ 904030 h 988211"/>
                  <a:gd name="connsiteX37" fmla="*/ 374140 w 735196"/>
                  <a:gd name="connsiteY37" fmla="*/ 847482 h 988211"/>
                  <a:gd name="connsiteX38" fmla="*/ 327338 w 735196"/>
                  <a:gd name="connsiteY38" fmla="*/ 849082 h 988211"/>
                  <a:gd name="connsiteX39" fmla="*/ 275686 w 735196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491625 w 725452"/>
                  <a:gd name="connsiteY15" fmla="*/ 164702 h 988211"/>
                  <a:gd name="connsiteX16" fmla="*/ 561165 w 725452"/>
                  <a:gd name="connsiteY16" fmla="*/ 307444 h 988211"/>
                  <a:gd name="connsiteX17" fmla="*/ 634459 w 725452"/>
                  <a:gd name="connsiteY17" fmla="*/ 359142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491625 w 725452"/>
                  <a:gd name="connsiteY15" fmla="*/ 164702 h 988211"/>
                  <a:gd name="connsiteX16" fmla="*/ 561165 w 725452"/>
                  <a:gd name="connsiteY16" fmla="*/ 307444 h 988211"/>
                  <a:gd name="connsiteX17" fmla="*/ 637707 w 725452"/>
                  <a:gd name="connsiteY17" fmla="*/ 346149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491625 w 725452"/>
                  <a:gd name="connsiteY15" fmla="*/ 164702 h 988211"/>
                  <a:gd name="connsiteX16" fmla="*/ 570909 w 725452"/>
                  <a:gd name="connsiteY16" fmla="*/ 294451 h 988211"/>
                  <a:gd name="connsiteX17" fmla="*/ 637707 w 725452"/>
                  <a:gd name="connsiteY17" fmla="*/ 346149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25990 h 988211"/>
                  <a:gd name="connsiteX1" fmla="*/ 198827 w 725452"/>
                  <a:gd name="connsiteY1" fmla="*/ 779589 h 988211"/>
                  <a:gd name="connsiteX2" fmla="*/ 143927 w 725452"/>
                  <a:gd name="connsiteY2" fmla="*/ 640507 h 988211"/>
                  <a:gd name="connsiteX3" fmla="*/ 143927 w 725452"/>
                  <a:gd name="connsiteY3" fmla="*/ 640507 h 988211"/>
                  <a:gd name="connsiteX4" fmla="*/ 125627 w 725452"/>
                  <a:gd name="connsiteY4" fmla="*/ 592927 h 988211"/>
                  <a:gd name="connsiteX5" fmla="*/ 48767 w 725452"/>
                  <a:gd name="connsiteY5" fmla="*/ 391624 h 988211"/>
                  <a:gd name="connsiteX6" fmla="*/ 8508 w 725452"/>
                  <a:gd name="connsiteY6" fmla="*/ 398945 h 988211"/>
                  <a:gd name="connsiteX7" fmla="*/ 0 w 725452"/>
                  <a:gd name="connsiteY7" fmla="*/ 318471 h 988211"/>
                  <a:gd name="connsiteX8" fmla="*/ 31704 w 725452"/>
                  <a:gd name="connsiteY8" fmla="*/ 272078 h 988211"/>
                  <a:gd name="connsiteX9" fmla="*/ 89851 w 725452"/>
                  <a:gd name="connsiteY9" fmla="*/ 206610 h 988211"/>
                  <a:gd name="connsiteX10" fmla="*/ 170783 w 725452"/>
                  <a:gd name="connsiteY10" fmla="*/ 206199 h 988211"/>
                  <a:gd name="connsiteX11" fmla="*/ 198827 w 725452"/>
                  <a:gd name="connsiteY11" fmla="*/ 102481 h 988211"/>
                  <a:gd name="connsiteX12" fmla="*/ 268366 w 725452"/>
                  <a:gd name="connsiteY12" fmla="*/ 58561 h 988211"/>
                  <a:gd name="connsiteX13" fmla="*/ 301306 w 725452"/>
                  <a:gd name="connsiteY13" fmla="*/ 0 h 988211"/>
                  <a:gd name="connsiteX14" fmla="*/ 341566 w 725452"/>
                  <a:gd name="connsiteY14" fmla="*/ 0 h 988211"/>
                  <a:gd name="connsiteX15" fmla="*/ 501369 w 725452"/>
                  <a:gd name="connsiteY15" fmla="*/ 164702 h 988211"/>
                  <a:gd name="connsiteX16" fmla="*/ 570909 w 725452"/>
                  <a:gd name="connsiteY16" fmla="*/ 294451 h 988211"/>
                  <a:gd name="connsiteX17" fmla="*/ 637707 w 725452"/>
                  <a:gd name="connsiteY17" fmla="*/ 346149 h 988211"/>
                  <a:gd name="connsiteX18" fmla="*/ 725452 w 725452"/>
                  <a:gd name="connsiteY18" fmla="*/ 426212 h 988211"/>
                  <a:gd name="connsiteX19" fmla="*/ 711224 w 725452"/>
                  <a:gd name="connsiteY19" fmla="*/ 475805 h 988211"/>
                  <a:gd name="connsiteX20" fmla="*/ 667304 w 725452"/>
                  <a:gd name="connsiteY20" fmla="*/ 424565 h 988211"/>
                  <a:gd name="connsiteX21" fmla="*/ 627044 w 725452"/>
                  <a:gd name="connsiteY21" fmla="*/ 490446 h 988211"/>
                  <a:gd name="connsiteX22" fmla="*/ 627044 w 725452"/>
                  <a:gd name="connsiteY22" fmla="*/ 490446 h 988211"/>
                  <a:gd name="connsiteX23" fmla="*/ 641684 w 725452"/>
                  <a:gd name="connsiteY23" fmla="*/ 545346 h 988211"/>
                  <a:gd name="connsiteX24" fmla="*/ 614416 w 725452"/>
                  <a:gd name="connsiteY24" fmla="*/ 572978 h 988211"/>
                  <a:gd name="connsiteX25" fmla="*/ 635552 w 725452"/>
                  <a:gd name="connsiteY25" fmla="*/ 598234 h 988211"/>
                  <a:gd name="connsiteX26" fmla="*/ 658337 w 725452"/>
                  <a:gd name="connsiteY26" fmla="*/ 632728 h 988211"/>
                  <a:gd name="connsiteX27" fmla="*/ 696584 w 725452"/>
                  <a:gd name="connsiteY27" fmla="*/ 728348 h 988211"/>
                  <a:gd name="connsiteX28" fmla="*/ 641684 w 725452"/>
                  <a:gd name="connsiteY28" fmla="*/ 746648 h 988211"/>
                  <a:gd name="connsiteX29" fmla="*/ 641684 w 725452"/>
                  <a:gd name="connsiteY29" fmla="*/ 808869 h 988211"/>
                  <a:gd name="connsiteX30" fmla="*/ 583124 w 725452"/>
                  <a:gd name="connsiteY30" fmla="*/ 827169 h 988211"/>
                  <a:gd name="connsiteX31" fmla="*/ 535545 w 725452"/>
                  <a:gd name="connsiteY31" fmla="*/ 904030 h 988211"/>
                  <a:gd name="connsiteX32" fmla="*/ 535545 w 725452"/>
                  <a:gd name="connsiteY32" fmla="*/ 904030 h 988211"/>
                  <a:gd name="connsiteX33" fmla="*/ 455025 w 725452"/>
                  <a:gd name="connsiteY33" fmla="*/ 973571 h 988211"/>
                  <a:gd name="connsiteX34" fmla="*/ 389146 w 725452"/>
                  <a:gd name="connsiteY34" fmla="*/ 988211 h 988211"/>
                  <a:gd name="connsiteX35" fmla="*/ 400125 w 725452"/>
                  <a:gd name="connsiteY35" fmla="*/ 925990 h 988211"/>
                  <a:gd name="connsiteX36" fmla="*/ 356206 w 725452"/>
                  <a:gd name="connsiteY36" fmla="*/ 904030 h 988211"/>
                  <a:gd name="connsiteX37" fmla="*/ 374140 w 725452"/>
                  <a:gd name="connsiteY37" fmla="*/ 847482 h 988211"/>
                  <a:gd name="connsiteX38" fmla="*/ 327338 w 725452"/>
                  <a:gd name="connsiteY38" fmla="*/ 849082 h 988211"/>
                  <a:gd name="connsiteX39" fmla="*/ 275686 w 725452"/>
                  <a:gd name="connsiteY39" fmla="*/ 925990 h 988211"/>
                  <a:gd name="connsiteX0" fmla="*/ 275686 w 725452"/>
                  <a:gd name="connsiteY0" fmla="*/ 932486 h 994707"/>
                  <a:gd name="connsiteX1" fmla="*/ 198827 w 725452"/>
                  <a:gd name="connsiteY1" fmla="*/ 786085 h 994707"/>
                  <a:gd name="connsiteX2" fmla="*/ 143927 w 725452"/>
                  <a:gd name="connsiteY2" fmla="*/ 647003 h 994707"/>
                  <a:gd name="connsiteX3" fmla="*/ 143927 w 725452"/>
                  <a:gd name="connsiteY3" fmla="*/ 647003 h 994707"/>
                  <a:gd name="connsiteX4" fmla="*/ 125627 w 725452"/>
                  <a:gd name="connsiteY4" fmla="*/ 599423 h 994707"/>
                  <a:gd name="connsiteX5" fmla="*/ 48767 w 725452"/>
                  <a:gd name="connsiteY5" fmla="*/ 398120 h 994707"/>
                  <a:gd name="connsiteX6" fmla="*/ 8508 w 725452"/>
                  <a:gd name="connsiteY6" fmla="*/ 405441 h 994707"/>
                  <a:gd name="connsiteX7" fmla="*/ 0 w 725452"/>
                  <a:gd name="connsiteY7" fmla="*/ 324967 h 994707"/>
                  <a:gd name="connsiteX8" fmla="*/ 31704 w 725452"/>
                  <a:gd name="connsiteY8" fmla="*/ 278574 h 994707"/>
                  <a:gd name="connsiteX9" fmla="*/ 89851 w 725452"/>
                  <a:gd name="connsiteY9" fmla="*/ 213106 h 994707"/>
                  <a:gd name="connsiteX10" fmla="*/ 170783 w 725452"/>
                  <a:gd name="connsiteY10" fmla="*/ 212695 h 994707"/>
                  <a:gd name="connsiteX11" fmla="*/ 198827 w 725452"/>
                  <a:gd name="connsiteY11" fmla="*/ 108977 h 994707"/>
                  <a:gd name="connsiteX12" fmla="*/ 268366 w 725452"/>
                  <a:gd name="connsiteY12" fmla="*/ 65057 h 994707"/>
                  <a:gd name="connsiteX13" fmla="*/ 301306 w 725452"/>
                  <a:gd name="connsiteY13" fmla="*/ 6496 h 994707"/>
                  <a:gd name="connsiteX14" fmla="*/ 357806 w 725452"/>
                  <a:gd name="connsiteY14" fmla="*/ 0 h 994707"/>
                  <a:gd name="connsiteX15" fmla="*/ 501369 w 725452"/>
                  <a:gd name="connsiteY15" fmla="*/ 171198 h 994707"/>
                  <a:gd name="connsiteX16" fmla="*/ 570909 w 725452"/>
                  <a:gd name="connsiteY16" fmla="*/ 300947 h 994707"/>
                  <a:gd name="connsiteX17" fmla="*/ 637707 w 725452"/>
                  <a:gd name="connsiteY17" fmla="*/ 352645 h 994707"/>
                  <a:gd name="connsiteX18" fmla="*/ 725452 w 725452"/>
                  <a:gd name="connsiteY18" fmla="*/ 432708 h 994707"/>
                  <a:gd name="connsiteX19" fmla="*/ 711224 w 725452"/>
                  <a:gd name="connsiteY19" fmla="*/ 482301 h 994707"/>
                  <a:gd name="connsiteX20" fmla="*/ 667304 w 725452"/>
                  <a:gd name="connsiteY20" fmla="*/ 431061 h 994707"/>
                  <a:gd name="connsiteX21" fmla="*/ 627044 w 725452"/>
                  <a:gd name="connsiteY21" fmla="*/ 496942 h 994707"/>
                  <a:gd name="connsiteX22" fmla="*/ 627044 w 725452"/>
                  <a:gd name="connsiteY22" fmla="*/ 496942 h 994707"/>
                  <a:gd name="connsiteX23" fmla="*/ 641684 w 725452"/>
                  <a:gd name="connsiteY23" fmla="*/ 551842 h 994707"/>
                  <a:gd name="connsiteX24" fmla="*/ 614416 w 725452"/>
                  <a:gd name="connsiteY24" fmla="*/ 579474 h 994707"/>
                  <a:gd name="connsiteX25" fmla="*/ 635552 w 725452"/>
                  <a:gd name="connsiteY25" fmla="*/ 604730 h 994707"/>
                  <a:gd name="connsiteX26" fmla="*/ 658337 w 725452"/>
                  <a:gd name="connsiteY26" fmla="*/ 639224 h 994707"/>
                  <a:gd name="connsiteX27" fmla="*/ 696584 w 725452"/>
                  <a:gd name="connsiteY27" fmla="*/ 734844 h 994707"/>
                  <a:gd name="connsiteX28" fmla="*/ 641684 w 725452"/>
                  <a:gd name="connsiteY28" fmla="*/ 753144 h 994707"/>
                  <a:gd name="connsiteX29" fmla="*/ 641684 w 725452"/>
                  <a:gd name="connsiteY29" fmla="*/ 815365 h 994707"/>
                  <a:gd name="connsiteX30" fmla="*/ 583124 w 725452"/>
                  <a:gd name="connsiteY30" fmla="*/ 833665 h 994707"/>
                  <a:gd name="connsiteX31" fmla="*/ 535545 w 725452"/>
                  <a:gd name="connsiteY31" fmla="*/ 910526 h 994707"/>
                  <a:gd name="connsiteX32" fmla="*/ 535545 w 725452"/>
                  <a:gd name="connsiteY32" fmla="*/ 910526 h 994707"/>
                  <a:gd name="connsiteX33" fmla="*/ 455025 w 725452"/>
                  <a:gd name="connsiteY33" fmla="*/ 980067 h 994707"/>
                  <a:gd name="connsiteX34" fmla="*/ 389146 w 725452"/>
                  <a:gd name="connsiteY34" fmla="*/ 994707 h 994707"/>
                  <a:gd name="connsiteX35" fmla="*/ 400125 w 725452"/>
                  <a:gd name="connsiteY35" fmla="*/ 932486 h 994707"/>
                  <a:gd name="connsiteX36" fmla="*/ 356206 w 725452"/>
                  <a:gd name="connsiteY36" fmla="*/ 910526 h 994707"/>
                  <a:gd name="connsiteX37" fmla="*/ 374140 w 725452"/>
                  <a:gd name="connsiteY37" fmla="*/ 853978 h 994707"/>
                  <a:gd name="connsiteX38" fmla="*/ 327338 w 725452"/>
                  <a:gd name="connsiteY38" fmla="*/ 855578 h 994707"/>
                  <a:gd name="connsiteX39" fmla="*/ 275686 w 725452"/>
                  <a:gd name="connsiteY39" fmla="*/ 932486 h 994707"/>
                  <a:gd name="connsiteX0" fmla="*/ 275686 w 725452"/>
                  <a:gd name="connsiteY0" fmla="*/ 942230 h 1004451"/>
                  <a:gd name="connsiteX1" fmla="*/ 198827 w 725452"/>
                  <a:gd name="connsiteY1" fmla="*/ 795829 h 1004451"/>
                  <a:gd name="connsiteX2" fmla="*/ 143927 w 725452"/>
                  <a:gd name="connsiteY2" fmla="*/ 656747 h 1004451"/>
                  <a:gd name="connsiteX3" fmla="*/ 143927 w 725452"/>
                  <a:gd name="connsiteY3" fmla="*/ 656747 h 1004451"/>
                  <a:gd name="connsiteX4" fmla="*/ 125627 w 725452"/>
                  <a:gd name="connsiteY4" fmla="*/ 609167 h 1004451"/>
                  <a:gd name="connsiteX5" fmla="*/ 48767 w 725452"/>
                  <a:gd name="connsiteY5" fmla="*/ 407864 h 1004451"/>
                  <a:gd name="connsiteX6" fmla="*/ 8508 w 725452"/>
                  <a:gd name="connsiteY6" fmla="*/ 415185 h 1004451"/>
                  <a:gd name="connsiteX7" fmla="*/ 0 w 725452"/>
                  <a:gd name="connsiteY7" fmla="*/ 334711 h 1004451"/>
                  <a:gd name="connsiteX8" fmla="*/ 31704 w 725452"/>
                  <a:gd name="connsiteY8" fmla="*/ 288318 h 1004451"/>
                  <a:gd name="connsiteX9" fmla="*/ 89851 w 725452"/>
                  <a:gd name="connsiteY9" fmla="*/ 222850 h 1004451"/>
                  <a:gd name="connsiteX10" fmla="*/ 170783 w 725452"/>
                  <a:gd name="connsiteY10" fmla="*/ 222439 h 1004451"/>
                  <a:gd name="connsiteX11" fmla="*/ 198827 w 725452"/>
                  <a:gd name="connsiteY11" fmla="*/ 118721 h 1004451"/>
                  <a:gd name="connsiteX12" fmla="*/ 268366 w 725452"/>
                  <a:gd name="connsiteY12" fmla="*/ 74801 h 1004451"/>
                  <a:gd name="connsiteX13" fmla="*/ 288314 w 725452"/>
                  <a:gd name="connsiteY13" fmla="*/ 0 h 1004451"/>
                  <a:gd name="connsiteX14" fmla="*/ 357806 w 725452"/>
                  <a:gd name="connsiteY14" fmla="*/ 9744 h 1004451"/>
                  <a:gd name="connsiteX15" fmla="*/ 501369 w 725452"/>
                  <a:gd name="connsiteY15" fmla="*/ 180942 h 1004451"/>
                  <a:gd name="connsiteX16" fmla="*/ 570909 w 725452"/>
                  <a:gd name="connsiteY16" fmla="*/ 310691 h 1004451"/>
                  <a:gd name="connsiteX17" fmla="*/ 637707 w 725452"/>
                  <a:gd name="connsiteY17" fmla="*/ 362389 h 1004451"/>
                  <a:gd name="connsiteX18" fmla="*/ 725452 w 725452"/>
                  <a:gd name="connsiteY18" fmla="*/ 442452 h 1004451"/>
                  <a:gd name="connsiteX19" fmla="*/ 711224 w 725452"/>
                  <a:gd name="connsiteY19" fmla="*/ 492045 h 1004451"/>
                  <a:gd name="connsiteX20" fmla="*/ 667304 w 725452"/>
                  <a:gd name="connsiteY20" fmla="*/ 440805 h 1004451"/>
                  <a:gd name="connsiteX21" fmla="*/ 627044 w 725452"/>
                  <a:gd name="connsiteY21" fmla="*/ 506686 h 1004451"/>
                  <a:gd name="connsiteX22" fmla="*/ 627044 w 725452"/>
                  <a:gd name="connsiteY22" fmla="*/ 506686 h 1004451"/>
                  <a:gd name="connsiteX23" fmla="*/ 641684 w 725452"/>
                  <a:gd name="connsiteY23" fmla="*/ 561586 h 1004451"/>
                  <a:gd name="connsiteX24" fmla="*/ 614416 w 725452"/>
                  <a:gd name="connsiteY24" fmla="*/ 589218 h 1004451"/>
                  <a:gd name="connsiteX25" fmla="*/ 635552 w 725452"/>
                  <a:gd name="connsiteY25" fmla="*/ 614474 h 1004451"/>
                  <a:gd name="connsiteX26" fmla="*/ 658337 w 725452"/>
                  <a:gd name="connsiteY26" fmla="*/ 648968 h 1004451"/>
                  <a:gd name="connsiteX27" fmla="*/ 696584 w 725452"/>
                  <a:gd name="connsiteY27" fmla="*/ 744588 h 1004451"/>
                  <a:gd name="connsiteX28" fmla="*/ 641684 w 725452"/>
                  <a:gd name="connsiteY28" fmla="*/ 762888 h 1004451"/>
                  <a:gd name="connsiteX29" fmla="*/ 641684 w 725452"/>
                  <a:gd name="connsiteY29" fmla="*/ 825109 h 1004451"/>
                  <a:gd name="connsiteX30" fmla="*/ 583124 w 725452"/>
                  <a:gd name="connsiteY30" fmla="*/ 843409 h 1004451"/>
                  <a:gd name="connsiteX31" fmla="*/ 535545 w 725452"/>
                  <a:gd name="connsiteY31" fmla="*/ 920270 h 1004451"/>
                  <a:gd name="connsiteX32" fmla="*/ 535545 w 725452"/>
                  <a:gd name="connsiteY32" fmla="*/ 920270 h 1004451"/>
                  <a:gd name="connsiteX33" fmla="*/ 455025 w 725452"/>
                  <a:gd name="connsiteY33" fmla="*/ 989811 h 1004451"/>
                  <a:gd name="connsiteX34" fmla="*/ 389146 w 725452"/>
                  <a:gd name="connsiteY34" fmla="*/ 1004451 h 1004451"/>
                  <a:gd name="connsiteX35" fmla="*/ 400125 w 725452"/>
                  <a:gd name="connsiteY35" fmla="*/ 942230 h 1004451"/>
                  <a:gd name="connsiteX36" fmla="*/ 356206 w 725452"/>
                  <a:gd name="connsiteY36" fmla="*/ 920270 h 1004451"/>
                  <a:gd name="connsiteX37" fmla="*/ 374140 w 725452"/>
                  <a:gd name="connsiteY37" fmla="*/ 863722 h 1004451"/>
                  <a:gd name="connsiteX38" fmla="*/ 327338 w 725452"/>
                  <a:gd name="connsiteY38" fmla="*/ 865322 h 1004451"/>
                  <a:gd name="connsiteX39" fmla="*/ 275686 w 725452"/>
                  <a:gd name="connsiteY39" fmla="*/ 942230 h 1004451"/>
                  <a:gd name="connsiteX0" fmla="*/ 275686 w 725452"/>
                  <a:gd name="connsiteY0" fmla="*/ 942230 h 1004451"/>
                  <a:gd name="connsiteX1" fmla="*/ 198827 w 725452"/>
                  <a:gd name="connsiteY1" fmla="*/ 795829 h 1004451"/>
                  <a:gd name="connsiteX2" fmla="*/ 143927 w 725452"/>
                  <a:gd name="connsiteY2" fmla="*/ 656747 h 1004451"/>
                  <a:gd name="connsiteX3" fmla="*/ 143927 w 725452"/>
                  <a:gd name="connsiteY3" fmla="*/ 656747 h 1004451"/>
                  <a:gd name="connsiteX4" fmla="*/ 125627 w 725452"/>
                  <a:gd name="connsiteY4" fmla="*/ 609167 h 1004451"/>
                  <a:gd name="connsiteX5" fmla="*/ 48767 w 725452"/>
                  <a:gd name="connsiteY5" fmla="*/ 407864 h 1004451"/>
                  <a:gd name="connsiteX6" fmla="*/ 8508 w 725452"/>
                  <a:gd name="connsiteY6" fmla="*/ 415185 h 1004451"/>
                  <a:gd name="connsiteX7" fmla="*/ 0 w 725452"/>
                  <a:gd name="connsiteY7" fmla="*/ 334711 h 1004451"/>
                  <a:gd name="connsiteX8" fmla="*/ 31704 w 725452"/>
                  <a:gd name="connsiteY8" fmla="*/ 288318 h 1004451"/>
                  <a:gd name="connsiteX9" fmla="*/ 89851 w 725452"/>
                  <a:gd name="connsiteY9" fmla="*/ 222850 h 1004451"/>
                  <a:gd name="connsiteX10" fmla="*/ 170783 w 725452"/>
                  <a:gd name="connsiteY10" fmla="*/ 222439 h 1004451"/>
                  <a:gd name="connsiteX11" fmla="*/ 198827 w 725452"/>
                  <a:gd name="connsiteY11" fmla="*/ 118721 h 1004451"/>
                  <a:gd name="connsiteX12" fmla="*/ 268366 w 725452"/>
                  <a:gd name="connsiteY12" fmla="*/ 58561 h 1004451"/>
                  <a:gd name="connsiteX13" fmla="*/ 288314 w 725452"/>
                  <a:gd name="connsiteY13" fmla="*/ 0 h 1004451"/>
                  <a:gd name="connsiteX14" fmla="*/ 357806 w 725452"/>
                  <a:gd name="connsiteY14" fmla="*/ 9744 h 1004451"/>
                  <a:gd name="connsiteX15" fmla="*/ 501369 w 725452"/>
                  <a:gd name="connsiteY15" fmla="*/ 180942 h 1004451"/>
                  <a:gd name="connsiteX16" fmla="*/ 570909 w 725452"/>
                  <a:gd name="connsiteY16" fmla="*/ 310691 h 1004451"/>
                  <a:gd name="connsiteX17" fmla="*/ 637707 w 725452"/>
                  <a:gd name="connsiteY17" fmla="*/ 362389 h 1004451"/>
                  <a:gd name="connsiteX18" fmla="*/ 725452 w 725452"/>
                  <a:gd name="connsiteY18" fmla="*/ 442452 h 1004451"/>
                  <a:gd name="connsiteX19" fmla="*/ 711224 w 725452"/>
                  <a:gd name="connsiteY19" fmla="*/ 492045 h 1004451"/>
                  <a:gd name="connsiteX20" fmla="*/ 667304 w 725452"/>
                  <a:gd name="connsiteY20" fmla="*/ 440805 h 1004451"/>
                  <a:gd name="connsiteX21" fmla="*/ 627044 w 725452"/>
                  <a:gd name="connsiteY21" fmla="*/ 506686 h 1004451"/>
                  <a:gd name="connsiteX22" fmla="*/ 627044 w 725452"/>
                  <a:gd name="connsiteY22" fmla="*/ 506686 h 1004451"/>
                  <a:gd name="connsiteX23" fmla="*/ 641684 w 725452"/>
                  <a:gd name="connsiteY23" fmla="*/ 561586 h 1004451"/>
                  <a:gd name="connsiteX24" fmla="*/ 614416 w 725452"/>
                  <a:gd name="connsiteY24" fmla="*/ 589218 h 1004451"/>
                  <a:gd name="connsiteX25" fmla="*/ 635552 w 725452"/>
                  <a:gd name="connsiteY25" fmla="*/ 614474 h 1004451"/>
                  <a:gd name="connsiteX26" fmla="*/ 658337 w 725452"/>
                  <a:gd name="connsiteY26" fmla="*/ 648968 h 1004451"/>
                  <a:gd name="connsiteX27" fmla="*/ 696584 w 725452"/>
                  <a:gd name="connsiteY27" fmla="*/ 744588 h 1004451"/>
                  <a:gd name="connsiteX28" fmla="*/ 641684 w 725452"/>
                  <a:gd name="connsiteY28" fmla="*/ 762888 h 1004451"/>
                  <a:gd name="connsiteX29" fmla="*/ 641684 w 725452"/>
                  <a:gd name="connsiteY29" fmla="*/ 825109 h 1004451"/>
                  <a:gd name="connsiteX30" fmla="*/ 583124 w 725452"/>
                  <a:gd name="connsiteY30" fmla="*/ 843409 h 1004451"/>
                  <a:gd name="connsiteX31" fmla="*/ 535545 w 725452"/>
                  <a:gd name="connsiteY31" fmla="*/ 920270 h 1004451"/>
                  <a:gd name="connsiteX32" fmla="*/ 535545 w 725452"/>
                  <a:gd name="connsiteY32" fmla="*/ 920270 h 1004451"/>
                  <a:gd name="connsiteX33" fmla="*/ 455025 w 725452"/>
                  <a:gd name="connsiteY33" fmla="*/ 989811 h 1004451"/>
                  <a:gd name="connsiteX34" fmla="*/ 389146 w 725452"/>
                  <a:gd name="connsiteY34" fmla="*/ 1004451 h 1004451"/>
                  <a:gd name="connsiteX35" fmla="*/ 400125 w 725452"/>
                  <a:gd name="connsiteY35" fmla="*/ 942230 h 1004451"/>
                  <a:gd name="connsiteX36" fmla="*/ 356206 w 725452"/>
                  <a:gd name="connsiteY36" fmla="*/ 920270 h 1004451"/>
                  <a:gd name="connsiteX37" fmla="*/ 374140 w 725452"/>
                  <a:gd name="connsiteY37" fmla="*/ 863722 h 1004451"/>
                  <a:gd name="connsiteX38" fmla="*/ 327338 w 725452"/>
                  <a:gd name="connsiteY38" fmla="*/ 865322 h 1004451"/>
                  <a:gd name="connsiteX39" fmla="*/ 275686 w 725452"/>
                  <a:gd name="connsiteY39" fmla="*/ 942230 h 1004451"/>
                  <a:gd name="connsiteX0" fmla="*/ 275686 w 725452"/>
                  <a:gd name="connsiteY0" fmla="*/ 942230 h 1004451"/>
                  <a:gd name="connsiteX1" fmla="*/ 198827 w 725452"/>
                  <a:gd name="connsiteY1" fmla="*/ 795829 h 1004451"/>
                  <a:gd name="connsiteX2" fmla="*/ 143927 w 725452"/>
                  <a:gd name="connsiteY2" fmla="*/ 656747 h 1004451"/>
                  <a:gd name="connsiteX3" fmla="*/ 143927 w 725452"/>
                  <a:gd name="connsiteY3" fmla="*/ 656747 h 1004451"/>
                  <a:gd name="connsiteX4" fmla="*/ 125627 w 725452"/>
                  <a:gd name="connsiteY4" fmla="*/ 609167 h 1004451"/>
                  <a:gd name="connsiteX5" fmla="*/ 48767 w 725452"/>
                  <a:gd name="connsiteY5" fmla="*/ 407864 h 1004451"/>
                  <a:gd name="connsiteX6" fmla="*/ 8508 w 725452"/>
                  <a:gd name="connsiteY6" fmla="*/ 415185 h 1004451"/>
                  <a:gd name="connsiteX7" fmla="*/ 0 w 725452"/>
                  <a:gd name="connsiteY7" fmla="*/ 334711 h 1004451"/>
                  <a:gd name="connsiteX8" fmla="*/ 31704 w 725452"/>
                  <a:gd name="connsiteY8" fmla="*/ 288318 h 1004451"/>
                  <a:gd name="connsiteX9" fmla="*/ 89851 w 725452"/>
                  <a:gd name="connsiteY9" fmla="*/ 222850 h 1004451"/>
                  <a:gd name="connsiteX10" fmla="*/ 170783 w 725452"/>
                  <a:gd name="connsiteY10" fmla="*/ 222439 h 1004451"/>
                  <a:gd name="connsiteX11" fmla="*/ 195579 w 725452"/>
                  <a:gd name="connsiteY11" fmla="*/ 92736 h 1004451"/>
                  <a:gd name="connsiteX12" fmla="*/ 268366 w 725452"/>
                  <a:gd name="connsiteY12" fmla="*/ 58561 h 1004451"/>
                  <a:gd name="connsiteX13" fmla="*/ 288314 w 725452"/>
                  <a:gd name="connsiteY13" fmla="*/ 0 h 1004451"/>
                  <a:gd name="connsiteX14" fmla="*/ 357806 w 725452"/>
                  <a:gd name="connsiteY14" fmla="*/ 9744 h 1004451"/>
                  <a:gd name="connsiteX15" fmla="*/ 501369 w 725452"/>
                  <a:gd name="connsiteY15" fmla="*/ 180942 h 1004451"/>
                  <a:gd name="connsiteX16" fmla="*/ 570909 w 725452"/>
                  <a:gd name="connsiteY16" fmla="*/ 310691 h 1004451"/>
                  <a:gd name="connsiteX17" fmla="*/ 637707 w 725452"/>
                  <a:gd name="connsiteY17" fmla="*/ 362389 h 1004451"/>
                  <a:gd name="connsiteX18" fmla="*/ 725452 w 725452"/>
                  <a:gd name="connsiteY18" fmla="*/ 442452 h 1004451"/>
                  <a:gd name="connsiteX19" fmla="*/ 711224 w 725452"/>
                  <a:gd name="connsiteY19" fmla="*/ 492045 h 1004451"/>
                  <a:gd name="connsiteX20" fmla="*/ 667304 w 725452"/>
                  <a:gd name="connsiteY20" fmla="*/ 440805 h 1004451"/>
                  <a:gd name="connsiteX21" fmla="*/ 627044 w 725452"/>
                  <a:gd name="connsiteY21" fmla="*/ 506686 h 1004451"/>
                  <a:gd name="connsiteX22" fmla="*/ 627044 w 725452"/>
                  <a:gd name="connsiteY22" fmla="*/ 506686 h 1004451"/>
                  <a:gd name="connsiteX23" fmla="*/ 641684 w 725452"/>
                  <a:gd name="connsiteY23" fmla="*/ 561586 h 1004451"/>
                  <a:gd name="connsiteX24" fmla="*/ 614416 w 725452"/>
                  <a:gd name="connsiteY24" fmla="*/ 589218 h 1004451"/>
                  <a:gd name="connsiteX25" fmla="*/ 635552 w 725452"/>
                  <a:gd name="connsiteY25" fmla="*/ 614474 h 1004451"/>
                  <a:gd name="connsiteX26" fmla="*/ 658337 w 725452"/>
                  <a:gd name="connsiteY26" fmla="*/ 648968 h 1004451"/>
                  <a:gd name="connsiteX27" fmla="*/ 696584 w 725452"/>
                  <a:gd name="connsiteY27" fmla="*/ 744588 h 1004451"/>
                  <a:gd name="connsiteX28" fmla="*/ 641684 w 725452"/>
                  <a:gd name="connsiteY28" fmla="*/ 762888 h 1004451"/>
                  <a:gd name="connsiteX29" fmla="*/ 641684 w 725452"/>
                  <a:gd name="connsiteY29" fmla="*/ 825109 h 1004451"/>
                  <a:gd name="connsiteX30" fmla="*/ 583124 w 725452"/>
                  <a:gd name="connsiteY30" fmla="*/ 843409 h 1004451"/>
                  <a:gd name="connsiteX31" fmla="*/ 535545 w 725452"/>
                  <a:gd name="connsiteY31" fmla="*/ 920270 h 1004451"/>
                  <a:gd name="connsiteX32" fmla="*/ 535545 w 725452"/>
                  <a:gd name="connsiteY32" fmla="*/ 920270 h 1004451"/>
                  <a:gd name="connsiteX33" fmla="*/ 455025 w 725452"/>
                  <a:gd name="connsiteY33" fmla="*/ 989811 h 1004451"/>
                  <a:gd name="connsiteX34" fmla="*/ 389146 w 725452"/>
                  <a:gd name="connsiteY34" fmla="*/ 1004451 h 1004451"/>
                  <a:gd name="connsiteX35" fmla="*/ 400125 w 725452"/>
                  <a:gd name="connsiteY35" fmla="*/ 942230 h 1004451"/>
                  <a:gd name="connsiteX36" fmla="*/ 356206 w 725452"/>
                  <a:gd name="connsiteY36" fmla="*/ 920270 h 1004451"/>
                  <a:gd name="connsiteX37" fmla="*/ 374140 w 725452"/>
                  <a:gd name="connsiteY37" fmla="*/ 863722 h 1004451"/>
                  <a:gd name="connsiteX38" fmla="*/ 327338 w 725452"/>
                  <a:gd name="connsiteY38" fmla="*/ 865322 h 1004451"/>
                  <a:gd name="connsiteX39" fmla="*/ 275686 w 725452"/>
                  <a:gd name="connsiteY39" fmla="*/ 942230 h 1004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725452" h="1004451">
                    <a:moveTo>
                      <a:pt x="275686" y="942230"/>
                    </a:moveTo>
                    <a:lnTo>
                      <a:pt x="198827" y="795829"/>
                    </a:lnTo>
                    <a:lnTo>
                      <a:pt x="143927" y="656747"/>
                    </a:lnTo>
                    <a:lnTo>
                      <a:pt x="143927" y="656747"/>
                    </a:lnTo>
                    <a:lnTo>
                      <a:pt x="125627" y="609167"/>
                    </a:lnTo>
                    <a:lnTo>
                      <a:pt x="48767" y="407864"/>
                    </a:lnTo>
                    <a:lnTo>
                      <a:pt x="8508" y="415185"/>
                    </a:lnTo>
                    <a:lnTo>
                      <a:pt x="0" y="334711"/>
                    </a:lnTo>
                    <a:lnTo>
                      <a:pt x="31704" y="288318"/>
                    </a:lnTo>
                    <a:lnTo>
                      <a:pt x="89851" y="222850"/>
                    </a:lnTo>
                    <a:lnTo>
                      <a:pt x="170783" y="222439"/>
                    </a:lnTo>
                    <a:lnTo>
                      <a:pt x="195579" y="92736"/>
                    </a:lnTo>
                    <a:lnTo>
                      <a:pt x="268366" y="58561"/>
                    </a:lnTo>
                    <a:lnTo>
                      <a:pt x="288314" y="0"/>
                    </a:lnTo>
                    <a:lnTo>
                      <a:pt x="357806" y="9744"/>
                    </a:lnTo>
                    <a:lnTo>
                      <a:pt x="501369" y="180942"/>
                    </a:lnTo>
                    <a:lnTo>
                      <a:pt x="570909" y="310691"/>
                    </a:lnTo>
                    <a:lnTo>
                      <a:pt x="637707" y="362389"/>
                    </a:lnTo>
                    <a:lnTo>
                      <a:pt x="725452" y="442452"/>
                    </a:lnTo>
                    <a:lnTo>
                      <a:pt x="711224" y="492045"/>
                    </a:lnTo>
                    <a:lnTo>
                      <a:pt x="667304" y="440805"/>
                    </a:lnTo>
                    <a:lnTo>
                      <a:pt x="627044" y="506686"/>
                    </a:lnTo>
                    <a:lnTo>
                      <a:pt x="627044" y="506686"/>
                    </a:lnTo>
                    <a:lnTo>
                      <a:pt x="641684" y="561586"/>
                    </a:lnTo>
                    <a:lnTo>
                      <a:pt x="614416" y="589218"/>
                    </a:lnTo>
                    <a:cubicBezTo>
                      <a:pt x="614965" y="601968"/>
                      <a:pt x="635003" y="601724"/>
                      <a:pt x="635552" y="614474"/>
                    </a:cubicBezTo>
                    <a:lnTo>
                      <a:pt x="658337" y="648968"/>
                    </a:lnTo>
                    <a:lnTo>
                      <a:pt x="696584" y="744588"/>
                    </a:lnTo>
                    <a:lnTo>
                      <a:pt x="641684" y="762888"/>
                    </a:lnTo>
                    <a:lnTo>
                      <a:pt x="641684" y="825109"/>
                    </a:lnTo>
                    <a:lnTo>
                      <a:pt x="583124" y="843409"/>
                    </a:lnTo>
                    <a:lnTo>
                      <a:pt x="535545" y="920270"/>
                    </a:lnTo>
                    <a:lnTo>
                      <a:pt x="535545" y="920270"/>
                    </a:lnTo>
                    <a:lnTo>
                      <a:pt x="455025" y="989811"/>
                    </a:lnTo>
                    <a:lnTo>
                      <a:pt x="389146" y="1004451"/>
                    </a:lnTo>
                    <a:lnTo>
                      <a:pt x="400125" y="942230"/>
                    </a:lnTo>
                    <a:lnTo>
                      <a:pt x="356206" y="920270"/>
                    </a:lnTo>
                    <a:lnTo>
                      <a:pt x="374140" y="863722"/>
                    </a:lnTo>
                    <a:lnTo>
                      <a:pt x="327338" y="865322"/>
                    </a:lnTo>
                    <a:lnTo>
                      <a:pt x="275686" y="94223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3" name="Forma libre 13"/>
              <p:cNvSpPr/>
              <p:nvPr/>
            </p:nvSpPr>
            <p:spPr>
              <a:xfrm>
                <a:off x="1048247" y="6289036"/>
                <a:ext cx="154932" cy="127826"/>
              </a:xfrm>
              <a:custGeom>
                <a:avLst/>
                <a:gdLst>
                  <a:gd name="connsiteX0" fmla="*/ 1013814 w 1035774"/>
                  <a:gd name="connsiteY0" fmla="*/ 91501 h 808869"/>
                  <a:gd name="connsiteX1" fmla="*/ 1035774 w 1035774"/>
                  <a:gd name="connsiteY1" fmla="*/ 168362 h 808869"/>
                  <a:gd name="connsiteX2" fmla="*/ 973554 w 1035774"/>
                  <a:gd name="connsiteY2" fmla="*/ 234242 h 808869"/>
                  <a:gd name="connsiteX3" fmla="*/ 973554 w 1035774"/>
                  <a:gd name="connsiteY3" fmla="*/ 300123 h 808869"/>
                  <a:gd name="connsiteX4" fmla="*/ 1006494 w 1035774"/>
                  <a:gd name="connsiteY4" fmla="*/ 362344 h 808869"/>
                  <a:gd name="connsiteX5" fmla="*/ 969894 w 1035774"/>
                  <a:gd name="connsiteY5" fmla="*/ 424565 h 808869"/>
                  <a:gd name="connsiteX6" fmla="*/ 936954 w 1035774"/>
                  <a:gd name="connsiteY6" fmla="*/ 442865 h 808869"/>
                  <a:gd name="connsiteX7" fmla="*/ 925975 w 1035774"/>
                  <a:gd name="connsiteY7" fmla="*/ 530706 h 808869"/>
                  <a:gd name="connsiteX8" fmla="*/ 889375 w 1035774"/>
                  <a:gd name="connsiteY8" fmla="*/ 530706 h 808869"/>
                  <a:gd name="connsiteX9" fmla="*/ 849115 w 1035774"/>
                  <a:gd name="connsiteY9" fmla="*/ 559986 h 808869"/>
                  <a:gd name="connsiteX10" fmla="*/ 761275 w 1035774"/>
                  <a:gd name="connsiteY10" fmla="*/ 567306 h 808869"/>
                  <a:gd name="connsiteX11" fmla="*/ 735656 w 1035774"/>
                  <a:gd name="connsiteY11" fmla="*/ 538026 h 808869"/>
                  <a:gd name="connsiteX12" fmla="*/ 721016 w 1035774"/>
                  <a:gd name="connsiteY12" fmla="*/ 581946 h 808869"/>
                  <a:gd name="connsiteX13" fmla="*/ 658796 w 1035774"/>
                  <a:gd name="connsiteY13" fmla="*/ 629527 h 808869"/>
                  <a:gd name="connsiteX14" fmla="*/ 625856 w 1035774"/>
                  <a:gd name="connsiteY14" fmla="*/ 607567 h 808869"/>
                  <a:gd name="connsiteX15" fmla="*/ 589256 w 1035774"/>
                  <a:gd name="connsiteY15" fmla="*/ 655147 h 808869"/>
                  <a:gd name="connsiteX16" fmla="*/ 589256 w 1035774"/>
                  <a:gd name="connsiteY16" fmla="*/ 724688 h 808869"/>
                  <a:gd name="connsiteX17" fmla="*/ 527037 w 1035774"/>
                  <a:gd name="connsiteY17" fmla="*/ 739328 h 808869"/>
                  <a:gd name="connsiteX18" fmla="*/ 486777 w 1035774"/>
                  <a:gd name="connsiteY18" fmla="*/ 775928 h 808869"/>
                  <a:gd name="connsiteX19" fmla="*/ 486777 w 1035774"/>
                  <a:gd name="connsiteY19" fmla="*/ 808869 h 808869"/>
                  <a:gd name="connsiteX20" fmla="*/ 380638 w 1035774"/>
                  <a:gd name="connsiteY20" fmla="*/ 783248 h 808869"/>
                  <a:gd name="connsiteX21" fmla="*/ 344038 w 1035774"/>
                  <a:gd name="connsiteY21" fmla="*/ 786908 h 808869"/>
                  <a:gd name="connsiteX22" fmla="*/ 344038 w 1035774"/>
                  <a:gd name="connsiteY22" fmla="*/ 742988 h 808869"/>
                  <a:gd name="connsiteX23" fmla="*/ 274498 w 1035774"/>
                  <a:gd name="connsiteY23" fmla="*/ 750308 h 808869"/>
                  <a:gd name="connsiteX24" fmla="*/ 252538 w 1035774"/>
                  <a:gd name="connsiteY24" fmla="*/ 783248 h 808869"/>
                  <a:gd name="connsiteX25" fmla="*/ 197639 w 1035774"/>
                  <a:gd name="connsiteY25" fmla="*/ 794229 h 808869"/>
                  <a:gd name="connsiteX26" fmla="*/ 146399 w 1035774"/>
                  <a:gd name="connsiteY26" fmla="*/ 746648 h 808869"/>
                  <a:gd name="connsiteX27" fmla="*/ 161039 w 1035774"/>
                  <a:gd name="connsiteY27" fmla="*/ 684427 h 808869"/>
                  <a:gd name="connsiteX28" fmla="*/ 208619 w 1035774"/>
                  <a:gd name="connsiteY28" fmla="*/ 666127 h 808869"/>
                  <a:gd name="connsiteX29" fmla="*/ 131759 w 1035774"/>
                  <a:gd name="connsiteY29" fmla="*/ 508745 h 808869"/>
                  <a:gd name="connsiteX30" fmla="*/ 131759 w 1035774"/>
                  <a:gd name="connsiteY30" fmla="*/ 508745 h 808869"/>
                  <a:gd name="connsiteX31" fmla="*/ 153719 w 1035774"/>
                  <a:gd name="connsiteY31" fmla="*/ 472145 h 808869"/>
                  <a:gd name="connsiteX32" fmla="*/ 124439 w 1035774"/>
                  <a:gd name="connsiteY32" fmla="*/ 420904 h 808869"/>
                  <a:gd name="connsiteX33" fmla="*/ 168359 w 1035774"/>
                  <a:gd name="connsiteY33" fmla="*/ 387964 h 808869"/>
                  <a:gd name="connsiteX34" fmla="*/ 208619 w 1035774"/>
                  <a:gd name="connsiteY34" fmla="*/ 435545 h 808869"/>
                  <a:gd name="connsiteX35" fmla="*/ 234238 w 1035774"/>
                  <a:gd name="connsiteY35" fmla="*/ 355024 h 808869"/>
                  <a:gd name="connsiteX36" fmla="*/ 150059 w 1035774"/>
                  <a:gd name="connsiteY36" fmla="*/ 278163 h 808869"/>
                  <a:gd name="connsiteX37" fmla="*/ 65879 w 1035774"/>
                  <a:gd name="connsiteY37" fmla="*/ 226922 h 808869"/>
                  <a:gd name="connsiteX38" fmla="*/ 0 w 1035774"/>
                  <a:gd name="connsiteY38" fmla="*/ 84181 h 808869"/>
                  <a:gd name="connsiteX39" fmla="*/ 47580 w 1035774"/>
                  <a:gd name="connsiteY39" fmla="*/ 65881 h 808869"/>
                  <a:gd name="connsiteX40" fmla="*/ 76859 w 1035774"/>
                  <a:gd name="connsiteY40" fmla="*/ 109801 h 808869"/>
                  <a:gd name="connsiteX41" fmla="*/ 256198 w 1035774"/>
                  <a:gd name="connsiteY41" fmla="*/ 87841 h 808869"/>
                  <a:gd name="connsiteX42" fmla="*/ 307438 w 1035774"/>
                  <a:gd name="connsiteY42" fmla="*/ 131761 h 808869"/>
                  <a:gd name="connsiteX43" fmla="*/ 325738 w 1035774"/>
                  <a:gd name="connsiteY43" fmla="*/ 65881 h 808869"/>
                  <a:gd name="connsiteX44" fmla="*/ 325738 w 1035774"/>
                  <a:gd name="connsiteY44" fmla="*/ 65881 h 808869"/>
                  <a:gd name="connsiteX45" fmla="*/ 325738 w 1035774"/>
                  <a:gd name="connsiteY45" fmla="*/ 65881 h 808869"/>
                  <a:gd name="connsiteX46" fmla="*/ 358678 w 1035774"/>
                  <a:gd name="connsiteY46" fmla="*/ 51240 h 808869"/>
                  <a:gd name="connsiteX47" fmla="*/ 380638 w 1035774"/>
                  <a:gd name="connsiteY47" fmla="*/ 208622 h 808869"/>
                  <a:gd name="connsiteX48" fmla="*/ 446517 w 1035774"/>
                  <a:gd name="connsiteY48" fmla="*/ 157382 h 808869"/>
                  <a:gd name="connsiteX49" fmla="*/ 472137 w 1035774"/>
                  <a:gd name="connsiteY49" fmla="*/ 7320 h 808869"/>
                  <a:gd name="connsiteX50" fmla="*/ 512397 w 1035774"/>
                  <a:gd name="connsiteY50" fmla="*/ 0 h 808869"/>
                  <a:gd name="connsiteX51" fmla="*/ 486777 w 1035774"/>
                  <a:gd name="connsiteY51" fmla="*/ 179342 h 808869"/>
                  <a:gd name="connsiteX52" fmla="*/ 589256 w 1035774"/>
                  <a:gd name="connsiteY52" fmla="*/ 398944 h 808869"/>
                  <a:gd name="connsiteX53" fmla="*/ 677096 w 1035774"/>
                  <a:gd name="connsiteY53" fmla="*/ 402604 h 808869"/>
                  <a:gd name="connsiteX54" fmla="*/ 786895 w 1035774"/>
                  <a:gd name="connsiteY54" fmla="*/ 351364 h 808869"/>
                  <a:gd name="connsiteX55" fmla="*/ 761275 w 1035774"/>
                  <a:gd name="connsiteY55" fmla="*/ 307443 h 808869"/>
                  <a:gd name="connsiteX56" fmla="*/ 801535 w 1035774"/>
                  <a:gd name="connsiteY56" fmla="*/ 274503 h 808869"/>
                  <a:gd name="connsiteX57" fmla="*/ 801535 w 1035774"/>
                  <a:gd name="connsiteY57" fmla="*/ 230582 h 808869"/>
                  <a:gd name="connsiteX58" fmla="*/ 838135 w 1035774"/>
                  <a:gd name="connsiteY58" fmla="*/ 212282 h 808869"/>
                  <a:gd name="connsiteX59" fmla="*/ 863755 w 1035774"/>
                  <a:gd name="connsiteY59" fmla="*/ 245223 h 808869"/>
                  <a:gd name="connsiteX60" fmla="*/ 863755 w 1035774"/>
                  <a:gd name="connsiteY60" fmla="*/ 245223 h 808869"/>
                  <a:gd name="connsiteX61" fmla="*/ 882055 w 1035774"/>
                  <a:gd name="connsiteY61" fmla="*/ 204962 h 808869"/>
                  <a:gd name="connsiteX62" fmla="*/ 914995 w 1035774"/>
                  <a:gd name="connsiteY62" fmla="*/ 131761 h 808869"/>
                  <a:gd name="connsiteX63" fmla="*/ 1013814 w 1035774"/>
                  <a:gd name="connsiteY63" fmla="*/ 91501 h 808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1035774" h="808869">
                    <a:moveTo>
                      <a:pt x="1013814" y="91501"/>
                    </a:moveTo>
                    <a:lnTo>
                      <a:pt x="1035774" y="168362"/>
                    </a:lnTo>
                    <a:lnTo>
                      <a:pt x="973554" y="234242"/>
                    </a:lnTo>
                    <a:lnTo>
                      <a:pt x="973554" y="300123"/>
                    </a:lnTo>
                    <a:lnTo>
                      <a:pt x="1006494" y="362344"/>
                    </a:lnTo>
                    <a:lnTo>
                      <a:pt x="969894" y="424565"/>
                    </a:lnTo>
                    <a:lnTo>
                      <a:pt x="936954" y="442865"/>
                    </a:lnTo>
                    <a:lnTo>
                      <a:pt x="925975" y="530706"/>
                    </a:lnTo>
                    <a:lnTo>
                      <a:pt x="889375" y="530706"/>
                    </a:lnTo>
                    <a:lnTo>
                      <a:pt x="849115" y="559986"/>
                    </a:lnTo>
                    <a:lnTo>
                      <a:pt x="761275" y="567306"/>
                    </a:lnTo>
                    <a:lnTo>
                      <a:pt x="735656" y="538026"/>
                    </a:lnTo>
                    <a:lnTo>
                      <a:pt x="721016" y="581946"/>
                    </a:lnTo>
                    <a:lnTo>
                      <a:pt x="658796" y="629527"/>
                    </a:lnTo>
                    <a:lnTo>
                      <a:pt x="625856" y="607567"/>
                    </a:lnTo>
                    <a:lnTo>
                      <a:pt x="589256" y="655147"/>
                    </a:lnTo>
                    <a:lnTo>
                      <a:pt x="589256" y="724688"/>
                    </a:lnTo>
                    <a:lnTo>
                      <a:pt x="527037" y="739328"/>
                    </a:lnTo>
                    <a:lnTo>
                      <a:pt x="486777" y="775928"/>
                    </a:lnTo>
                    <a:lnTo>
                      <a:pt x="486777" y="808869"/>
                    </a:lnTo>
                    <a:lnTo>
                      <a:pt x="380638" y="783248"/>
                    </a:lnTo>
                    <a:lnTo>
                      <a:pt x="344038" y="786908"/>
                    </a:lnTo>
                    <a:lnTo>
                      <a:pt x="344038" y="742988"/>
                    </a:lnTo>
                    <a:lnTo>
                      <a:pt x="274498" y="750308"/>
                    </a:lnTo>
                    <a:lnTo>
                      <a:pt x="252538" y="783248"/>
                    </a:lnTo>
                    <a:lnTo>
                      <a:pt x="197639" y="794229"/>
                    </a:lnTo>
                    <a:lnTo>
                      <a:pt x="146399" y="746648"/>
                    </a:lnTo>
                    <a:lnTo>
                      <a:pt x="161039" y="684427"/>
                    </a:lnTo>
                    <a:lnTo>
                      <a:pt x="208619" y="666127"/>
                    </a:lnTo>
                    <a:lnTo>
                      <a:pt x="131759" y="508745"/>
                    </a:lnTo>
                    <a:lnTo>
                      <a:pt x="131759" y="508745"/>
                    </a:lnTo>
                    <a:lnTo>
                      <a:pt x="153719" y="472145"/>
                    </a:lnTo>
                    <a:lnTo>
                      <a:pt x="124439" y="420904"/>
                    </a:lnTo>
                    <a:lnTo>
                      <a:pt x="168359" y="387964"/>
                    </a:lnTo>
                    <a:lnTo>
                      <a:pt x="208619" y="435545"/>
                    </a:lnTo>
                    <a:lnTo>
                      <a:pt x="234238" y="355024"/>
                    </a:lnTo>
                    <a:lnTo>
                      <a:pt x="150059" y="278163"/>
                    </a:lnTo>
                    <a:lnTo>
                      <a:pt x="65879" y="226922"/>
                    </a:lnTo>
                    <a:lnTo>
                      <a:pt x="0" y="84181"/>
                    </a:lnTo>
                    <a:lnTo>
                      <a:pt x="47580" y="65881"/>
                    </a:lnTo>
                    <a:lnTo>
                      <a:pt x="76859" y="109801"/>
                    </a:lnTo>
                    <a:lnTo>
                      <a:pt x="256198" y="87841"/>
                    </a:lnTo>
                    <a:lnTo>
                      <a:pt x="307438" y="131761"/>
                    </a:lnTo>
                    <a:lnTo>
                      <a:pt x="325738" y="65881"/>
                    </a:lnTo>
                    <a:lnTo>
                      <a:pt x="325738" y="65881"/>
                    </a:lnTo>
                    <a:lnTo>
                      <a:pt x="325738" y="65881"/>
                    </a:lnTo>
                    <a:lnTo>
                      <a:pt x="358678" y="51240"/>
                    </a:lnTo>
                    <a:lnTo>
                      <a:pt x="380638" y="208622"/>
                    </a:lnTo>
                    <a:lnTo>
                      <a:pt x="446517" y="157382"/>
                    </a:lnTo>
                    <a:lnTo>
                      <a:pt x="472137" y="7320"/>
                    </a:lnTo>
                    <a:lnTo>
                      <a:pt x="512397" y="0"/>
                    </a:lnTo>
                    <a:lnTo>
                      <a:pt x="486777" y="179342"/>
                    </a:lnTo>
                    <a:lnTo>
                      <a:pt x="589256" y="398944"/>
                    </a:lnTo>
                    <a:lnTo>
                      <a:pt x="677096" y="402604"/>
                    </a:lnTo>
                    <a:lnTo>
                      <a:pt x="786895" y="351364"/>
                    </a:lnTo>
                    <a:lnTo>
                      <a:pt x="761275" y="307443"/>
                    </a:lnTo>
                    <a:lnTo>
                      <a:pt x="801535" y="274503"/>
                    </a:lnTo>
                    <a:lnTo>
                      <a:pt x="801535" y="230582"/>
                    </a:lnTo>
                    <a:lnTo>
                      <a:pt x="838135" y="212282"/>
                    </a:lnTo>
                    <a:lnTo>
                      <a:pt x="863755" y="245223"/>
                    </a:lnTo>
                    <a:lnTo>
                      <a:pt x="863755" y="245223"/>
                    </a:lnTo>
                    <a:lnTo>
                      <a:pt x="882055" y="204962"/>
                    </a:lnTo>
                    <a:lnTo>
                      <a:pt x="914995" y="131761"/>
                    </a:lnTo>
                    <a:lnTo>
                      <a:pt x="1013814" y="91501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4" name="Forma libre 14"/>
              <p:cNvSpPr/>
              <p:nvPr/>
            </p:nvSpPr>
            <p:spPr>
              <a:xfrm>
                <a:off x="1122702" y="6229461"/>
                <a:ext cx="304937" cy="243506"/>
              </a:xfrm>
              <a:custGeom>
                <a:avLst/>
                <a:gdLst>
                  <a:gd name="connsiteX0" fmla="*/ 552657 w 2038608"/>
                  <a:gd name="connsiteY0" fmla="*/ 0 h 1540877"/>
                  <a:gd name="connsiteX1" fmla="*/ 761276 w 2038608"/>
                  <a:gd name="connsiteY1" fmla="*/ 120781 h 1540877"/>
                  <a:gd name="connsiteX2" fmla="*/ 845455 w 2038608"/>
                  <a:gd name="connsiteY2" fmla="*/ 175682 h 1540877"/>
                  <a:gd name="connsiteX3" fmla="*/ 845455 w 2038608"/>
                  <a:gd name="connsiteY3" fmla="*/ 175682 h 1540877"/>
                  <a:gd name="connsiteX4" fmla="*/ 819835 w 2038608"/>
                  <a:gd name="connsiteY4" fmla="*/ 230582 h 1540877"/>
                  <a:gd name="connsiteX5" fmla="*/ 882055 w 2038608"/>
                  <a:gd name="connsiteY5" fmla="*/ 289143 h 1540877"/>
                  <a:gd name="connsiteX6" fmla="*/ 889375 w 2038608"/>
                  <a:gd name="connsiteY6" fmla="*/ 340383 h 1540877"/>
                  <a:gd name="connsiteX7" fmla="*/ 911335 w 2038608"/>
                  <a:gd name="connsiteY7" fmla="*/ 376984 h 1540877"/>
                  <a:gd name="connsiteX8" fmla="*/ 911335 w 2038608"/>
                  <a:gd name="connsiteY8" fmla="*/ 376984 h 1540877"/>
                  <a:gd name="connsiteX9" fmla="*/ 988194 w 2038608"/>
                  <a:gd name="connsiteY9" fmla="*/ 450185 h 1540877"/>
                  <a:gd name="connsiteX10" fmla="*/ 977214 w 2038608"/>
                  <a:gd name="connsiteY10" fmla="*/ 501425 h 1540877"/>
                  <a:gd name="connsiteX11" fmla="*/ 1046754 w 2038608"/>
                  <a:gd name="connsiteY11" fmla="*/ 538026 h 1540877"/>
                  <a:gd name="connsiteX12" fmla="*/ 1134593 w 2038608"/>
                  <a:gd name="connsiteY12" fmla="*/ 655147 h 1540877"/>
                  <a:gd name="connsiteX13" fmla="*/ 1119954 w 2038608"/>
                  <a:gd name="connsiteY13" fmla="*/ 710048 h 1540877"/>
                  <a:gd name="connsiteX14" fmla="*/ 1028454 w 2038608"/>
                  <a:gd name="connsiteY14" fmla="*/ 790568 h 1540877"/>
                  <a:gd name="connsiteX15" fmla="*/ 1237073 w 2038608"/>
                  <a:gd name="connsiteY15" fmla="*/ 794228 h 1540877"/>
                  <a:gd name="connsiteX16" fmla="*/ 1354192 w 2038608"/>
                  <a:gd name="connsiteY16" fmla="*/ 830829 h 1540877"/>
                  <a:gd name="connsiteX17" fmla="*/ 1405432 w 2038608"/>
                  <a:gd name="connsiteY17" fmla="*/ 918670 h 1540877"/>
                  <a:gd name="connsiteX18" fmla="*/ 1420072 w 2038608"/>
                  <a:gd name="connsiteY18" fmla="*/ 1006511 h 1540877"/>
                  <a:gd name="connsiteX19" fmla="*/ 1716530 w 2038608"/>
                  <a:gd name="connsiteY19" fmla="*/ 1010171 h 1540877"/>
                  <a:gd name="connsiteX20" fmla="*/ 1804370 w 2038608"/>
                  <a:gd name="connsiteY20" fmla="*/ 955270 h 1540877"/>
                  <a:gd name="connsiteX21" fmla="*/ 1917829 w 2038608"/>
                  <a:gd name="connsiteY21" fmla="*/ 871089 h 1540877"/>
                  <a:gd name="connsiteX22" fmla="*/ 2038608 w 2038608"/>
                  <a:gd name="connsiteY22" fmla="*/ 790568 h 1540877"/>
                  <a:gd name="connsiteX23" fmla="*/ 2012988 w 2038608"/>
                  <a:gd name="connsiteY23" fmla="*/ 867429 h 1540877"/>
                  <a:gd name="connsiteX24" fmla="*/ 2038608 w 2038608"/>
                  <a:gd name="connsiteY24" fmla="*/ 904030 h 1540877"/>
                  <a:gd name="connsiteX25" fmla="*/ 1991029 w 2038608"/>
                  <a:gd name="connsiteY25" fmla="*/ 958930 h 1540877"/>
                  <a:gd name="connsiteX26" fmla="*/ 1980049 w 2038608"/>
                  <a:gd name="connsiteY26" fmla="*/ 1050431 h 1540877"/>
                  <a:gd name="connsiteX27" fmla="*/ 1903189 w 2038608"/>
                  <a:gd name="connsiteY27" fmla="*/ 1108992 h 1540877"/>
                  <a:gd name="connsiteX28" fmla="*/ 1804370 w 2038608"/>
                  <a:gd name="connsiteY28" fmla="*/ 1207813 h 1540877"/>
                  <a:gd name="connsiteX29" fmla="*/ 1767770 w 2038608"/>
                  <a:gd name="connsiteY29" fmla="*/ 1248073 h 1540877"/>
                  <a:gd name="connsiteX30" fmla="*/ 1764110 w 2038608"/>
                  <a:gd name="connsiteY30" fmla="*/ 1310294 h 1540877"/>
                  <a:gd name="connsiteX31" fmla="*/ 1716530 w 2038608"/>
                  <a:gd name="connsiteY31" fmla="*/ 1372515 h 1540877"/>
                  <a:gd name="connsiteX32" fmla="*/ 1420072 w 2038608"/>
                  <a:gd name="connsiteY32" fmla="*/ 1387155 h 1540877"/>
                  <a:gd name="connsiteX33" fmla="*/ 1398112 w 2038608"/>
                  <a:gd name="connsiteY33" fmla="*/ 1507936 h 1540877"/>
                  <a:gd name="connsiteX34" fmla="*/ 1343212 w 2038608"/>
                  <a:gd name="connsiteY34" fmla="*/ 1504276 h 1540877"/>
                  <a:gd name="connsiteX35" fmla="*/ 1259033 w 2038608"/>
                  <a:gd name="connsiteY35" fmla="*/ 1540877 h 1540877"/>
                  <a:gd name="connsiteX36" fmla="*/ 1189493 w 2038608"/>
                  <a:gd name="connsiteY36" fmla="*/ 1518916 h 1540877"/>
                  <a:gd name="connsiteX37" fmla="*/ 1145573 w 2038608"/>
                  <a:gd name="connsiteY37" fmla="*/ 1522576 h 1540877"/>
                  <a:gd name="connsiteX38" fmla="*/ 1101654 w 2038608"/>
                  <a:gd name="connsiteY38" fmla="*/ 1467676 h 1540877"/>
                  <a:gd name="connsiteX39" fmla="*/ 1057734 w 2038608"/>
                  <a:gd name="connsiteY39" fmla="*/ 1500616 h 1540877"/>
                  <a:gd name="connsiteX40" fmla="*/ 980874 w 2038608"/>
                  <a:gd name="connsiteY40" fmla="*/ 1504276 h 1540877"/>
                  <a:gd name="connsiteX41" fmla="*/ 936955 w 2038608"/>
                  <a:gd name="connsiteY41" fmla="*/ 1529896 h 1540877"/>
                  <a:gd name="connsiteX42" fmla="*/ 936955 w 2038608"/>
                  <a:gd name="connsiteY42" fmla="*/ 1529896 h 1540877"/>
                  <a:gd name="connsiteX43" fmla="*/ 922315 w 2038608"/>
                  <a:gd name="connsiteY43" fmla="*/ 1412775 h 1540877"/>
                  <a:gd name="connsiteX44" fmla="*/ 889375 w 2038608"/>
                  <a:gd name="connsiteY44" fmla="*/ 1398135 h 1540877"/>
                  <a:gd name="connsiteX45" fmla="*/ 889375 w 2038608"/>
                  <a:gd name="connsiteY45" fmla="*/ 1332254 h 1540877"/>
                  <a:gd name="connsiteX46" fmla="*/ 823495 w 2038608"/>
                  <a:gd name="connsiteY46" fmla="*/ 1284674 h 1540877"/>
                  <a:gd name="connsiteX47" fmla="*/ 786895 w 2038608"/>
                  <a:gd name="connsiteY47" fmla="*/ 1302974 h 1540877"/>
                  <a:gd name="connsiteX48" fmla="*/ 775916 w 2038608"/>
                  <a:gd name="connsiteY48" fmla="*/ 1449376 h 1540877"/>
                  <a:gd name="connsiteX49" fmla="*/ 735656 w 2038608"/>
                  <a:gd name="connsiteY49" fmla="*/ 1438395 h 1540877"/>
                  <a:gd name="connsiteX50" fmla="*/ 731996 w 2038608"/>
                  <a:gd name="connsiteY50" fmla="*/ 1383495 h 1540877"/>
                  <a:gd name="connsiteX51" fmla="*/ 647816 w 2038608"/>
                  <a:gd name="connsiteY51" fmla="*/ 1383495 h 1540877"/>
                  <a:gd name="connsiteX52" fmla="*/ 581937 w 2038608"/>
                  <a:gd name="connsiteY52" fmla="*/ 1405455 h 1540877"/>
                  <a:gd name="connsiteX53" fmla="*/ 508737 w 2038608"/>
                  <a:gd name="connsiteY53" fmla="*/ 1354215 h 1540877"/>
                  <a:gd name="connsiteX54" fmla="*/ 592917 w 2038608"/>
                  <a:gd name="connsiteY54" fmla="*/ 1295654 h 1540877"/>
                  <a:gd name="connsiteX55" fmla="*/ 673436 w 2038608"/>
                  <a:gd name="connsiteY55" fmla="*/ 1237093 h 1540877"/>
                  <a:gd name="connsiteX56" fmla="*/ 636836 w 2038608"/>
                  <a:gd name="connsiteY56" fmla="*/ 1171213 h 1540877"/>
                  <a:gd name="connsiteX57" fmla="*/ 636836 w 2038608"/>
                  <a:gd name="connsiteY57" fmla="*/ 1171213 h 1540877"/>
                  <a:gd name="connsiteX58" fmla="*/ 636836 w 2038608"/>
                  <a:gd name="connsiteY58" fmla="*/ 1083372 h 1540877"/>
                  <a:gd name="connsiteX59" fmla="*/ 567297 w 2038608"/>
                  <a:gd name="connsiteY59" fmla="*/ 1028471 h 1540877"/>
                  <a:gd name="connsiteX60" fmla="*/ 556317 w 2038608"/>
                  <a:gd name="connsiteY60" fmla="*/ 944290 h 1540877"/>
                  <a:gd name="connsiteX61" fmla="*/ 545337 w 2038608"/>
                  <a:gd name="connsiteY61" fmla="*/ 863769 h 1540877"/>
                  <a:gd name="connsiteX62" fmla="*/ 486777 w 2038608"/>
                  <a:gd name="connsiteY62" fmla="*/ 808869 h 1540877"/>
                  <a:gd name="connsiteX63" fmla="*/ 519717 w 2038608"/>
                  <a:gd name="connsiteY63" fmla="*/ 746648 h 1540877"/>
                  <a:gd name="connsiteX64" fmla="*/ 497757 w 2038608"/>
                  <a:gd name="connsiteY64" fmla="*/ 673447 h 1540877"/>
                  <a:gd name="connsiteX65" fmla="*/ 497757 w 2038608"/>
                  <a:gd name="connsiteY65" fmla="*/ 618547 h 1540877"/>
                  <a:gd name="connsiteX66" fmla="*/ 559977 w 2038608"/>
                  <a:gd name="connsiteY66" fmla="*/ 545346 h 1540877"/>
                  <a:gd name="connsiteX67" fmla="*/ 527037 w 2038608"/>
                  <a:gd name="connsiteY67" fmla="*/ 446525 h 1540877"/>
                  <a:gd name="connsiteX68" fmla="*/ 402598 w 2038608"/>
                  <a:gd name="connsiteY68" fmla="*/ 494105 h 1540877"/>
                  <a:gd name="connsiteX69" fmla="*/ 365998 w 2038608"/>
                  <a:gd name="connsiteY69" fmla="*/ 603906 h 1540877"/>
                  <a:gd name="connsiteX70" fmla="*/ 351358 w 2038608"/>
                  <a:gd name="connsiteY70" fmla="*/ 563646 h 1540877"/>
                  <a:gd name="connsiteX71" fmla="*/ 281818 w 2038608"/>
                  <a:gd name="connsiteY71" fmla="*/ 603906 h 1540877"/>
                  <a:gd name="connsiteX72" fmla="*/ 281818 w 2038608"/>
                  <a:gd name="connsiteY72" fmla="*/ 644167 h 1540877"/>
                  <a:gd name="connsiteX73" fmla="*/ 241559 w 2038608"/>
                  <a:gd name="connsiteY73" fmla="*/ 684427 h 1540877"/>
                  <a:gd name="connsiteX74" fmla="*/ 274498 w 2038608"/>
                  <a:gd name="connsiteY74" fmla="*/ 721028 h 1540877"/>
                  <a:gd name="connsiteX75" fmla="*/ 172019 w 2038608"/>
                  <a:gd name="connsiteY75" fmla="*/ 764948 h 1540877"/>
                  <a:gd name="connsiteX76" fmla="*/ 91499 w 2038608"/>
                  <a:gd name="connsiteY76" fmla="*/ 764948 h 1540877"/>
                  <a:gd name="connsiteX77" fmla="*/ 0 w 2038608"/>
                  <a:gd name="connsiteY77" fmla="*/ 556326 h 1540877"/>
                  <a:gd name="connsiteX78" fmla="*/ 109799 w 2038608"/>
                  <a:gd name="connsiteY78" fmla="*/ 424564 h 1540877"/>
                  <a:gd name="connsiteX79" fmla="*/ 215939 w 2038608"/>
                  <a:gd name="connsiteY79" fmla="*/ 439205 h 1540877"/>
                  <a:gd name="connsiteX80" fmla="*/ 193979 w 2038608"/>
                  <a:gd name="connsiteY80" fmla="*/ 369664 h 1540877"/>
                  <a:gd name="connsiteX81" fmla="*/ 256198 w 2038608"/>
                  <a:gd name="connsiteY81" fmla="*/ 329403 h 1540877"/>
                  <a:gd name="connsiteX82" fmla="*/ 303778 w 2038608"/>
                  <a:gd name="connsiteY82" fmla="*/ 362344 h 1540877"/>
                  <a:gd name="connsiteX83" fmla="*/ 325738 w 2038608"/>
                  <a:gd name="connsiteY83" fmla="*/ 281823 h 1540877"/>
                  <a:gd name="connsiteX84" fmla="*/ 395278 w 2038608"/>
                  <a:gd name="connsiteY84" fmla="*/ 322083 h 1540877"/>
                  <a:gd name="connsiteX85" fmla="*/ 538017 w 2038608"/>
                  <a:gd name="connsiteY85" fmla="*/ 212282 h 1540877"/>
                  <a:gd name="connsiteX86" fmla="*/ 501417 w 2038608"/>
                  <a:gd name="connsiteY86" fmla="*/ 91501 h 1540877"/>
                  <a:gd name="connsiteX87" fmla="*/ 552657 w 2038608"/>
                  <a:gd name="connsiteY87" fmla="*/ 0 h 1540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2038608" h="1540877">
                    <a:moveTo>
                      <a:pt x="552657" y="0"/>
                    </a:moveTo>
                    <a:lnTo>
                      <a:pt x="761276" y="120781"/>
                    </a:lnTo>
                    <a:lnTo>
                      <a:pt x="845455" y="175682"/>
                    </a:lnTo>
                    <a:lnTo>
                      <a:pt x="845455" y="175682"/>
                    </a:lnTo>
                    <a:lnTo>
                      <a:pt x="819835" y="230582"/>
                    </a:lnTo>
                    <a:lnTo>
                      <a:pt x="882055" y="289143"/>
                    </a:lnTo>
                    <a:lnTo>
                      <a:pt x="889375" y="340383"/>
                    </a:lnTo>
                    <a:lnTo>
                      <a:pt x="911335" y="376984"/>
                    </a:lnTo>
                    <a:lnTo>
                      <a:pt x="911335" y="376984"/>
                    </a:lnTo>
                    <a:lnTo>
                      <a:pt x="988194" y="450185"/>
                    </a:lnTo>
                    <a:lnTo>
                      <a:pt x="977214" y="501425"/>
                    </a:lnTo>
                    <a:lnTo>
                      <a:pt x="1046754" y="538026"/>
                    </a:lnTo>
                    <a:lnTo>
                      <a:pt x="1134593" y="655147"/>
                    </a:lnTo>
                    <a:lnTo>
                      <a:pt x="1119954" y="710048"/>
                    </a:lnTo>
                    <a:lnTo>
                      <a:pt x="1028454" y="790568"/>
                    </a:lnTo>
                    <a:lnTo>
                      <a:pt x="1237073" y="794228"/>
                    </a:lnTo>
                    <a:lnTo>
                      <a:pt x="1354192" y="830829"/>
                    </a:lnTo>
                    <a:lnTo>
                      <a:pt x="1405432" y="918670"/>
                    </a:lnTo>
                    <a:lnTo>
                      <a:pt x="1420072" y="1006511"/>
                    </a:lnTo>
                    <a:lnTo>
                      <a:pt x="1716530" y="1010171"/>
                    </a:lnTo>
                    <a:lnTo>
                      <a:pt x="1804370" y="955270"/>
                    </a:lnTo>
                    <a:lnTo>
                      <a:pt x="1917829" y="871089"/>
                    </a:lnTo>
                    <a:lnTo>
                      <a:pt x="2038608" y="790568"/>
                    </a:lnTo>
                    <a:lnTo>
                      <a:pt x="2012988" y="867429"/>
                    </a:lnTo>
                    <a:lnTo>
                      <a:pt x="2038608" y="904030"/>
                    </a:lnTo>
                    <a:lnTo>
                      <a:pt x="1991029" y="958930"/>
                    </a:lnTo>
                    <a:lnTo>
                      <a:pt x="1980049" y="1050431"/>
                    </a:lnTo>
                    <a:lnTo>
                      <a:pt x="1903189" y="1108992"/>
                    </a:lnTo>
                    <a:lnTo>
                      <a:pt x="1804370" y="1207813"/>
                    </a:lnTo>
                    <a:lnTo>
                      <a:pt x="1767770" y="1248073"/>
                    </a:lnTo>
                    <a:lnTo>
                      <a:pt x="1764110" y="1310294"/>
                    </a:lnTo>
                    <a:lnTo>
                      <a:pt x="1716530" y="1372515"/>
                    </a:lnTo>
                    <a:lnTo>
                      <a:pt x="1420072" y="1387155"/>
                    </a:lnTo>
                    <a:lnTo>
                      <a:pt x="1398112" y="1507936"/>
                    </a:lnTo>
                    <a:lnTo>
                      <a:pt x="1343212" y="1504276"/>
                    </a:lnTo>
                    <a:lnTo>
                      <a:pt x="1259033" y="1540877"/>
                    </a:lnTo>
                    <a:lnTo>
                      <a:pt x="1189493" y="1518916"/>
                    </a:lnTo>
                    <a:lnTo>
                      <a:pt x="1145573" y="1522576"/>
                    </a:lnTo>
                    <a:lnTo>
                      <a:pt x="1101654" y="1467676"/>
                    </a:lnTo>
                    <a:lnTo>
                      <a:pt x="1057734" y="1500616"/>
                    </a:lnTo>
                    <a:lnTo>
                      <a:pt x="980874" y="1504276"/>
                    </a:lnTo>
                    <a:lnTo>
                      <a:pt x="936955" y="1529896"/>
                    </a:lnTo>
                    <a:lnTo>
                      <a:pt x="936955" y="1529896"/>
                    </a:lnTo>
                    <a:lnTo>
                      <a:pt x="922315" y="1412775"/>
                    </a:lnTo>
                    <a:lnTo>
                      <a:pt x="889375" y="1398135"/>
                    </a:lnTo>
                    <a:lnTo>
                      <a:pt x="889375" y="1332254"/>
                    </a:lnTo>
                    <a:lnTo>
                      <a:pt x="823495" y="1284674"/>
                    </a:lnTo>
                    <a:lnTo>
                      <a:pt x="786895" y="1302974"/>
                    </a:lnTo>
                    <a:lnTo>
                      <a:pt x="775916" y="1449376"/>
                    </a:lnTo>
                    <a:lnTo>
                      <a:pt x="735656" y="1438395"/>
                    </a:lnTo>
                    <a:lnTo>
                      <a:pt x="731996" y="1383495"/>
                    </a:lnTo>
                    <a:lnTo>
                      <a:pt x="647816" y="1383495"/>
                    </a:lnTo>
                    <a:lnTo>
                      <a:pt x="581937" y="1405455"/>
                    </a:lnTo>
                    <a:lnTo>
                      <a:pt x="508737" y="1354215"/>
                    </a:lnTo>
                    <a:lnTo>
                      <a:pt x="592917" y="1295654"/>
                    </a:lnTo>
                    <a:lnTo>
                      <a:pt x="673436" y="1237093"/>
                    </a:lnTo>
                    <a:lnTo>
                      <a:pt x="636836" y="1171213"/>
                    </a:lnTo>
                    <a:lnTo>
                      <a:pt x="636836" y="1171213"/>
                    </a:lnTo>
                    <a:lnTo>
                      <a:pt x="636836" y="1083372"/>
                    </a:lnTo>
                    <a:lnTo>
                      <a:pt x="567297" y="1028471"/>
                    </a:lnTo>
                    <a:lnTo>
                      <a:pt x="556317" y="944290"/>
                    </a:lnTo>
                    <a:lnTo>
                      <a:pt x="545337" y="863769"/>
                    </a:lnTo>
                    <a:lnTo>
                      <a:pt x="486777" y="808869"/>
                    </a:lnTo>
                    <a:lnTo>
                      <a:pt x="519717" y="746648"/>
                    </a:lnTo>
                    <a:lnTo>
                      <a:pt x="497757" y="673447"/>
                    </a:lnTo>
                    <a:lnTo>
                      <a:pt x="497757" y="618547"/>
                    </a:lnTo>
                    <a:lnTo>
                      <a:pt x="559977" y="545346"/>
                    </a:lnTo>
                    <a:lnTo>
                      <a:pt x="527037" y="446525"/>
                    </a:lnTo>
                    <a:lnTo>
                      <a:pt x="402598" y="494105"/>
                    </a:lnTo>
                    <a:lnTo>
                      <a:pt x="365998" y="603906"/>
                    </a:lnTo>
                    <a:lnTo>
                      <a:pt x="351358" y="563646"/>
                    </a:lnTo>
                    <a:lnTo>
                      <a:pt x="281818" y="603906"/>
                    </a:lnTo>
                    <a:lnTo>
                      <a:pt x="281818" y="644167"/>
                    </a:lnTo>
                    <a:lnTo>
                      <a:pt x="241559" y="684427"/>
                    </a:lnTo>
                    <a:lnTo>
                      <a:pt x="274498" y="721028"/>
                    </a:lnTo>
                    <a:lnTo>
                      <a:pt x="172019" y="764948"/>
                    </a:lnTo>
                    <a:lnTo>
                      <a:pt x="91499" y="764948"/>
                    </a:lnTo>
                    <a:lnTo>
                      <a:pt x="0" y="556326"/>
                    </a:lnTo>
                    <a:lnTo>
                      <a:pt x="109799" y="424564"/>
                    </a:lnTo>
                    <a:lnTo>
                      <a:pt x="215939" y="439205"/>
                    </a:lnTo>
                    <a:lnTo>
                      <a:pt x="193979" y="369664"/>
                    </a:lnTo>
                    <a:lnTo>
                      <a:pt x="256198" y="329403"/>
                    </a:lnTo>
                    <a:lnTo>
                      <a:pt x="303778" y="362344"/>
                    </a:lnTo>
                    <a:lnTo>
                      <a:pt x="325738" y="281823"/>
                    </a:lnTo>
                    <a:lnTo>
                      <a:pt x="395278" y="322083"/>
                    </a:lnTo>
                    <a:lnTo>
                      <a:pt x="538017" y="212282"/>
                    </a:lnTo>
                    <a:lnTo>
                      <a:pt x="501417" y="91501"/>
                    </a:lnTo>
                    <a:lnTo>
                      <a:pt x="552657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35" name="Forma libre 16"/>
              <p:cNvSpPr/>
              <p:nvPr/>
            </p:nvSpPr>
            <p:spPr>
              <a:xfrm>
                <a:off x="1081030" y="6358658"/>
                <a:ext cx="142001" cy="95834"/>
              </a:xfrm>
              <a:custGeom>
                <a:avLst/>
                <a:gdLst>
                  <a:gd name="connsiteX0" fmla="*/ 758825 w 949325"/>
                  <a:gd name="connsiteY0" fmla="*/ 0 h 606425"/>
                  <a:gd name="connsiteX1" fmla="*/ 809625 w 949325"/>
                  <a:gd name="connsiteY1" fmla="*/ 41275 h 606425"/>
                  <a:gd name="connsiteX2" fmla="*/ 831850 w 949325"/>
                  <a:gd name="connsiteY2" fmla="*/ 215900 h 606425"/>
                  <a:gd name="connsiteX3" fmla="*/ 904875 w 949325"/>
                  <a:gd name="connsiteY3" fmla="*/ 269875 h 606425"/>
                  <a:gd name="connsiteX4" fmla="*/ 908050 w 949325"/>
                  <a:gd name="connsiteY4" fmla="*/ 349250 h 606425"/>
                  <a:gd name="connsiteX5" fmla="*/ 949325 w 949325"/>
                  <a:gd name="connsiteY5" fmla="*/ 419100 h 606425"/>
                  <a:gd name="connsiteX6" fmla="*/ 866775 w 949325"/>
                  <a:gd name="connsiteY6" fmla="*/ 479425 h 606425"/>
                  <a:gd name="connsiteX7" fmla="*/ 781050 w 949325"/>
                  <a:gd name="connsiteY7" fmla="*/ 527050 h 606425"/>
                  <a:gd name="connsiteX8" fmla="*/ 720725 w 949325"/>
                  <a:gd name="connsiteY8" fmla="*/ 511175 h 606425"/>
                  <a:gd name="connsiteX9" fmla="*/ 676275 w 949325"/>
                  <a:gd name="connsiteY9" fmla="*/ 454025 h 606425"/>
                  <a:gd name="connsiteX10" fmla="*/ 660400 w 949325"/>
                  <a:gd name="connsiteY10" fmla="*/ 476250 h 606425"/>
                  <a:gd name="connsiteX11" fmla="*/ 635000 w 949325"/>
                  <a:gd name="connsiteY11" fmla="*/ 466725 h 606425"/>
                  <a:gd name="connsiteX12" fmla="*/ 600075 w 949325"/>
                  <a:gd name="connsiteY12" fmla="*/ 434975 h 606425"/>
                  <a:gd name="connsiteX13" fmla="*/ 558800 w 949325"/>
                  <a:gd name="connsiteY13" fmla="*/ 466725 h 606425"/>
                  <a:gd name="connsiteX14" fmla="*/ 523875 w 949325"/>
                  <a:gd name="connsiteY14" fmla="*/ 520700 h 606425"/>
                  <a:gd name="connsiteX15" fmla="*/ 450850 w 949325"/>
                  <a:gd name="connsiteY15" fmla="*/ 520700 h 606425"/>
                  <a:gd name="connsiteX16" fmla="*/ 460375 w 949325"/>
                  <a:gd name="connsiteY16" fmla="*/ 469900 h 606425"/>
                  <a:gd name="connsiteX17" fmla="*/ 415925 w 949325"/>
                  <a:gd name="connsiteY17" fmla="*/ 466725 h 606425"/>
                  <a:gd name="connsiteX18" fmla="*/ 415925 w 949325"/>
                  <a:gd name="connsiteY18" fmla="*/ 466725 h 606425"/>
                  <a:gd name="connsiteX19" fmla="*/ 409575 w 949325"/>
                  <a:gd name="connsiteY19" fmla="*/ 508000 h 606425"/>
                  <a:gd name="connsiteX20" fmla="*/ 346075 w 949325"/>
                  <a:gd name="connsiteY20" fmla="*/ 495300 h 606425"/>
                  <a:gd name="connsiteX21" fmla="*/ 314325 w 949325"/>
                  <a:gd name="connsiteY21" fmla="*/ 517525 h 606425"/>
                  <a:gd name="connsiteX22" fmla="*/ 260350 w 949325"/>
                  <a:gd name="connsiteY22" fmla="*/ 501650 h 606425"/>
                  <a:gd name="connsiteX23" fmla="*/ 225425 w 949325"/>
                  <a:gd name="connsiteY23" fmla="*/ 536575 h 606425"/>
                  <a:gd name="connsiteX24" fmla="*/ 250825 w 949325"/>
                  <a:gd name="connsiteY24" fmla="*/ 577850 h 606425"/>
                  <a:gd name="connsiteX25" fmla="*/ 234950 w 949325"/>
                  <a:gd name="connsiteY25" fmla="*/ 606425 h 606425"/>
                  <a:gd name="connsiteX26" fmla="*/ 200025 w 949325"/>
                  <a:gd name="connsiteY26" fmla="*/ 593725 h 606425"/>
                  <a:gd name="connsiteX27" fmla="*/ 152400 w 949325"/>
                  <a:gd name="connsiteY27" fmla="*/ 533400 h 606425"/>
                  <a:gd name="connsiteX28" fmla="*/ 161925 w 949325"/>
                  <a:gd name="connsiteY28" fmla="*/ 600075 h 606425"/>
                  <a:gd name="connsiteX29" fmla="*/ 161925 w 949325"/>
                  <a:gd name="connsiteY29" fmla="*/ 600075 h 606425"/>
                  <a:gd name="connsiteX30" fmla="*/ 120650 w 949325"/>
                  <a:gd name="connsiteY30" fmla="*/ 596900 h 606425"/>
                  <a:gd name="connsiteX31" fmla="*/ 79375 w 949325"/>
                  <a:gd name="connsiteY31" fmla="*/ 600075 h 606425"/>
                  <a:gd name="connsiteX32" fmla="*/ 31750 w 949325"/>
                  <a:gd name="connsiteY32" fmla="*/ 495300 h 606425"/>
                  <a:gd name="connsiteX33" fmla="*/ 0 w 949325"/>
                  <a:gd name="connsiteY33" fmla="*/ 358775 h 606425"/>
                  <a:gd name="connsiteX34" fmla="*/ 73025 w 949325"/>
                  <a:gd name="connsiteY34" fmla="*/ 317500 h 606425"/>
                  <a:gd name="connsiteX35" fmla="*/ 123825 w 949325"/>
                  <a:gd name="connsiteY35" fmla="*/ 311150 h 606425"/>
                  <a:gd name="connsiteX36" fmla="*/ 133350 w 949325"/>
                  <a:gd name="connsiteY36" fmla="*/ 346075 h 606425"/>
                  <a:gd name="connsiteX37" fmla="*/ 209550 w 949325"/>
                  <a:gd name="connsiteY37" fmla="*/ 346075 h 606425"/>
                  <a:gd name="connsiteX38" fmla="*/ 269875 w 949325"/>
                  <a:gd name="connsiteY38" fmla="*/ 384175 h 606425"/>
                  <a:gd name="connsiteX39" fmla="*/ 279400 w 949325"/>
                  <a:gd name="connsiteY39" fmla="*/ 352425 h 606425"/>
                  <a:gd name="connsiteX40" fmla="*/ 279400 w 949325"/>
                  <a:gd name="connsiteY40" fmla="*/ 352425 h 606425"/>
                  <a:gd name="connsiteX41" fmla="*/ 307975 w 949325"/>
                  <a:gd name="connsiteY41" fmla="*/ 301625 h 606425"/>
                  <a:gd name="connsiteX42" fmla="*/ 374650 w 949325"/>
                  <a:gd name="connsiteY42" fmla="*/ 282575 h 606425"/>
                  <a:gd name="connsiteX43" fmla="*/ 371475 w 949325"/>
                  <a:gd name="connsiteY43" fmla="*/ 209550 h 606425"/>
                  <a:gd name="connsiteX44" fmla="*/ 409575 w 949325"/>
                  <a:gd name="connsiteY44" fmla="*/ 161925 h 606425"/>
                  <a:gd name="connsiteX45" fmla="*/ 447675 w 949325"/>
                  <a:gd name="connsiteY45" fmla="*/ 203200 h 606425"/>
                  <a:gd name="connsiteX46" fmla="*/ 511175 w 949325"/>
                  <a:gd name="connsiteY46" fmla="*/ 149225 h 606425"/>
                  <a:gd name="connsiteX47" fmla="*/ 520700 w 949325"/>
                  <a:gd name="connsiteY47" fmla="*/ 107950 h 606425"/>
                  <a:gd name="connsiteX48" fmla="*/ 549275 w 949325"/>
                  <a:gd name="connsiteY48" fmla="*/ 136525 h 606425"/>
                  <a:gd name="connsiteX49" fmla="*/ 654050 w 949325"/>
                  <a:gd name="connsiteY49" fmla="*/ 120650 h 606425"/>
                  <a:gd name="connsiteX50" fmla="*/ 679450 w 949325"/>
                  <a:gd name="connsiteY50" fmla="*/ 107950 h 606425"/>
                  <a:gd name="connsiteX51" fmla="*/ 720725 w 949325"/>
                  <a:gd name="connsiteY51" fmla="*/ 95250 h 606425"/>
                  <a:gd name="connsiteX52" fmla="*/ 758825 w 949325"/>
                  <a:gd name="connsiteY52" fmla="*/ 0 h 606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949325" h="606425">
                    <a:moveTo>
                      <a:pt x="758825" y="0"/>
                    </a:moveTo>
                    <a:lnTo>
                      <a:pt x="809625" y="41275"/>
                    </a:lnTo>
                    <a:lnTo>
                      <a:pt x="831850" y="215900"/>
                    </a:lnTo>
                    <a:lnTo>
                      <a:pt x="904875" y="269875"/>
                    </a:lnTo>
                    <a:lnTo>
                      <a:pt x="908050" y="349250"/>
                    </a:lnTo>
                    <a:lnTo>
                      <a:pt x="949325" y="419100"/>
                    </a:lnTo>
                    <a:lnTo>
                      <a:pt x="866775" y="479425"/>
                    </a:lnTo>
                    <a:lnTo>
                      <a:pt x="781050" y="527050"/>
                    </a:lnTo>
                    <a:lnTo>
                      <a:pt x="720725" y="511175"/>
                    </a:lnTo>
                    <a:lnTo>
                      <a:pt x="676275" y="454025"/>
                    </a:lnTo>
                    <a:lnTo>
                      <a:pt x="660400" y="476250"/>
                    </a:lnTo>
                    <a:lnTo>
                      <a:pt x="635000" y="466725"/>
                    </a:lnTo>
                    <a:lnTo>
                      <a:pt x="600075" y="434975"/>
                    </a:lnTo>
                    <a:lnTo>
                      <a:pt x="558800" y="466725"/>
                    </a:lnTo>
                    <a:lnTo>
                      <a:pt x="523875" y="520700"/>
                    </a:lnTo>
                    <a:lnTo>
                      <a:pt x="450850" y="520700"/>
                    </a:lnTo>
                    <a:lnTo>
                      <a:pt x="460375" y="469900"/>
                    </a:lnTo>
                    <a:lnTo>
                      <a:pt x="415925" y="466725"/>
                    </a:lnTo>
                    <a:lnTo>
                      <a:pt x="415925" y="466725"/>
                    </a:lnTo>
                    <a:lnTo>
                      <a:pt x="409575" y="508000"/>
                    </a:lnTo>
                    <a:lnTo>
                      <a:pt x="346075" y="495300"/>
                    </a:lnTo>
                    <a:lnTo>
                      <a:pt x="314325" y="517525"/>
                    </a:lnTo>
                    <a:lnTo>
                      <a:pt x="260350" y="501650"/>
                    </a:lnTo>
                    <a:lnTo>
                      <a:pt x="225425" y="536575"/>
                    </a:lnTo>
                    <a:lnTo>
                      <a:pt x="250825" y="577850"/>
                    </a:lnTo>
                    <a:lnTo>
                      <a:pt x="234950" y="606425"/>
                    </a:lnTo>
                    <a:lnTo>
                      <a:pt x="200025" y="593725"/>
                    </a:lnTo>
                    <a:lnTo>
                      <a:pt x="152400" y="533400"/>
                    </a:lnTo>
                    <a:lnTo>
                      <a:pt x="161925" y="600075"/>
                    </a:lnTo>
                    <a:lnTo>
                      <a:pt x="161925" y="600075"/>
                    </a:lnTo>
                    <a:lnTo>
                      <a:pt x="120650" y="596900"/>
                    </a:lnTo>
                    <a:lnTo>
                      <a:pt x="79375" y="600075"/>
                    </a:lnTo>
                    <a:lnTo>
                      <a:pt x="31750" y="495300"/>
                    </a:lnTo>
                    <a:lnTo>
                      <a:pt x="0" y="358775"/>
                    </a:lnTo>
                    <a:lnTo>
                      <a:pt x="73025" y="317500"/>
                    </a:lnTo>
                    <a:lnTo>
                      <a:pt x="123825" y="311150"/>
                    </a:lnTo>
                    <a:lnTo>
                      <a:pt x="133350" y="346075"/>
                    </a:lnTo>
                    <a:lnTo>
                      <a:pt x="209550" y="346075"/>
                    </a:lnTo>
                    <a:lnTo>
                      <a:pt x="269875" y="384175"/>
                    </a:lnTo>
                    <a:lnTo>
                      <a:pt x="279400" y="352425"/>
                    </a:lnTo>
                    <a:lnTo>
                      <a:pt x="279400" y="352425"/>
                    </a:lnTo>
                    <a:lnTo>
                      <a:pt x="307975" y="301625"/>
                    </a:lnTo>
                    <a:lnTo>
                      <a:pt x="374650" y="282575"/>
                    </a:lnTo>
                    <a:lnTo>
                      <a:pt x="371475" y="209550"/>
                    </a:lnTo>
                    <a:lnTo>
                      <a:pt x="409575" y="161925"/>
                    </a:lnTo>
                    <a:lnTo>
                      <a:pt x="447675" y="203200"/>
                    </a:lnTo>
                    <a:lnTo>
                      <a:pt x="511175" y="149225"/>
                    </a:lnTo>
                    <a:lnTo>
                      <a:pt x="520700" y="107950"/>
                    </a:lnTo>
                    <a:lnTo>
                      <a:pt x="549275" y="136525"/>
                    </a:lnTo>
                    <a:lnTo>
                      <a:pt x="654050" y="120650"/>
                    </a:lnTo>
                    <a:lnTo>
                      <a:pt x="679450" y="107950"/>
                    </a:lnTo>
                    <a:lnTo>
                      <a:pt x="720725" y="95250"/>
                    </a:lnTo>
                    <a:lnTo>
                      <a:pt x="758825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Forma libre 17"/>
              <p:cNvSpPr/>
              <p:nvPr/>
            </p:nvSpPr>
            <p:spPr>
              <a:xfrm>
                <a:off x="1092428" y="6430909"/>
                <a:ext cx="174296" cy="115904"/>
              </a:xfrm>
              <a:custGeom>
                <a:avLst/>
                <a:gdLst>
                  <a:gd name="connsiteX0" fmla="*/ 365125 w 1165225"/>
                  <a:gd name="connsiteY0" fmla="*/ 733425 h 733425"/>
                  <a:gd name="connsiteX1" fmla="*/ 473075 w 1165225"/>
                  <a:gd name="connsiteY1" fmla="*/ 650875 h 733425"/>
                  <a:gd name="connsiteX2" fmla="*/ 539750 w 1165225"/>
                  <a:gd name="connsiteY2" fmla="*/ 565150 h 733425"/>
                  <a:gd name="connsiteX3" fmla="*/ 542925 w 1165225"/>
                  <a:gd name="connsiteY3" fmla="*/ 482600 h 733425"/>
                  <a:gd name="connsiteX4" fmla="*/ 596900 w 1165225"/>
                  <a:gd name="connsiteY4" fmla="*/ 492125 h 733425"/>
                  <a:gd name="connsiteX5" fmla="*/ 635000 w 1165225"/>
                  <a:gd name="connsiteY5" fmla="*/ 504825 h 733425"/>
                  <a:gd name="connsiteX6" fmla="*/ 704850 w 1165225"/>
                  <a:gd name="connsiteY6" fmla="*/ 479425 h 733425"/>
                  <a:gd name="connsiteX7" fmla="*/ 781050 w 1165225"/>
                  <a:gd name="connsiteY7" fmla="*/ 504825 h 733425"/>
                  <a:gd name="connsiteX8" fmla="*/ 803275 w 1165225"/>
                  <a:gd name="connsiteY8" fmla="*/ 555625 h 733425"/>
                  <a:gd name="connsiteX9" fmla="*/ 889000 w 1165225"/>
                  <a:gd name="connsiteY9" fmla="*/ 593725 h 733425"/>
                  <a:gd name="connsiteX10" fmla="*/ 952500 w 1165225"/>
                  <a:gd name="connsiteY10" fmla="*/ 561975 h 733425"/>
                  <a:gd name="connsiteX11" fmla="*/ 1028700 w 1165225"/>
                  <a:gd name="connsiteY11" fmla="*/ 561975 h 733425"/>
                  <a:gd name="connsiteX12" fmla="*/ 1066800 w 1165225"/>
                  <a:gd name="connsiteY12" fmla="*/ 619125 h 733425"/>
                  <a:gd name="connsiteX13" fmla="*/ 1092200 w 1165225"/>
                  <a:gd name="connsiteY13" fmla="*/ 568325 h 733425"/>
                  <a:gd name="connsiteX14" fmla="*/ 1130300 w 1165225"/>
                  <a:gd name="connsiteY14" fmla="*/ 552450 h 733425"/>
                  <a:gd name="connsiteX15" fmla="*/ 1165225 w 1165225"/>
                  <a:gd name="connsiteY15" fmla="*/ 523875 h 733425"/>
                  <a:gd name="connsiteX16" fmla="*/ 1111250 w 1165225"/>
                  <a:gd name="connsiteY16" fmla="*/ 428625 h 733425"/>
                  <a:gd name="connsiteX17" fmla="*/ 1079500 w 1165225"/>
                  <a:gd name="connsiteY17" fmla="*/ 425450 h 733425"/>
                  <a:gd name="connsiteX18" fmla="*/ 1079500 w 1165225"/>
                  <a:gd name="connsiteY18" fmla="*/ 371475 h 733425"/>
                  <a:gd name="connsiteX19" fmla="*/ 1079500 w 1165225"/>
                  <a:gd name="connsiteY19" fmla="*/ 371475 h 733425"/>
                  <a:gd name="connsiteX20" fmla="*/ 1127125 w 1165225"/>
                  <a:gd name="connsiteY20" fmla="*/ 301625 h 733425"/>
                  <a:gd name="connsiteX21" fmla="*/ 1133475 w 1165225"/>
                  <a:gd name="connsiteY21" fmla="*/ 244475 h 733425"/>
                  <a:gd name="connsiteX22" fmla="*/ 1108075 w 1165225"/>
                  <a:gd name="connsiteY22" fmla="*/ 146050 h 733425"/>
                  <a:gd name="connsiteX23" fmla="*/ 1076325 w 1165225"/>
                  <a:gd name="connsiteY23" fmla="*/ 123825 h 733425"/>
                  <a:gd name="connsiteX24" fmla="*/ 1079500 w 1165225"/>
                  <a:gd name="connsiteY24" fmla="*/ 57150 h 733425"/>
                  <a:gd name="connsiteX25" fmla="*/ 1022350 w 1165225"/>
                  <a:gd name="connsiteY25" fmla="*/ 15875 h 733425"/>
                  <a:gd name="connsiteX26" fmla="*/ 996950 w 1165225"/>
                  <a:gd name="connsiteY26" fmla="*/ 31750 h 733425"/>
                  <a:gd name="connsiteX27" fmla="*/ 996950 w 1165225"/>
                  <a:gd name="connsiteY27" fmla="*/ 184150 h 733425"/>
                  <a:gd name="connsiteX28" fmla="*/ 939800 w 1165225"/>
                  <a:gd name="connsiteY28" fmla="*/ 180975 h 733425"/>
                  <a:gd name="connsiteX29" fmla="*/ 920750 w 1165225"/>
                  <a:gd name="connsiteY29" fmla="*/ 107950 h 733425"/>
                  <a:gd name="connsiteX30" fmla="*/ 758825 w 1165225"/>
                  <a:gd name="connsiteY30" fmla="*/ 142875 h 733425"/>
                  <a:gd name="connsiteX31" fmla="*/ 708025 w 1165225"/>
                  <a:gd name="connsiteY31" fmla="*/ 85725 h 733425"/>
                  <a:gd name="connsiteX32" fmla="*/ 628650 w 1165225"/>
                  <a:gd name="connsiteY32" fmla="*/ 69850 h 733425"/>
                  <a:gd name="connsiteX33" fmla="*/ 587375 w 1165225"/>
                  <a:gd name="connsiteY33" fmla="*/ 31750 h 733425"/>
                  <a:gd name="connsiteX34" fmla="*/ 555625 w 1165225"/>
                  <a:gd name="connsiteY34" fmla="*/ 38100 h 733425"/>
                  <a:gd name="connsiteX35" fmla="*/ 523875 w 1165225"/>
                  <a:gd name="connsiteY35" fmla="*/ 0 h 733425"/>
                  <a:gd name="connsiteX36" fmla="*/ 457200 w 1165225"/>
                  <a:gd name="connsiteY36" fmla="*/ 76200 h 733425"/>
                  <a:gd name="connsiteX37" fmla="*/ 352425 w 1165225"/>
                  <a:gd name="connsiteY37" fmla="*/ 85725 h 733425"/>
                  <a:gd name="connsiteX38" fmla="*/ 374650 w 1165225"/>
                  <a:gd name="connsiteY38" fmla="*/ 25400 h 733425"/>
                  <a:gd name="connsiteX39" fmla="*/ 374650 w 1165225"/>
                  <a:gd name="connsiteY39" fmla="*/ 25400 h 733425"/>
                  <a:gd name="connsiteX40" fmla="*/ 323850 w 1165225"/>
                  <a:gd name="connsiteY40" fmla="*/ 66675 h 733425"/>
                  <a:gd name="connsiteX41" fmla="*/ 273050 w 1165225"/>
                  <a:gd name="connsiteY41" fmla="*/ 60325 h 733425"/>
                  <a:gd name="connsiteX42" fmla="*/ 273050 w 1165225"/>
                  <a:gd name="connsiteY42" fmla="*/ 60325 h 733425"/>
                  <a:gd name="connsiteX43" fmla="*/ 254000 w 1165225"/>
                  <a:gd name="connsiteY43" fmla="*/ 88900 h 733425"/>
                  <a:gd name="connsiteX44" fmla="*/ 180975 w 1165225"/>
                  <a:gd name="connsiteY44" fmla="*/ 66675 h 733425"/>
                  <a:gd name="connsiteX45" fmla="*/ 180975 w 1165225"/>
                  <a:gd name="connsiteY45" fmla="*/ 66675 h 733425"/>
                  <a:gd name="connsiteX46" fmla="*/ 168275 w 1165225"/>
                  <a:gd name="connsiteY46" fmla="*/ 95250 h 733425"/>
                  <a:gd name="connsiteX47" fmla="*/ 203200 w 1165225"/>
                  <a:gd name="connsiteY47" fmla="*/ 133350 h 733425"/>
                  <a:gd name="connsiteX48" fmla="*/ 152400 w 1165225"/>
                  <a:gd name="connsiteY48" fmla="*/ 171450 h 733425"/>
                  <a:gd name="connsiteX49" fmla="*/ 101600 w 1165225"/>
                  <a:gd name="connsiteY49" fmla="*/ 146050 h 733425"/>
                  <a:gd name="connsiteX50" fmla="*/ 76200 w 1165225"/>
                  <a:gd name="connsiteY50" fmla="*/ 174625 h 733425"/>
                  <a:gd name="connsiteX51" fmla="*/ 0 w 1165225"/>
                  <a:gd name="connsiteY51" fmla="*/ 155575 h 733425"/>
                  <a:gd name="connsiteX52" fmla="*/ 50800 w 1165225"/>
                  <a:gd name="connsiteY52" fmla="*/ 327025 h 733425"/>
                  <a:gd name="connsiteX53" fmla="*/ 117475 w 1165225"/>
                  <a:gd name="connsiteY53" fmla="*/ 317500 h 733425"/>
                  <a:gd name="connsiteX54" fmla="*/ 130175 w 1165225"/>
                  <a:gd name="connsiteY54" fmla="*/ 403225 h 733425"/>
                  <a:gd name="connsiteX55" fmla="*/ 177800 w 1165225"/>
                  <a:gd name="connsiteY55" fmla="*/ 469900 h 733425"/>
                  <a:gd name="connsiteX56" fmla="*/ 295275 w 1165225"/>
                  <a:gd name="connsiteY56" fmla="*/ 485775 h 733425"/>
                  <a:gd name="connsiteX57" fmla="*/ 336550 w 1165225"/>
                  <a:gd name="connsiteY57" fmla="*/ 539750 h 733425"/>
                  <a:gd name="connsiteX58" fmla="*/ 314325 w 1165225"/>
                  <a:gd name="connsiteY58" fmla="*/ 574675 h 733425"/>
                  <a:gd name="connsiteX59" fmla="*/ 371475 w 1165225"/>
                  <a:gd name="connsiteY59" fmla="*/ 625475 h 733425"/>
                  <a:gd name="connsiteX60" fmla="*/ 365125 w 1165225"/>
                  <a:gd name="connsiteY60" fmla="*/ 733425 h 733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1165225" h="733425">
                    <a:moveTo>
                      <a:pt x="365125" y="733425"/>
                    </a:moveTo>
                    <a:lnTo>
                      <a:pt x="473075" y="650875"/>
                    </a:lnTo>
                    <a:lnTo>
                      <a:pt x="539750" y="565150"/>
                    </a:lnTo>
                    <a:lnTo>
                      <a:pt x="542925" y="482600"/>
                    </a:lnTo>
                    <a:lnTo>
                      <a:pt x="596900" y="492125"/>
                    </a:lnTo>
                    <a:lnTo>
                      <a:pt x="635000" y="504825"/>
                    </a:lnTo>
                    <a:lnTo>
                      <a:pt x="704850" y="479425"/>
                    </a:lnTo>
                    <a:lnTo>
                      <a:pt x="781050" y="504825"/>
                    </a:lnTo>
                    <a:lnTo>
                      <a:pt x="803275" y="555625"/>
                    </a:lnTo>
                    <a:lnTo>
                      <a:pt x="889000" y="593725"/>
                    </a:lnTo>
                    <a:lnTo>
                      <a:pt x="952500" y="561975"/>
                    </a:lnTo>
                    <a:lnTo>
                      <a:pt x="1028700" y="561975"/>
                    </a:lnTo>
                    <a:lnTo>
                      <a:pt x="1066800" y="619125"/>
                    </a:lnTo>
                    <a:lnTo>
                      <a:pt x="1092200" y="568325"/>
                    </a:lnTo>
                    <a:lnTo>
                      <a:pt x="1130300" y="552450"/>
                    </a:lnTo>
                    <a:lnTo>
                      <a:pt x="1165225" y="523875"/>
                    </a:lnTo>
                    <a:lnTo>
                      <a:pt x="1111250" y="428625"/>
                    </a:lnTo>
                    <a:lnTo>
                      <a:pt x="1079500" y="425450"/>
                    </a:lnTo>
                    <a:lnTo>
                      <a:pt x="1079500" y="371475"/>
                    </a:lnTo>
                    <a:lnTo>
                      <a:pt x="1079500" y="371475"/>
                    </a:lnTo>
                    <a:lnTo>
                      <a:pt x="1127125" y="301625"/>
                    </a:lnTo>
                    <a:lnTo>
                      <a:pt x="1133475" y="244475"/>
                    </a:lnTo>
                    <a:lnTo>
                      <a:pt x="1108075" y="146050"/>
                    </a:lnTo>
                    <a:lnTo>
                      <a:pt x="1076325" y="123825"/>
                    </a:lnTo>
                    <a:lnTo>
                      <a:pt x="1079500" y="57150"/>
                    </a:lnTo>
                    <a:lnTo>
                      <a:pt x="1022350" y="15875"/>
                    </a:lnTo>
                    <a:lnTo>
                      <a:pt x="996950" y="31750"/>
                    </a:lnTo>
                    <a:lnTo>
                      <a:pt x="996950" y="184150"/>
                    </a:lnTo>
                    <a:lnTo>
                      <a:pt x="939800" y="180975"/>
                    </a:lnTo>
                    <a:lnTo>
                      <a:pt x="920750" y="107950"/>
                    </a:lnTo>
                    <a:lnTo>
                      <a:pt x="758825" y="142875"/>
                    </a:lnTo>
                    <a:lnTo>
                      <a:pt x="708025" y="85725"/>
                    </a:lnTo>
                    <a:lnTo>
                      <a:pt x="628650" y="69850"/>
                    </a:lnTo>
                    <a:lnTo>
                      <a:pt x="587375" y="31750"/>
                    </a:lnTo>
                    <a:lnTo>
                      <a:pt x="555625" y="38100"/>
                    </a:lnTo>
                    <a:lnTo>
                      <a:pt x="523875" y="0"/>
                    </a:lnTo>
                    <a:lnTo>
                      <a:pt x="457200" y="76200"/>
                    </a:lnTo>
                    <a:lnTo>
                      <a:pt x="352425" y="85725"/>
                    </a:lnTo>
                    <a:lnTo>
                      <a:pt x="374650" y="25400"/>
                    </a:lnTo>
                    <a:lnTo>
                      <a:pt x="374650" y="25400"/>
                    </a:lnTo>
                    <a:lnTo>
                      <a:pt x="323850" y="66675"/>
                    </a:lnTo>
                    <a:lnTo>
                      <a:pt x="273050" y="60325"/>
                    </a:lnTo>
                    <a:lnTo>
                      <a:pt x="273050" y="60325"/>
                    </a:lnTo>
                    <a:lnTo>
                      <a:pt x="254000" y="88900"/>
                    </a:lnTo>
                    <a:lnTo>
                      <a:pt x="180975" y="66675"/>
                    </a:lnTo>
                    <a:lnTo>
                      <a:pt x="180975" y="66675"/>
                    </a:lnTo>
                    <a:lnTo>
                      <a:pt x="168275" y="95250"/>
                    </a:lnTo>
                    <a:lnTo>
                      <a:pt x="203200" y="133350"/>
                    </a:lnTo>
                    <a:lnTo>
                      <a:pt x="152400" y="171450"/>
                    </a:lnTo>
                    <a:lnTo>
                      <a:pt x="101600" y="146050"/>
                    </a:lnTo>
                    <a:lnTo>
                      <a:pt x="76200" y="174625"/>
                    </a:lnTo>
                    <a:lnTo>
                      <a:pt x="0" y="155575"/>
                    </a:lnTo>
                    <a:lnTo>
                      <a:pt x="50800" y="327025"/>
                    </a:lnTo>
                    <a:lnTo>
                      <a:pt x="117475" y="317500"/>
                    </a:lnTo>
                    <a:lnTo>
                      <a:pt x="130175" y="403225"/>
                    </a:lnTo>
                    <a:lnTo>
                      <a:pt x="177800" y="469900"/>
                    </a:lnTo>
                    <a:lnTo>
                      <a:pt x="295275" y="485775"/>
                    </a:lnTo>
                    <a:lnTo>
                      <a:pt x="336550" y="539750"/>
                    </a:lnTo>
                    <a:lnTo>
                      <a:pt x="314325" y="574675"/>
                    </a:lnTo>
                    <a:lnTo>
                      <a:pt x="371475" y="625475"/>
                    </a:lnTo>
                    <a:lnTo>
                      <a:pt x="365125" y="73342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Forma libre 18"/>
              <p:cNvSpPr/>
              <p:nvPr/>
            </p:nvSpPr>
            <p:spPr>
              <a:xfrm>
                <a:off x="1320390" y="6382742"/>
                <a:ext cx="211339" cy="203710"/>
              </a:xfrm>
              <a:custGeom>
                <a:avLst/>
                <a:gdLst>
                  <a:gd name="connsiteX0" fmla="*/ 1412875 w 1412875"/>
                  <a:gd name="connsiteY0" fmla="*/ 974725 h 1289050"/>
                  <a:gd name="connsiteX1" fmla="*/ 1225550 w 1412875"/>
                  <a:gd name="connsiteY1" fmla="*/ 641350 h 1289050"/>
                  <a:gd name="connsiteX2" fmla="*/ 1057275 w 1412875"/>
                  <a:gd name="connsiteY2" fmla="*/ 384175 h 1289050"/>
                  <a:gd name="connsiteX3" fmla="*/ 1003300 w 1412875"/>
                  <a:gd name="connsiteY3" fmla="*/ 403225 h 1289050"/>
                  <a:gd name="connsiteX4" fmla="*/ 1003300 w 1412875"/>
                  <a:gd name="connsiteY4" fmla="*/ 403225 h 1289050"/>
                  <a:gd name="connsiteX5" fmla="*/ 977900 w 1412875"/>
                  <a:gd name="connsiteY5" fmla="*/ 374650 h 1289050"/>
                  <a:gd name="connsiteX6" fmla="*/ 901700 w 1412875"/>
                  <a:gd name="connsiteY6" fmla="*/ 390525 h 1289050"/>
                  <a:gd name="connsiteX7" fmla="*/ 831850 w 1412875"/>
                  <a:gd name="connsiteY7" fmla="*/ 438150 h 1289050"/>
                  <a:gd name="connsiteX8" fmla="*/ 755650 w 1412875"/>
                  <a:gd name="connsiteY8" fmla="*/ 438150 h 1289050"/>
                  <a:gd name="connsiteX9" fmla="*/ 711200 w 1412875"/>
                  <a:gd name="connsiteY9" fmla="*/ 387350 h 1289050"/>
                  <a:gd name="connsiteX10" fmla="*/ 679450 w 1412875"/>
                  <a:gd name="connsiteY10" fmla="*/ 415925 h 1289050"/>
                  <a:gd name="connsiteX11" fmla="*/ 682625 w 1412875"/>
                  <a:gd name="connsiteY11" fmla="*/ 0 h 1289050"/>
                  <a:gd name="connsiteX12" fmla="*/ 650875 w 1412875"/>
                  <a:gd name="connsiteY12" fmla="*/ 98425 h 1289050"/>
                  <a:gd name="connsiteX13" fmla="*/ 542925 w 1412875"/>
                  <a:gd name="connsiteY13" fmla="*/ 187325 h 1289050"/>
                  <a:gd name="connsiteX14" fmla="*/ 457200 w 1412875"/>
                  <a:gd name="connsiteY14" fmla="*/ 276225 h 1289050"/>
                  <a:gd name="connsiteX15" fmla="*/ 457200 w 1412875"/>
                  <a:gd name="connsiteY15" fmla="*/ 333375 h 1289050"/>
                  <a:gd name="connsiteX16" fmla="*/ 400050 w 1412875"/>
                  <a:gd name="connsiteY16" fmla="*/ 406400 h 1289050"/>
                  <a:gd name="connsiteX17" fmla="*/ 111125 w 1412875"/>
                  <a:gd name="connsiteY17" fmla="*/ 425450 h 1289050"/>
                  <a:gd name="connsiteX18" fmla="*/ 85725 w 1412875"/>
                  <a:gd name="connsiteY18" fmla="*/ 542925 h 1289050"/>
                  <a:gd name="connsiteX19" fmla="*/ 0 w 1412875"/>
                  <a:gd name="connsiteY19" fmla="*/ 688975 h 1289050"/>
                  <a:gd name="connsiteX20" fmla="*/ 31750 w 1412875"/>
                  <a:gd name="connsiteY20" fmla="*/ 765175 h 1289050"/>
                  <a:gd name="connsiteX21" fmla="*/ 66675 w 1412875"/>
                  <a:gd name="connsiteY21" fmla="*/ 809625 h 1289050"/>
                  <a:gd name="connsiteX22" fmla="*/ 120650 w 1412875"/>
                  <a:gd name="connsiteY22" fmla="*/ 809625 h 1289050"/>
                  <a:gd name="connsiteX23" fmla="*/ 123825 w 1412875"/>
                  <a:gd name="connsiteY23" fmla="*/ 882650 h 1289050"/>
                  <a:gd name="connsiteX24" fmla="*/ 177800 w 1412875"/>
                  <a:gd name="connsiteY24" fmla="*/ 920750 h 1289050"/>
                  <a:gd name="connsiteX25" fmla="*/ 136525 w 1412875"/>
                  <a:gd name="connsiteY25" fmla="*/ 968375 h 1289050"/>
                  <a:gd name="connsiteX26" fmla="*/ 180975 w 1412875"/>
                  <a:gd name="connsiteY26" fmla="*/ 1047750 h 1289050"/>
                  <a:gd name="connsiteX27" fmla="*/ 260350 w 1412875"/>
                  <a:gd name="connsiteY27" fmla="*/ 1085850 h 1289050"/>
                  <a:gd name="connsiteX28" fmla="*/ 314325 w 1412875"/>
                  <a:gd name="connsiteY28" fmla="*/ 1047750 h 1289050"/>
                  <a:gd name="connsiteX29" fmla="*/ 377825 w 1412875"/>
                  <a:gd name="connsiteY29" fmla="*/ 1123950 h 1289050"/>
                  <a:gd name="connsiteX30" fmla="*/ 434975 w 1412875"/>
                  <a:gd name="connsiteY30" fmla="*/ 1155700 h 1289050"/>
                  <a:gd name="connsiteX31" fmla="*/ 482600 w 1412875"/>
                  <a:gd name="connsiteY31" fmla="*/ 1155700 h 1289050"/>
                  <a:gd name="connsiteX32" fmla="*/ 482600 w 1412875"/>
                  <a:gd name="connsiteY32" fmla="*/ 1254125 h 1289050"/>
                  <a:gd name="connsiteX33" fmla="*/ 520700 w 1412875"/>
                  <a:gd name="connsiteY33" fmla="*/ 1263650 h 1289050"/>
                  <a:gd name="connsiteX34" fmla="*/ 581025 w 1412875"/>
                  <a:gd name="connsiteY34" fmla="*/ 1187450 h 1289050"/>
                  <a:gd name="connsiteX35" fmla="*/ 638175 w 1412875"/>
                  <a:gd name="connsiteY35" fmla="*/ 1212850 h 1289050"/>
                  <a:gd name="connsiteX36" fmla="*/ 673100 w 1412875"/>
                  <a:gd name="connsiteY36" fmla="*/ 1193800 h 1289050"/>
                  <a:gd name="connsiteX37" fmla="*/ 701675 w 1412875"/>
                  <a:gd name="connsiteY37" fmla="*/ 1225550 h 1289050"/>
                  <a:gd name="connsiteX38" fmla="*/ 755650 w 1412875"/>
                  <a:gd name="connsiteY38" fmla="*/ 1231900 h 1289050"/>
                  <a:gd name="connsiteX39" fmla="*/ 755650 w 1412875"/>
                  <a:gd name="connsiteY39" fmla="*/ 1196975 h 1289050"/>
                  <a:gd name="connsiteX40" fmla="*/ 1044575 w 1412875"/>
                  <a:gd name="connsiteY40" fmla="*/ 1289050 h 1289050"/>
                  <a:gd name="connsiteX41" fmla="*/ 1327150 w 1412875"/>
                  <a:gd name="connsiteY41" fmla="*/ 1155700 h 1289050"/>
                  <a:gd name="connsiteX42" fmla="*/ 1333500 w 1412875"/>
                  <a:gd name="connsiteY42" fmla="*/ 1085850 h 1289050"/>
                  <a:gd name="connsiteX43" fmla="*/ 1384300 w 1412875"/>
                  <a:gd name="connsiteY43" fmla="*/ 1050925 h 1289050"/>
                  <a:gd name="connsiteX44" fmla="*/ 1412875 w 1412875"/>
                  <a:gd name="connsiteY44" fmla="*/ 974725 h 128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1412875" h="1289050">
                    <a:moveTo>
                      <a:pt x="1412875" y="974725"/>
                    </a:moveTo>
                    <a:lnTo>
                      <a:pt x="1225550" y="641350"/>
                    </a:lnTo>
                    <a:lnTo>
                      <a:pt x="1057275" y="384175"/>
                    </a:lnTo>
                    <a:lnTo>
                      <a:pt x="1003300" y="403225"/>
                    </a:lnTo>
                    <a:lnTo>
                      <a:pt x="1003300" y="403225"/>
                    </a:lnTo>
                    <a:lnTo>
                      <a:pt x="977900" y="374650"/>
                    </a:lnTo>
                    <a:lnTo>
                      <a:pt x="901700" y="390525"/>
                    </a:lnTo>
                    <a:lnTo>
                      <a:pt x="831850" y="438150"/>
                    </a:lnTo>
                    <a:lnTo>
                      <a:pt x="755650" y="438150"/>
                    </a:lnTo>
                    <a:lnTo>
                      <a:pt x="711200" y="387350"/>
                    </a:lnTo>
                    <a:lnTo>
                      <a:pt x="679450" y="415925"/>
                    </a:lnTo>
                    <a:cubicBezTo>
                      <a:pt x="680508" y="277283"/>
                      <a:pt x="681567" y="138642"/>
                      <a:pt x="682625" y="0"/>
                    </a:cubicBezTo>
                    <a:lnTo>
                      <a:pt x="650875" y="98425"/>
                    </a:lnTo>
                    <a:lnTo>
                      <a:pt x="542925" y="187325"/>
                    </a:lnTo>
                    <a:lnTo>
                      <a:pt x="457200" y="276225"/>
                    </a:lnTo>
                    <a:lnTo>
                      <a:pt x="457200" y="333375"/>
                    </a:lnTo>
                    <a:lnTo>
                      <a:pt x="400050" y="406400"/>
                    </a:lnTo>
                    <a:lnTo>
                      <a:pt x="111125" y="425450"/>
                    </a:lnTo>
                    <a:lnTo>
                      <a:pt x="85725" y="542925"/>
                    </a:lnTo>
                    <a:lnTo>
                      <a:pt x="0" y="688975"/>
                    </a:lnTo>
                    <a:lnTo>
                      <a:pt x="31750" y="765175"/>
                    </a:lnTo>
                    <a:lnTo>
                      <a:pt x="66675" y="809625"/>
                    </a:lnTo>
                    <a:lnTo>
                      <a:pt x="120650" y="809625"/>
                    </a:lnTo>
                    <a:lnTo>
                      <a:pt x="123825" y="882650"/>
                    </a:lnTo>
                    <a:lnTo>
                      <a:pt x="177800" y="920750"/>
                    </a:lnTo>
                    <a:lnTo>
                      <a:pt x="136525" y="968375"/>
                    </a:lnTo>
                    <a:lnTo>
                      <a:pt x="180975" y="1047750"/>
                    </a:lnTo>
                    <a:lnTo>
                      <a:pt x="260350" y="1085850"/>
                    </a:lnTo>
                    <a:lnTo>
                      <a:pt x="314325" y="1047750"/>
                    </a:lnTo>
                    <a:lnTo>
                      <a:pt x="377825" y="1123950"/>
                    </a:lnTo>
                    <a:lnTo>
                      <a:pt x="434975" y="1155700"/>
                    </a:lnTo>
                    <a:lnTo>
                      <a:pt x="482600" y="1155700"/>
                    </a:lnTo>
                    <a:lnTo>
                      <a:pt x="482600" y="1254125"/>
                    </a:lnTo>
                    <a:lnTo>
                      <a:pt x="520700" y="1263650"/>
                    </a:lnTo>
                    <a:lnTo>
                      <a:pt x="581025" y="1187450"/>
                    </a:lnTo>
                    <a:lnTo>
                      <a:pt x="638175" y="1212850"/>
                    </a:lnTo>
                    <a:lnTo>
                      <a:pt x="673100" y="1193800"/>
                    </a:lnTo>
                    <a:lnTo>
                      <a:pt x="701675" y="1225550"/>
                    </a:lnTo>
                    <a:lnTo>
                      <a:pt x="755650" y="1231900"/>
                    </a:lnTo>
                    <a:lnTo>
                      <a:pt x="755650" y="1196975"/>
                    </a:lnTo>
                    <a:lnTo>
                      <a:pt x="1044575" y="1289050"/>
                    </a:lnTo>
                    <a:lnTo>
                      <a:pt x="1327150" y="1155700"/>
                    </a:lnTo>
                    <a:lnTo>
                      <a:pt x="1333500" y="1085850"/>
                    </a:lnTo>
                    <a:lnTo>
                      <a:pt x="1384300" y="1050925"/>
                    </a:lnTo>
                    <a:lnTo>
                      <a:pt x="1412875" y="97472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Forma libre 19"/>
              <p:cNvSpPr/>
              <p:nvPr/>
            </p:nvSpPr>
            <p:spPr>
              <a:xfrm>
                <a:off x="1128522" y="6508179"/>
                <a:ext cx="88335" cy="123430"/>
              </a:xfrm>
              <a:custGeom>
                <a:avLst/>
                <a:gdLst>
                  <a:gd name="connsiteX0" fmla="*/ 530225 w 590550"/>
                  <a:gd name="connsiteY0" fmla="*/ 28575 h 781050"/>
                  <a:gd name="connsiteX1" fmla="*/ 539750 w 590550"/>
                  <a:gd name="connsiteY1" fmla="*/ 76200 h 781050"/>
                  <a:gd name="connsiteX2" fmla="*/ 536575 w 590550"/>
                  <a:gd name="connsiteY2" fmla="*/ 114300 h 781050"/>
                  <a:gd name="connsiteX3" fmla="*/ 476250 w 590550"/>
                  <a:gd name="connsiteY3" fmla="*/ 107950 h 781050"/>
                  <a:gd name="connsiteX4" fmla="*/ 495300 w 590550"/>
                  <a:gd name="connsiteY4" fmla="*/ 168275 h 781050"/>
                  <a:gd name="connsiteX5" fmla="*/ 533400 w 590550"/>
                  <a:gd name="connsiteY5" fmla="*/ 168275 h 781050"/>
                  <a:gd name="connsiteX6" fmla="*/ 590550 w 590550"/>
                  <a:gd name="connsiteY6" fmla="*/ 295275 h 781050"/>
                  <a:gd name="connsiteX7" fmla="*/ 561975 w 590550"/>
                  <a:gd name="connsiteY7" fmla="*/ 333375 h 781050"/>
                  <a:gd name="connsiteX8" fmla="*/ 590550 w 590550"/>
                  <a:gd name="connsiteY8" fmla="*/ 400050 h 781050"/>
                  <a:gd name="connsiteX9" fmla="*/ 533400 w 590550"/>
                  <a:gd name="connsiteY9" fmla="*/ 377825 h 781050"/>
                  <a:gd name="connsiteX10" fmla="*/ 533400 w 590550"/>
                  <a:gd name="connsiteY10" fmla="*/ 434975 h 781050"/>
                  <a:gd name="connsiteX11" fmla="*/ 469900 w 590550"/>
                  <a:gd name="connsiteY11" fmla="*/ 454025 h 781050"/>
                  <a:gd name="connsiteX12" fmla="*/ 415925 w 590550"/>
                  <a:gd name="connsiteY12" fmla="*/ 498475 h 781050"/>
                  <a:gd name="connsiteX13" fmla="*/ 358775 w 590550"/>
                  <a:gd name="connsiteY13" fmla="*/ 501650 h 781050"/>
                  <a:gd name="connsiteX14" fmla="*/ 349250 w 590550"/>
                  <a:gd name="connsiteY14" fmla="*/ 546100 h 781050"/>
                  <a:gd name="connsiteX15" fmla="*/ 403225 w 590550"/>
                  <a:gd name="connsiteY15" fmla="*/ 587375 h 781050"/>
                  <a:gd name="connsiteX16" fmla="*/ 406400 w 590550"/>
                  <a:gd name="connsiteY16" fmla="*/ 774700 h 781050"/>
                  <a:gd name="connsiteX17" fmla="*/ 298450 w 590550"/>
                  <a:gd name="connsiteY17" fmla="*/ 781050 h 781050"/>
                  <a:gd name="connsiteX18" fmla="*/ 254000 w 590550"/>
                  <a:gd name="connsiteY18" fmla="*/ 755650 h 781050"/>
                  <a:gd name="connsiteX19" fmla="*/ 203200 w 590550"/>
                  <a:gd name="connsiteY19" fmla="*/ 755650 h 781050"/>
                  <a:gd name="connsiteX20" fmla="*/ 104775 w 590550"/>
                  <a:gd name="connsiteY20" fmla="*/ 701675 h 781050"/>
                  <a:gd name="connsiteX21" fmla="*/ 98425 w 590550"/>
                  <a:gd name="connsiteY21" fmla="*/ 628650 h 781050"/>
                  <a:gd name="connsiteX22" fmla="*/ 130175 w 590550"/>
                  <a:gd name="connsiteY22" fmla="*/ 609600 h 781050"/>
                  <a:gd name="connsiteX23" fmla="*/ 123825 w 590550"/>
                  <a:gd name="connsiteY23" fmla="*/ 577850 h 781050"/>
                  <a:gd name="connsiteX24" fmla="*/ 142875 w 590550"/>
                  <a:gd name="connsiteY24" fmla="*/ 514350 h 781050"/>
                  <a:gd name="connsiteX25" fmla="*/ 38100 w 590550"/>
                  <a:gd name="connsiteY25" fmla="*/ 530225 h 781050"/>
                  <a:gd name="connsiteX26" fmla="*/ 0 w 590550"/>
                  <a:gd name="connsiteY26" fmla="*/ 517525 h 781050"/>
                  <a:gd name="connsiteX27" fmla="*/ 63500 w 590550"/>
                  <a:gd name="connsiteY27" fmla="*/ 469900 h 781050"/>
                  <a:gd name="connsiteX28" fmla="*/ 60325 w 590550"/>
                  <a:gd name="connsiteY28" fmla="*/ 377825 h 781050"/>
                  <a:gd name="connsiteX29" fmla="*/ 123825 w 590550"/>
                  <a:gd name="connsiteY29" fmla="*/ 295275 h 781050"/>
                  <a:gd name="connsiteX30" fmla="*/ 123825 w 590550"/>
                  <a:gd name="connsiteY30" fmla="*/ 263525 h 781050"/>
                  <a:gd name="connsiteX31" fmla="*/ 238125 w 590550"/>
                  <a:gd name="connsiteY31" fmla="*/ 174625 h 781050"/>
                  <a:gd name="connsiteX32" fmla="*/ 307975 w 590550"/>
                  <a:gd name="connsiteY32" fmla="*/ 85725 h 781050"/>
                  <a:gd name="connsiteX33" fmla="*/ 307975 w 590550"/>
                  <a:gd name="connsiteY33" fmla="*/ 0 h 781050"/>
                  <a:gd name="connsiteX34" fmla="*/ 393700 w 590550"/>
                  <a:gd name="connsiteY34" fmla="*/ 31750 h 781050"/>
                  <a:gd name="connsiteX35" fmla="*/ 463550 w 590550"/>
                  <a:gd name="connsiteY35" fmla="*/ 0 h 781050"/>
                  <a:gd name="connsiteX36" fmla="*/ 530225 w 590550"/>
                  <a:gd name="connsiteY36" fmla="*/ 28575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590550" h="781050">
                    <a:moveTo>
                      <a:pt x="530225" y="28575"/>
                    </a:moveTo>
                    <a:lnTo>
                      <a:pt x="539750" y="76200"/>
                    </a:lnTo>
                    <a:lnTo>
                      <a:pt x="536575" y="114300"/>
                    </a:lnTo>
                    <a:lnTo>
                      <a:pt x="476250" y="107950"/>
                    </a:lnTo>
                    <a:lnTo>
                      <a:pt x="495300" y="168275"/>
                    </a:lnTo>
                    <a:lnTo>
                      <a:pt x="533400" y="168275"/>
                    </a:lnTo>
                    <a:lnTo>
                      <a:pt x="590550" y="295275"/>
                    </a:lnTo>
                    <a:lnTo>
                      <a:pt x="561975" y="333375"/>
                    </a:lnTo>
                    <a:lnTo>
                      <a:pt x="590550" y="400050"/>
                    </a:lnTo>
                    <a:lnTo>
                      <a:pt x="533400" y="377825"/>
                    </a:lnTo>
                    <a:lnTo>
                      <a:pt x="533400" y="434975"/>
                    </a:lnTo>
                    <a:lnTo>
                      <a:pt x="469900" y="454025"/>
                    </a:lnTo>
                    <a:lnTo>
                      <a:pt x="415925" y="498475"/>
                    </a:lnTo>
                    <a:lnTo>
                      <a:pt x="358775" y="501650"/>
                    </a:lnTo>
                    <a:lnTo>
                      <a:pt x="349250" y="546100"/>
                    </a:lnTo>
                    <a:lnTo>
                      <a:pt x="403225" y="587375"/>
                    </a:lnTo>
                    <a:cubicBezTo>
                      <a:pt x="404283" y="649817"/>
                      <a:pt x="405342" y="712258"/>
                      <a:pt x="406400" y="774700"/>
                    </a:cubicBezTo>
                    <a:lnTo>
                      <a:pt x="298450" y="781050"/>
                    </a:lnTo>
                    <a:lnTo>
                      <a:pt x="254000" y="755650"/>
                    </a:lnTo>
                    <a:lnTo>
                      <a:pt x="203200" y="755650"/>
                    </a:lnTo>
                    <a:lnTo>
                      <a:pt x="104775" y="701675"/>
                    </a:lnTo>
                    <a:lnTo>
                      <a:pt x="98425" y="628650"/>
                    </a:lnTo>
                    <a:lnTo>
                      <a:pt x="130175" y="609600"/>
                    </a:lnTo>
                    <a:lnTo>
                      <a:pt x="123825" y="577850"/>
                    </a:lnTo>
                    <a:lnTo>
                      <a:pt x="142875" y="514350"/>
                    </a:lnTo>
                    <a:lnTo>
                      <a:pt x="38100" y="530225"/>
                    </a:lnTo>
                    <a:lnTo>
                      <a:pt x="0" y="517525"/>
                    </a:lnTo>
                    <a:lnTo>
                      <a:pt x="63500" y="469900"/>
                    </a:lnTo>
                    <a:lnTo>
                      <a:pt x="60325" y="377825"/>
                    </a:lnTo>
                    <a:lnTo>
                      <a:pt x="123825" y="295275"/>
                    </a:lnTo>
                    <a:lnTo>
                      <a:pt x="123825" y="263525"/>
                    </a:lnTo>
                    <a:lnTo>
                      <a:pt x="238125" y="174625"/>
                    </a:lnTo>
                    <a:lnTo>
                      <a:pt x="307975" y="85725"/>
                    </a:lnTo>
                    <a:lnTo>
                      <a:pt x="307975" y="0"/>
                    </a:lnTo>
                    <a:lnTo>
                      <a:pt x="393700" y="31750"/>
                    </a:lnTo>
                    <a:lnTo>
                      <a:pt x="463550" y="0"/>
                    </a:lnTo>
                    <a:lnTo>
                      <a:pt x="530225" y="2857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Forma libre 20"/>
              <p:cNvSpPr/>
              <p:nvPr/>
            </p:nvSpPr>
            <p:spPr>
              <a:xfrm>
                <a:off x="1096228" y="6568389"/>
                <a:ext cx="98308" cy="142998"/>
              </a:xfrm>
              <a:custGeom>
                <a:avLst/>
                <a:gdLst>
                  <a:gd name="connsiteX0" fmla="*/ 66675 w 657225"/>
                  <a:gd name="connsiteY0" fmla="*/ 114300 h 904875"/>
                  <a:gd name="connsiteX1" fmla="*/ 92075 w 657225"/>
                  <a:gd name="connsiteY1" fmla="*/ 180975 h 904875"/>
                  <a:gd name="connsiteX2" fmla="*/ 66675 w 657225"/>
                  <a:gd name="connsiteY2" fmla="*/ 301625 h 904875"/>
                  <a:gd name="connsiteX3" fmla="*/ 34925 w 657225"/>
                  <a:gd name="connsiteY3" fmla="*/ 266700 h 904875"/>
                  <a:gd name="connsiteX4" fmla="*/ 0 w 657225"/>
                  <a:gd name="connsiteY4" fmla="*/ 330200 h 904875"/>
                  <a:gd name="connsiteX5" fmla="*/ 50800 w 657225"/>
                  <a:gd name="connsiteY5" fmla="*/ 333375 h 904875"/>
                  <a:gd name="connsiteX6" fmla="*/ 60325 w 657225"/>
                  <a:gd name="connsiteY6" fmla="*/ 415925 h 904875"/>
                  <a:gd name="connsiteX7" fmla="*/ 120650 w 657225"/>
                  <a:gd name="connsiteY7" fmla="*/ 463550 h 904875"/>
                  <a:gd name="connsiteX8" fmla="*/ 85725 w 657225"/>
                  <a:gd name="connsiteY8" fmla="*/ 485775 h 904875"/>
                  <a:gd name="connsiteX9" fmla="*/ 177800 w 657225"/>
                  <a:gd name="connsiteY9" fmla="*/ 561975 h 904875"/>
                  <a:gd name="connsiteX10" fmla="*/ 184150 w 657225"/>
                  <a:gd name="connsiteY10" fmla="*/ 609600 h 904875"/>
                  <a:gd name="connsiteX11" fmla="*/ 349250 w 657225"/>
                  <a:gd name="connsiteY11" fmla="*/ 711200 h 904875"/>
                  <a:gd name="connsiteX12" fmla="*/ 342900 w 657225"/>
                  <a:gd name="connsiteY12" fmla="*/ 742950 h 904875"/>
                  <a:gd name="connsiteX13" fmla="*/ 377825 w 657225"/>
                  <a:gd name="connsiteY13" fmla="*/ 749300 h 904875"/>
                  <a:gd name="connsiteX14" fmla="*/ 400050 w 657225"/>
                  <a:gd name="connsiteY14" fmla="*/ 800100 h 904875"/>
                  <a:gd name="connsiteX15" fmla="*/ 454025 w 657225"/>
                  <a:gd name="connsiteY15" fmla="*/ 812800 h 904875"/>
                  <a:gd name="connsiteX16" fmla="*/ 476250 w 657225"/>
                  <a:gd name="connsiteY16" fmla="*/ 885825 h 904875"/>
                  <a:gd name="connsiteX17" fmla="*/ 511175 w 657225"/>
                  <a:gd name="connsiteY17" fmla="*/ 904875 h 904875"/>
                  <a:gd name="connsiteX18" fmla="*/ 561975 w 657225"/>
                  <a:gd name="connsiteY18" fmla="*/ 800100 h 904875"/>
                  <a:gd name="connsiteX19" fmla="*/ 654050 w 657225"/>
                  <a:gd name="connsiteY19" fmla="*/ 755650 h 904875"/>
                  <a:gd name="connsiteX20" fmla="*/ 657225 w 657225"/>
                  <a:gd name="connsiteY20" fmla="*/ 695325 h 904875"/>
                  <a:gd name="connsiteX21" fmla="*/ 628650 w 657225"/>
                  <a:gd name="connsiteY21" fmla="*/ 666750 h 904875"/>
                  <a:gd name="connsiteX22" fmla="*/ 631825 w 657225"/>
                  <a:gd name="connsiteY22" fmla="*/ 628650 h 904875"/>
                  <a:gd name="connsiteX23" fmla="*/ 596900 w 657225"/>
                  <a:gd name="connsiteY23" fmla="*/ 644525 h 904875"/>
                  <a:gd name="connsiteX24" fmla="*/ 584200 w 657225"/>
                  <a:gd name="connsiteY24" fmla="*/ 606425 h 904875"/>
                  <a:gd name="connsiteX25" fmla="*/ 609600 w 657225"/>
                  <a:gd name="connsiteY25" fmla="*/ 593725 h 904875"/>
                  <a:gd name="connsiteX26" fmla="*/ 577850 w 657225"/>
                  <a:gd name="connsiteY26" fmla="*/ 565150 h 904875"/>
                  <a:gd name="connsiteX27" fmla="*/ 520700 w 657225"/>
                  <a:gd name="connsiteY27" fmla="*/ 596900 h 904875"/>
                  <a:gd name="connsiteX28" fmla="*/ 501650 w 657225"/>
                  <a:gd name="connsiteY28" fmla="*/ 558800 h 904875"/>
                  <a:gd name="connsiteX29" fmla="*/ 504825 w 657225"/>
                  <a:gd name="connsiteY29" fmla="*/ 520700 h 904875"/>
                  <a:gd name="connsiteX30" fmla="*/ 504825 w 657225"/>
                  <a:gd name="connsiteY30" fmla="*/ 520700 h 904875"/>
                  <a:gd name="connsiteX31" fmla="*/ 463550 w 657225"/>
                  <a:gd name="connsiteY31" fmla="*/ 511175 h 904875"/>
                  <a:gd name="connsiteX32" fmla="*/ 527050 w 657225"/>
                  <a:gd name="connsiteY32" fmla="*/ 463550 h 904875"/>
                  <a:gd name="connsiteX33" fmla="*/ 498475 w 657225"/>
                  <a:gd name="connsiteY33" fmla="*/ 454025 h 904875"/>
                  <a:gd name="connsiteX34" fmla="*/ 504825 w 657225"/>
                  <a:gd name="connsiteY34" fmla="*/ 409575 h 904875"/>
                  <a:gd name="connsiteX35" fmla="*/ 460375 w 657225"/>
                  <a:gd name="connsiteY35" fmla="*/ 381000 h 904875"/>
                  <a:gd name="connsiteX36" fmla="*/ 425450 w 657225"/>
                  <a:gd name="connsiteY36" fmla="*/ 396875 h 904875"/>
                  <a:gd name="connsiteX37" fmla="*/ 301625 w 657225"/>
                  <a:gd name="connsiteY37" fmla="*/ 327025 h 904875"/>
                  <a:gd name="connsiteX38" fmla="*/ 295275 w 657225"/>
                  <a:gd name="connsiteY38" fmla="*/ 244475 h 904875"/>
                  <a:gd name="connsiteX39" fmla="*/ 327025 w 657225"/>
                  <a:gd name="connsiteY39" fmla="*/ 225425 h 904875"/>
                  <a:gd name="connsiteX40" fmla="*/ 323850 w 657225"/>
                  <a:gd name="connsiteY40" fmla="*/ 193675 h 904875"/>
                  <a:gd name="connsiteX41" fmla="*/ 352425 w 657225"/>
                  <a:gd name="connsiteY41" fmla="*/ 139700 h 904875"/>
                  <a:gd name="connsiteX42" fmla="*/ 273050 w 657225"/>
                  <a:gd name="connsiteY42" fmla="*/ 171450 h 904875"/>
                  <a:gd name="connsiteX43" fmla="*/ 196850 w 657225"/>
                  <a:gd name="connsiteY43" fmla="*/ 149225 h 904875"/>
                  <a:gd name="connsiteX44" fmla="*/ 266700 w 657225"/>
                  <a:gd name="connsiteY44" fmla="*/ 82550 h 904875"/>
                  <a:gd name="connsiteX45" fmla="*/ 263525 w 657225"/>
                  <a:gd name="connsiteY45" fmla="*/ 9525 h 904875"/>
                  <a:gd name="connsiteX46" fmla="*/ 177800 w 657225"/>
                  <a:gd name="connsiteY46" fmla="*/ 0 h 904875"/>
                  <a:gd name="connsiteX47" fmla="*/ 66675 w 657225"/>
                  <a:gd name="connsiteY47" fmla="*/ 114300 h 90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57225" h="904875">
                    <a:moveTo>
                      <a:pt x="66675" y="114300"/>
                    </a:moveTo>
                    <a:lnTo>
                      <a:pt x="92075" y="180975"/>
                    </a:lnTo>
                    <a:lnTo>
                      <a:pt x="66675" y="301625"/>
                    </a:lnTo>
                    <a:lnTo>
                      <a:pt x="34925" y="266700"/>
                    </a:lnTo>
                    <a:lnTo>
                      <a:pt x="0" y="330200"/>
                    </a:lnTo>
                    <a:lnTo>
                      <a:pt x="50800" y="333375"/>
                    </a:lnTo>
                    <a:lnTo>
                      <a:pt x="60325" y="415925"/>
                    </a:lnTo>
                    <a:lnTo>
                      <a:pt x="120650" y="463550"/>
                    </a:lnTo>
                    <a:lnTo>
                      <a:pt x="85725" y="485775"/>
                    </a:lnTo>
                    <a:lnTo>
                      <a:pt x="177800" y="561975"/>
                    </a:lnTo>
                    <a:lnTo>
                      <a:pt x="184150" y="609600"/>
                    </a:lnTo>
                    <a:lnTo>
                      <a:pt x="349250" y="711200"/>
                    </a:lnTo>
                    <a:lnTo>
                      <a:pt x="342900" y="742950"/>
                    </a:lnTo>
                    <a:lnTo>
                      <a:pt x="377825" y="749300"/>
                    </a:lnTo>
                    <a:lnTo>
                      <a:pt x="400050" y="800100"/>
                    </a:lnTo>
                    <a:lnTo>
                      <a:pt x="454025" y="812800"/>
                    </a:lnTo>
                    <a:lnTo>
                      <a:pt x="476250" y="885825"/>
                    </a:lnTo>
                    <a:lnTo>
                      <a:pt x="511175" y="904875"/>
                    </a:lnTo>
                    <a:lnTo>
                      <a:pt x="561975" y="800100"/>
                    </a:lnTo>
                    <a:lnTo>
                      <a:pt x="654050" y="755650"/>
                    </a:lnTo>
                    <a:lnTo>
                      <a:pt x="657225" y="695325"/>
                    </a:lnTo>
                    <a:lnTo>
                      <a:pt x="628650" y="666750"/>
                    </a:lnTo>
                    <a:lnTo>
                      <a:pt x="631825" y="628650"/>
                    </a:lnTo>
                    <a:lnTo>
                      <a:pt x="596900" y="644525"/>
                    </a:lnTo>
                    <a:lnTo>
                      <a:pt x="584200" y="606425"/>
                    </a:lnTo>
                    <a:lnTo>
                      <a:pt x="609600" y="593725"/>
                    </a:lnTo>
                    <a:lnTo>
                      <a:pt x="577850" y="565150"/>
                    </a:lnTo>
                    <a:lnTo>
                      <a:pt x="520700" y="596900"/>
                    </a:lnTo>
                    <a:lnTo>
                      <a:pt x="501650" y="558800"/>
                    </a:lnTo>
                    <a:lnTo>
                      <a:pt x="504825" y="520700"/>
                    </a:lnTo>
                    <a:lnTo>
                      <a:pt x="504825" y="520700"/>
                    </a:lnTo>
                    <a:lnTo>
                      <a:pt x="463550" y="511175"/>
                    </a:lnTo>
                    <a:lnTo>
                      <a:pt x="527050" y="463550"/>
                    </a:lnTo>
                    <a:lnTo>
                      <a:pt x="498475" y="454025"/>
                    </a:lnTo>
                    <a:lnTo>
                      <a:pt x="504825" y="409575"/>
                    </a:lnTo>
                    <a:lnTo>
                      <a:pt x="460375" y="381000"/>
                    </a:lnTo>
                    <a:lnTo>
                      <a:pt x="425450" y="396875"/>
                    </a:lnTo>
                    <a:lnTo>
                      <a:pt x="301625" y="327025"/>
                    </a:lnTo>
                    <a:lnTo>
                      <a:pt x="295275" y="244475"/>
                    </a:lnTo>
                    <a:lnTo>
                      <a:pt x="327025" y="225425"/>
                    </a:lnTo>
                    <a:lnTo>
                      <a:pt x="323850" y="193675"/>
                    </a:lnTo>
                    <a:lnTo>
                      <a:pt x="352425" y="139700"/>
                    </a:lnTo>
                    <a:lnTo>
                      <a:pt x="273050" y="171450"/>
                    </a:lnTo>
                    <a:lnTo>
                      <a:pt x="196850" y="149225"/>
                    </a:lnTo>
                    <a:lnTo>
                      <a:pt x="266700" y="82550"/>
                    </a:lnTo>
                    <a:lnTo>
                      <a:pt x="263525" y="9525"/>
                    </a:lnTo>
                    <a:lnTo>
                      <a:pt x="177800" y="0"/>
                    </a:lnTo>
                    <a:lnTo>
                      <a:pt x="66675" y="11430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Forma libre 21"/>
              <p:cNvSpPr/>
              <p:nvPr/>
            </p:nvSpPr>
            <p:spPr>
              <a:xfrm>
                <a:off x="1168415" y="6519719"/>
                <a:ext cx="128228" cy="199696"/>
              </a:xfrm>
              <a:custGeom>
                <a:avLst/>
                <a:gdLst>
                  <a:gd name="connsiteX0" fmla="*/ 269875 w 844550"/>
                  <a:gd name="connsiteY0" fmla="*/ 0 h 1260475"/>
                  <a:gd name="connsiteX1" fmla="*/ 365125 w 844550"/>
                  <a:gd name="connsiteY1" fmla="*/ 47625 h 1260475"/>
                  <a:gd name="connsiteX2" fmla="*/ 428625 w 844550"/>
                  <a:gd name="connsiteY2" fmla="*/ 12700 h 1260475"/>
                  <a:gd name="connsiteX3" fmla="*/ 425450 w 844550"/>
                  <a:gd name="connsiteY3" fmla="*/ 50800 h 1260475"/>
                  <a:gd name="connsiteX4" fmla="*/ 476250 w 844550"/>
                  <a:gd name="connsiteY4" fmla="*/ 111125 h 1260475"/>
                  <a:gd name="connsiteX5" fmla="*/ 495300 w 844550"/>
                  <a:gd name="connsiteY5" fmla="*/ 168275 h 1260475"/>
                  <a:gd name="connsiteX6" fmla="*/ 523875 w 844550"/>
                  <a:gd name="connsiteY6" fmla="*/ 168275 h 1260475"/>
                  <a:gd name="connsiteX7" fmla="*/ 596900 w 844550"/>
                  <a:gd name="connsiteY7" fmla="*/ 269875 h 1260475"/>
                  <a:gd name="connsiteX8" fmla="*/ 596900 w 844550"/>
                  <a:gd name="connsiteY8" fmla="*/ 301625 h 1260475"/>
                  <a:gd name="connsiteX9" fmla="*/ 679450 w 844550"/>
                  <a:gd name="connsiteY9" fmla="*/ 425450 h 1260475"/>
                  <a:gd name="connsiteX10" fmla="*/ 701675 w 844550"/>
                  <a:gd name="connsiteY10" fmla="*/ 457200 h 1260475"/>
                  <a:gd name="connsiteX11" fmla="*/ 647700 w 844550"/>
                  <a:gd name="connsiteY11" fmla="*/ 463550 h 1260475"/>
                  <a:gd name="connsiteX12" fmla="*/ 606425 w 844550"/>
                  <a:gd name="connsiteY12" fmla="*/ 450850 h 1260475"/>
                  <a:gd name="connsiteX13" fmla="*/ 520700 w 844550"/>
                  <a:gd name="connsiteY13" fmla="*/ 396875 h 1260475"/>
                  <a:gd name="connsiteX14" fmla="*/ 514350 w 844550"/>
                  <a:gd name="connsiteY14" fmla="*/ 346075 h 1260475"/>
                  <a:gd name="connsiteX15" fmla="*/ 460375 w 844550"/>
                  <a:gd name="connsiteY15" fmla="*/ 400050 h 1260475"/>
                  <a:gd name="connsiteX16" fmla="*/ 460375 w 844550"/>
                  <a:gd name="connsiteY16" fmla="*/ 400050 h 1260475"/>
                  <a:gd name="connsiteX17" fmla="*/ 473075 w 844550"/>
                  <a:gd name="connsiteY17" fmla="*/ 479425 h 1260475"/>
                  <a:gd name="connsiteX18" fmla="*/ 495300 w 844550"/>
                  <a:gd name="connsiteY18" fmla="*/ 539750 h 1260475"/>
                  <a:gd name="connsiteX19" fmla="*/ 536575 w 844550"/>
                  <a:gd name="connsiteY19" fmla="*/ 568325 h 1260475"/>
                  <a:gd name="connsiteX20" fmla="*/ 492125 w 844550"/>
                  <a:gd name="connsiteY20" fmla="*/ 577850 h 1260475"/>
                  <a:gd name="connsiteX21" fmla="*/ 549275 w 844550"/>
                  <a:gd name="connsiteY21" fmla="*/ 688975 h 1260475"/>
                  <a:gd name="connsiteX22" fmla="*/ 587375 w 844550"/>
                  <a:gd name="connsiteY22" fmla="*/ 771525 h 1260475"/>
                  <a:gd name="connsiteX23" fmla="*/ 574675 w 844550"/>
                  <a:gd name="connsiteY23" fmla="*/ 835025 h 1260475"/>
                  <a:gd name="connsiteX24" fmla="*/ 587375 w 844550"/>
                  <a:gd name="connsiteY24" fmla="*/ 920750 h 1260475"/>
                  <a:gd name="connsiteX25" fmla="*/ 558800 w 844550"/>
                  <a:gd name="connsiteY25" fmla="*/ 933450 h 1260475"/>
                  <a:gd name="connsiteX26" fmla="*/ 577850 w 844550"/>
                  <a:gd name="connsiteY26" fmla="*/ 974725 h 1260475"/>
                  <a:gd name="connsiteX27" fmla="*/ 619125 w 844550"/>
                  <a:gd name="connsiteY27" fmla="*/ 987425 h 1260475"/>
                  <a:gd name="connsiteX28" fmla="*/ 641350 w 844550"/>
                  <a:gd name="connsiteY28" fmla="*/ 930275 h 1260475"/>
                  <a:gd name="connsiteX29" fmla="*/ 676275 w 844550"/>
                  <a:gd name="connsiteY29" fmla="*/ 955675 h 1260475"/>
                  <a:gd name="connsiteX30" fmla="*/ 787400 w 844550"/>
                  <a:gd name="connsiteY30" fmla="*/ 914400 h 1260475"/>
                  <a:gd name="connsiteX31" fmla="*/ 844550 w 844550"/>
                  <a:gd name="connsiteY31" fmla="*/ 946150 h 1260475"/>
                  <a:gd name="connsiteX32" fmla="*/ 787400 w 844550"/>
                  <a:gd name="connsiteY32" fmla="*/ 968375 h 1260475"/>
                  <a:gd name="connsiteX33" fmla="*/ 768350 w 844550"/>
                  <a:gd name="connsiteY33" fmla="*/ 1000125 h 1260475"/>
                  <a:gd name="connsiteX34" fmla="*/ 790575 w 844550"/>
                  <a:gd name="connsiteY34" fmla="*/ 1038225 h 1260475"/>
                  <a:gd name="connsiteX35" fmla="*/ 774700 w 844550"/>
                  <a:gd name="connsiteY35" fmla="*/ 1092200 h 1260475"/>
                  <a:gd name="connsiteX36" fmla="*/ 736600 w 844550"/>
                  <a:gd name="connsiteY36" fmla="*/ 1120775 h 1260475"/>
                  <a:gd name="connsiteX37" fmla="*/ 717550 w 844550"/>
                  <a:gd name="connsiteY37" fmla="*/ 1152525 h 1260475"/>
                  <a:gd name="connsiteX38" fmla="*/ 679450 w 844550"/>
                  <a:gd name="connsiteY38" fmla="*/ 1146175 h 1260475"/>
                  <a:gd name="connsiteX39" fmla="*/ 676275 w 844550"/>
                  <a:gd name="connsiteY39" fmla="*/ 1196975 h 1260475"/>
                  <a:gd name="connsiteX40" fmla="*/ 615950 w 844550"/>
                  <a:gd name="connsiteY40" fmla="*/ 1181100 h 1260475"/>
                  <a:gd name="connsiteX41" fmla="*/ 530225 w 844550"/>
                  <a:gd name="connsiteY41" fmla="*/ 1206500 h 1260475"/>
                  <a:gd name="connsiteX42" fmla="*/ 473075 w 844550"/>
                  <a:gd name="connsiteY42" fmla="*/ 1165225 h 1260475"/>
                  <a:gd name="connsiteX43" fmla="*/ 473075 w 844550"/>
                  <a:gd name="connsiteY43" fmla="*/ 1165225 h 1260475"/>
                  <a:gd name="connsiteX44" fmla="*/ 454025 w 844550"/>
                  <a:gd name="connsiteY44" fmla="*/ 1196975 h 1260475"/>
                  <a:gd name="connsiteX45" fmla="*/ 387350 w 844550"/>
                  <a:gd name="connsiteY45" fmla="*/ 1260475 h 1260475"/>
                  <a:gd name="connsiteX46" fmla="*/ 403225 w 844550"/>
                  <a:gd name="connsiteY46" fmla="*/ 1203325 h 1260475"/>
                  <a:gd name="connsiteX47" fmla="*/ 381000 w 844550"/>
                  <a:gd name="connsiteY47" fmla="*/ 1187450 h 1260475"/>
                  <a:gd name="connsiteX48" fmla="*/ 346075 w 844550"/>
                  <a:gd name="connsiteY48" fmla="*/ 1216025 h 1260475"/>
                  <a:gd name="connsiteX49" fmla="*/ 298450 w 844550"/>
                  <a:gd name="connsiteY49" fmla="*/ 1219200 h 1260475"/>
                  <a:gd name="connsiteX50" fmla="*/ 288925 w 844550"/>
                  <a:gd name="connsiteY50" fmla="*/ 1184275 h 1260475"/>
                  <a:gd name="connsiteX51" fmla="*/ 298450 w 844550"/>
                  <a:gd name="connsiteY51" fmla="*/ 1171575 h 1260475"/>
                  <a:gd name="connsiteX52" fmla="*/ 260350 w 844550"/>
                  <a:gd name="connsiteY52" fmla="*/ 1162050 h 1260475"/>
                  <a:gd name="connsiteX53" fmla="*/ 260350 w 844550"/>
                  <a:gd name="connsiteY53" fmla="*/ 1111250 h 1260475"/>
                  <a:gd name="connsiteX54" fmla="*/ 133350 w 844550"/>
                  <a:gd name="connsiteY54" fmla="*/ 1092200 h 1260475"/>
                  <a:gd name="connsiteX55" fmla="*/ 177800 w 844550"/>
                  <a:gd name="connsiteY55" fmla="*/ 1054100 h 1260475"/>
                  <a:gd name="connsiteX56" fmla="*/ 165100 w 844550"/>
                  <a:gd name="connsiteY56" fmla="*/ 974725 h 1260475"/>
                  <a:gd name="connsiteX57" fmla="*/ 165100 w 844550"/>
                  <a:gd name="connsiteY57" fmla="*/ 974725 h 1260475"/>
                  <a:gd name="connsiteX58" fmla="*/ 165100 w 844550"/>
                  <a:gd name="connsiteY58" fmla="*/ 974725 h 1260475"/>
                  <a:gd name="connsiteX59" fmla="*/ 142875 w 844550"/>
                  <a:gd name="connsiteY59" fmla="*/ 917575 h 1260475"/>
                  <a:gd name="connsiteX60" fmla="*/ 104775 w 844550"/>
                  <a:gd name="connsiteY60" fmla="*/ 933450 h 1260475"/>
                  <a:gd name="connsiteX61" fmla="*/ 127000 w 844550"/>
                  <a:gd name="connsiteY61" fmla="*/ 892175 h 1260475"/>
                  <a:gd name="connsiteX62" fmla="*/ 85725 w 844550"/>
                  <a:gd name="connsiteY62" fmla="*/ 850900 h 1260475"/>
                  <a:gd name="connsiteX63" fmla="*/ 25400 w 844550"/>
                  <a:gd name="connsiteY63" fmla="*/ 882650 h 1260475"/>
                  <a:gd name="connsiteX64" fmla="*/ 22225 w 844550"/>
                  <a:gd name="connsiteY64" fmla="*/ 828675 h 1260475"/>
                  <a:gd name="connsiteX65" fmla="*/ 0 w 844550"/>
                  <a:gd name="connsiteY65" fmla="*/ 822325 h 1260475"/>
                  <a:gd name="connsiteX66" fmla="*/ 47625 w 844550"/>
                  <a:gd name="connsiteY66" fmla="*/ 765175 h 1260475"/>
                  <a:gd name="connsiteX67" fmla="*/ 22225 w 844550"/>
                  <a:gd name="connsiteY67" fmla="*/ 752475 h 1260475"/>
                  <a:gd name="connsiteX68" fmla="*/ 25400 w 844550"/>
                  <a:gd name="connsiteY68" fmla="*/ 711200 h 1260475"/>
                  <a:gd name="connsiteX69" fmla="*/ 136525 w 844550"/>
                  <a:gd name="connsiteY69" fmla="*/ 711200 h 1260475"/>
                  <a:gd name="connsiteX70" fmla="*/ 139700 w 844550"/>
                  <a:gd name="connsiteY70" fmla="*/ 504825 h 1260475"/>
                  <a:gd name="connsiteX71" fmla="*/ 82550 w 844550"/>
                  <a:gd name="connsiteY71" fmla="*/ 466725 h 1260475"/>
                  <a:gd name="connsiteX72" fmla="*/ 101600 w 844550"/>
                  <a:gd name="connsiteY72" fmla="*/ 441325 h 1260475"/>
                  <a:gd name="connsiteX73" fmla="*/ 161925 w 844550"/>
                  <a:gd name="connsiteY73" fmla="*/ 434975 h 1260475"/>
                  <a:gd name="connsiteX74" fmla="*/ 206375 w 844550"/>
                  <a:gd name="connsiteY74" fmla="*/ 393700 h 1260475"/>
                  <a:gd name="connsiteX75" fmla="*/ 285750 w 844550"/>
                  <a:gd name="connsiteY75" fmla="*/ 371475 h 1260475"/>
                  <a:gd name="connsiteX76" fmla="*/ 279400 w 844550"/>
                  <a:gd name="connsiteY76" fmla="*/ 330200 h 1260475"/>
                  <a:gd name="connsiteX77" fmla="*/ 333375 w 844550"/>
                  <a:gd name="connsiteY77" fmla="*/ 349250 h 1260475"/>
                  <a:gd name="connsiteX78" fmla="*/ 304800 w 844550"/>
                  <a:gd name="connsiteY78" fmla="*/ 263525 h 1260475"/>
                  <a:gd name="connsiteX79" fmla="*/ 330200 w 844550"/>
                  <a:gd name="connsiteY79" fmla="*/ 215900 h 1260475"/>
                  <a:gd name="connsiteX80" fmla="*/ 250825 w 844550"/>
                  <a:gd name="connsiteY80" fmla="*/ 69850 h 1260475"/>
                  <a:gd name="connsiteX81" fmla="*/ 250825 w 844550"/>
                  <a:gd name="connsiteY81" fmla="*/ 69850 h 1260475"/>
                  <a:gd name="connsiteX82" fmla="*/ 212725 w 844550"/>
                  <a:gd name="connsiteY82" fmla="*/ 69850 h 1260475"/>
                  <a:gd name="connsiteX83" fmla="*/ 206375 w 844550"/>
                  <a:gd name="connsiteY83" fmla="*/ 41275 h 1260475"/>
                  <a:gd name="connsiteX84" fmla="*/ 269875 w 844550"/>
                  <a:gd name="connsiteY84" fmla="*/ 0 h 1260475"/>
                  <a:gd name="connsiteX0" fmla="*/ 279400 w 844550"/>
                  <a:gd name="connsiteY0" fmla="*/ 6350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06375 w 844550"/>
                  <a:gd name="connsiteY83" fmla="*/ 28575 h 1247775"/>
                  <a:gd name="connsiteX84" fmla="*/ 279400 w 844550"/>
                  <a:gd name="connsiteY84" fmla="*/ 6350 h 1247775"/>
                  <a:gd name="connsiteX0" fmla="*/ 279400 w 844550"/>
                  <a:gd name="connsiteY0" fmla="*/ 6350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25425 w 844550"/>
                  <a:gd name="connsiteY83" fmla="*/ 28575 h 1247775"/>
                  <a:gd name="connsiteX84" fmla="*/ 279400 w 844550"/>
                  <a:gd name="connsiteY84" fmla="*/ 6350 h 1247775"/>
                  <a:gd name="connsiteX0" fmla="*/ 298450 w 844550"/>
                  <a:gd name="connsiteY0" fmla="*/ 15875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25425 w 844550"/>
                  <a:gd name="connsiteY83" fmla="*/ 28575 h 1247775"/>
                  <a:gd name="connsiteX84" fmla="*/ 298450 w 844550"/>
                  <a:gd name="connsiteY84" fmla="*/ 15875 h 1247775"/>
                  <a:gd name="connsiteX0" fmla="*/ 298450 w 844550"/>
                  <a:gd name="connsiteY0" fmla="*/ 15875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12725 w 844550"/>
                  <a:gd name="connsiteY82" fmla="*/ 57150 h 1247775"/>
                  <a:gd name="connsiteX83" fmla="*/ 263525 w 844550"/>
                  <a:gd name="connsiteY83" fmla="*/ 28575 h 1247775"/>
                  <a:gd name="connsiteX84" fmla="*/ 298450 w 844550"/>
                  <a:gd name="connsiteY84" fmla="*/ 15875 h 1247775"/>
                  <a:gd name="connsiteX0" fmla="*/ 298450 w 844550"/>
                  <a:gd name="connsiteY0" fmla="*/ 15875 h 1247775"/>
                  <a:gd name="connsiteX1" fmla="*/ 365125 w 844550"/>
                  <a:gd name="connsiteY1" fmla="*/ 34925 h 1247775"/>
                  <a:gd name="connsiteX2" fmla="*/ 428625 w 844550"/>
                  <a:gd name="connsiteY2" fmla="*/ 0 h 1247775"/>
                  <a:gd name="connsiteX3" fmla="*/ 425450 w 844550"/>
                  <a:gd name="connsiteY3" fmla="*/ 38100 h 1247775"/>
                  <a:gd name="connsiteX4" fmla="*/ 476250 w 844550"/>
                  <a:gd name="connsiteY4" fmla="*/ 98425 h 1247775"/>
                  <a:gd name="connsiteX5" fmla="*/ 495300 w 844550"/>
                  <a:gd name="connsiteY5" fmla="*/ 155575 h 1247775"/>
                  <a:gd name="connsiteX6" fmla="*/ 523875 w 844550"/>
                  <a:gd name="connsiteY6" fmla="*/ 155575 h 1247775"/>
                  <a:gd name="connsiteX7" fmla="*/ 596900 w 844550"/>
                  <a:gd name="connsiteY7" fmla="*/ 257175 h 1247775"/>
                  <a:gd name="connsiteX8" fmla="*/ 596900 w 844550"/>
                  <a:gd name="connsiteY8" fmla="*/ 288925 h 1247775"/>
                  <a:gd name="connsiteX9" fmla="*/ 679450 w 844550"/>
                  <a:gd name="connsiteY9" fmla="*/ 412750 h 1247775"/>
                  <a:gd name="connsiteX10" fmla="*/ 701675 w 844550"/>
                  <a:gd name="connsiteY10" fmla="*/ 444500 h 1247775"/>
                  <a:gd name="connsiteX11" fmla="*/ 647700 w 844550"/>
                  <a:gd name="connsiteY11" fmla="*/ 450850 h 1247775"/>
                  <a:gd name="connsiteX12" fmla="*/ 606425 w 844550"/>
                  <a:gd name="connsiteY12" fmla="*/ 438150 h 1247775"/>
                  <a:gd name="connsiteX13" fmla="*/ 520700 w 844550"/>
                  <a:gd name="connsiteY13" fmla="*/ 384175 h 1247775"/>
                  <a:gd name="connsiteX14" fmla="*/ 514350 w 844550"/>
                  <a:gd name="connsiteY14" fmla="*/ 333375 h 1247775"/>
                  <a:gd name="connsiteX15" fmla="*/ 460375 w 844550"/>
                  <a:gd name="connsiteY15" fmla="*/ 387350 h 1247775"/>
                  <a:gd name="connsiteX16" fmla="*/ 460375 w 844550"/>
                  <a:gd name="connsiteY16" fmla="*/ 387350 h 1247775"/>
                  <a:gd name="connsiteX17" fmla="*/ 473075 w 844550"/>
                  <a:gd name="connsiteY17" fmla="*/ 466725 h 1247775"/>
                  <a:gd name="connsiteX18" fmla="*/ 495300 w 844550"/>
                  <a:gd name="connsiteY18" fmla="*/ 527050 h 1247775"/>
                  <a:gd name="connsiteX19" fmla="*/ 536575 w 844550"/>
                  <a:gd name="connsiteY19" fmla="*/ 555625 h 1247775"/>
                  <a:gd name="connsiteX20" fmla="*/ 492125 w 844550"/>
                  <a:gd name="connsiteY20" fmla="*/ 565150 h 1247775"/>
                  <a:gd name="connsiteX21" fmla="*/ 549275 w 844550"/>
                  <a:gd name="connsiteY21" fmla="*/ 676275 h 1247775"/>
                  <a:gd name="connsiteX22" fmla="*/ 587375 w 844550"/>
                  <a:gd name="connsiteY22" fmla="*/ 758825 h 1247775"/>
                  <a:gd name="connsiteX23" fmla="*/ 574675 w 844550"/>
                  <a:gd name="connsiteY23" fmla="*/ 822325 h 1247775"/>
                  <a:gd name="connsiteX24" fmla="*/ 587375 w 844550"/>
                  <a:gd name="connsiteY24" fmla="*/ 908050 h 1247775"/>
                  <a:gd name="connsiteX25" fmla="*/ 558800 w 844550"/>
                  <a:gd name="connsiteY25" fmla="*/ 920750 h 1247775"/>
                  <a:gd name="connsiteX26" fmla="*/ 577850 w 844550"/>
                  <a:gd name="connsiteY26" fmla="*/ 962025 h 1247775"/>
                  <a:gd name="connsiteX27" fmla="*/ 619125 w 844550"/>
                  <a:gd name="connsiteY27" fmla="*/ 974725 h 1247775"/>
                  <a:gd name="connsiteX28" fmla="*/ 641350 w 844550"/>
                  <a:gd name="connsiteY28" fmla="*/ 917575 h 1247775"/>
                  <a:gd name="connsiteX29" fmla="*/ 676275 w 844550"/>
                  <a:gd name="connsiteY29" fmla="*/ 942975 h 1247775"/>
                  <a:gd name="connsiteX30" fmla="*/ 787400 w 844550"/>
                  <a:gd name="connsiteY30" fmla="*/ 901700 h 1247775"/>
                  <a:gd name="connsiteX31" fmla="*/ 844550 w 844550"/>
                  <a:gd name="connsiteY31" fmla="*/ 933450 h 1247775"/>
                  <a:gd name="connsiteX32" fmla="*/ 787400 w 844550"/>
                  <a:gd name="connsiteY32" fmla="*/ 955675 h 1247775"/>
                  <a:gd name="connsiteX33" fmla="*/ 768350 w 844550"/>
                  <a:gd name="connsiteY33" fmla="*/ 987425 h 1247775"/>
                  <a:gd name="connsiteX34" fmla="*/ 790575 w 844550"/>
                  <a:gd name="connsiteY34" fmla="*/ 1025525 h 1247775"/>
                  <a:gd name="connsiteX35" fmla="*/ 774700 w 844550"/>
                  <a:gd name="connsiteY35" fmla="*/ 1079500 h 1247775"/>
                  <a:gd name="connsiteX36" fmla="*/ 736600 w 844550"/>
                  <a:gd name="connsiteY36" fmla="*/ 1108075 h 1247775"/>
                  <a:gd name="connsiteX37" fmla="*/ 717550 w 844550"/>
                  <a:gd name="connsiteY37" fmla="*/ 1139825 h 1247775"/>
                  <a:gd name="connsiteX38" fmla="*/ 679450 w 844550"/>
                  <a:gd name="connsiteY38" fmla="*/ 1133475 h 1247775"/>
                  <a:gd name="connsiteX39" fmla="*/ 676275 w 844550"/>
                  <a:gd name="connsiteY39" fmla="*/ 1184275 h 1247775"/>
                  <a:gd name="connsiteX40" fmla="*/ 615950 w 844550"/>
                  <a:gd name="connsiteY40" fmla="*/ 1168400 h 1247775"/>
                  <a:gd name="connsiteX41" fmla="*/ 530225 w 844550"/>
                  <a:gd name="connsiteY41" fmla="*/ 1193800 h 1247775"/>
                  <a:gd name="connsiteX42" fmla="*/ 473075 w 844550"/>
                  <a:gd name="connsiteY42" fmla="*/ 1152525 h 1247775"/>
                  <a:gd name="connsiteX43" fmla="*/ 473075 w 844550"/>
                  <a:gd name="connsiteY43" fmla="*/ 1152525 h 1247775"/>
                  <a:gd name="connsiteX44" fmla="*/ 454025 w 844550"/>
                  <a:gd name="connsiteY44" fmla="*/ 1184275 h 1247775"/>
                  <a:gd name="connsiteX45" fmla="*/ 387350 w 844550"/>
                  <a:gd name="connsiteY45" fmla="*/ 1247775 h 1247775"/>
                  <a:gd name="connsiteX46" fmla="*/ 403225 w 844550"/>
                  <a:gd name="connsiteY46" fmla="*/ 1190625 h 1247775"/>
                  <a:gd name="connsiteX47" fmla="*/ 381000 w 844550"/>
                  <a:gd name="connsiteY47" fmla="*/ 1174750 h 1247775"/>
                  <a:gd name="connsiteX48" fmla="*/ 346075 w 844550"/>
                  <a:gd name="connsiteY48" fmla="*/ 1203325 h 1247775"/>
                  <a:gd name="connsiteX49" fmla="*/ 298450 w 844550"/>
                  <a:gd name="connsiteY49" fmla="*/ 1206500 h 1247775"/>
                  <a:gd name="connsiteX50" fmla="*/ 288925 w 844550"/>
                  <a:gd name="connsiteY50" fmla="*/ 1171575 h 1247775"/>
                  <a:gd name="connsiteX51" fmla="*/ 298450 w 844550"/>
                  <a:gd name="connsiteY51" fmla="*/ 1158875 h 1247775"/>
                  <a:gd name="connsiteX52" fmla="*/ 260350 w 844550"/>
                  <a:gd name="connsiteY52" fmla="*/ 1149350 h 1247775"/>
                  <a:gd name="connsiteX53" fmla="*/ 260350 w 844550"/>
                  <a:gd name="connsiteY53" fmla="*/ 1098550 h 1247775"/>
                  <a:gd name="connsiteX54" fmla="*/ 133350 w 844550"/>
                  <a:gd name="connsiteY54" fmla="*/ 1079500 h 1247775"/>
                  <a:gd name="connsiteX55" fmla="*/ 177800 w 844550"/>
                  <a:gd name="connsiteY55" fmla="*/ 1041400 h 1247775"/>
                  <a:gd name="connsiteX56" fmla="*/ 165100 w 844550"/>
                  <a:gd name="connsiteY56" fmla="*/ 962025 h 1247775"/>
                  <a:gd name="connsiteX57" fmla="*/ 165100 w 844550"/>
                  <a:gd name="connsiteY57" fmla="*/ 962025 h 1247775"/>
                  <a:gd name="connsiteX58" fmla="*/ 165100 w 844550"/>
                  <a:gd name="connsiteY58" fmla="*/ 962025 h 1247775"/>
                  <a:gd name="connsiteX59" fmla="*/ 142875 w 844550"/>
                  <a:gd name="connsiteY59" fmla="*/ 904875 h 1247775"/>
                  <a:gd name="connsiteX60" fmla="*/ 104775 w 844550"/>
                  <a:gd name="connsiteY60" fmla="*/ 920750 h 1247775"/>
                  <a:gd name="connsiteX61" fmla="*/ 127000 w 844550"/>
                  <a:gd name="connsiteY61" fmla="*/ 879475 h 1247775"/>
                  <a:gd name="connsiteX62" fmla="*/ 85725 w 844550"/>
                  <a:gd name="connsiteY62" fmla="*/ 838200 h 1247775"/>
                  <a:gd name="connsiteX63" fmla="*/ 25400 w 844550"/>
                  <a:gd name="connsiteY63" fmla="*/ 869950 h 1247775"/>
                  <a:gd name="connsiteX64" fmla="*/ 22225 w 844550"/>
                  <a:gd name="connsiteY64" fmla="*/ 815975 h 1247775"/>
                  <a:gd name="connsiteX65" fmla="*/ 0 w 844550"/>
                  <a:gd name="connsiteY65" fmla="*/ 809625 h 1247775"/>
                  <a:gd name="connsiteX66" fmla="*/ 47625 w 844550"/>
                  <a:gd name="connsiteY66" fmla="*/ 752475 h 1247775"/>
                  <a:gd name="connsiteX67" fmla="*/ 22225 w 844550"/>
                  <a:gd name="connsiteY67" fmla="*/ 739775 h 1247775"/>
                  <a:gd name="connsiteX68" fmla="*/ 25400 w 844550"/>
                  <a:gd name="connsiteY68" fmla="*/ 698500 h 1247775"/>
                  <a:gd name="connsiteX69" fmla="*/ 136525 w 844550"/>
                  <a:gd name="connsiteY69" fmla="*/ 698500 h 1247775"/>
                  <a:gd name="connsiteX70" fmla="*/ 139700 w 844550"/>
                  <a:gd name="connsiteY70" fmla="*/ 492125 h 1247775"/>
                  <a:gd name="connsiteX71" fmla="*/ 82550 w 844550"/>
                  <a:gd name="connsiteY71" fmla="*/ 454025 h 1247775"/>
                  <a:gd name="connsiteX72" fmla="*/ 101600 w 844550"/>
                  <a:gd name="connsiteY72" fmla="*/ 428625 h 1247775"/>
                  <a:gd name="connsiteX73" fmla="*/ 161925 w 844550"/>
                  <a:gd name="connsiteY73" fmla="*/ 422275 h 1247775"/>
                  <a:gd name="connsiteX74" fmla="*/ 206375 w 844550"/>
                  <a:gd name="connsiteY74" fmla="*/ 381000 h 1247775"/>
                  <a:gd name="connsiteX75" fmla="*/ 285750 w 844550"/>
                  <a:gd name="connsiteY75" fmla="*/ 358775 h 1247775"/>
                  <a:gd name="connsiteX76" fmla="*/ 279400 w 844550"/>
                  <a:gd name="connsiteY76" fmla="*/ 317500 h 1247775"/>
                  <a:gd name="connsiteX77" fmla="*/ 333375 w 844550"/>
                  <a:gd name="connsiteY77" fmla="*/ 336550 h 1247775"/>
                  <a:gd name="connsiteX78" fmla="*/ 304800 w 844550"/>
                  <a:gd name="connsiteY78" fmla="*/ 250825 h 1247775"/>
                  <a:gd name="connsiteX79" fmla="*/ 330200 w 844550"/>
                  <a:gd name="connsiteY79" fmla="*/ 203200 h 1247775"/>
                  <a:gd name="connsiteX80" fmla="*/ 250825 w 844550"/>
                  <a:gd name="connsiteY80" fmla="*/ 57150 h 1247775"/>
                  <a:gd name="connsiteX81" fmla="*/ 250825 w 844550"/>
                  <a:gd name="connsiteY81" fmla="*/ 57150 h 1247775"/>
                  <a:gd name="connsiteX82" fmla="*/ 209550 w 844550"/>
                  <a:gd name="connsiteY82" fmla="*/ 41275 h 1247775"/>
                  <a:gd name="connsiteX83" fmla="*/ 263525 w 844550"/>
                  <a:gd name="connsiteY83" fmla="*/ 28575 h 1247775"/>
                  <a:gd name="connsiteX84" fmla="*/ 298450 w 844550"/>
                  <a:gd name="connsiteY84" fmla="*/ 15875 h 1247775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50825 w 844550"/>
                  <a:gd name="connsiteY81" fmla="*/ 7302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66700 w 844550"/>
                  <a:gd name="connsiteY81" fmla="*/ 8572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82575 w 844550"/>
                  <a:gd name="connsiteY81" fmla="*/ 133350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34950 w 844550"/>
                  <a:gd name="connsiteY81" fmla="*/ 101600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50825 w 844550"/>
                  <a:gd name="connsiteY80" fmla="*/ 730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6700 w 844550"/>
                  <a:gd name="connsiteY80" fmla="*/ 730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85750 w 844550"/>
                  <a:gd name="connsiteY75" fmla="*/ 374650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206375 w 844550"/>
                  <a:gd name="connsiteY74" fmla="*/ 396875 h 1263650"/>
                  <a:gd name="connsiteX75" fmla="*/ 269875 w 844550"/>
                  <a:gd name="connsiteY75" fmla="*/ 371475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61925 w 844550"/>
                  <a:gd name="connsiteY73" fmla="*/ 438150 h 1263650"/>
                  <a:gd name="connsiteX74" fmla="*/ 177800 w 844550"/>
                  <a:gd name="connsiteY74" fmla="*/ 396875 h 1263650"/>
                  <a:gd name="connsiteX75" fmla="*/ 269875 w 844550"/>
                  <a:gd name="connsiteY75" fmla="*/ 371475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76225 w 844550"/>
                  <a:gd name="connsiteY0" fmla="*/ 0 h 1263650"/>
                  <a:gd name="connsiteX1" fmla="*/ 365125 w 844550"/>
                  <a:gd name="connsiteY1" fmla="*/ 50800 h 1263650"/>
                  <a:gd name="connsiteX2" fmla="*/ 428625 w 844550"/>
                  <a:gd name="connsiteY2" fmla="*/ 15875 h 1263650"/>
                  <a:gd name="connsiteX3" fmla="*/ 425450 w 844550"/>
                  <a:gd name="connsiteY3" fmla="*/ 53975 h 1263650"/>
                  <a:gd name="connsiteX4" fmla="*/ 476250 w 844550"/>
                  <a:gd name="connsiteY4" fmla="*/ 114300 h 1263650"/>
                  <a:gd name="connsiteX5" fmla="*/ 495300 w 844550"/>
                  <a:gd name="connsiteY5" fmla="*/ 171450 h 1263650"/>
                  <a:gd name="connsiteX6" fmla="*/ 523875 w 844550"/>
                  <a:gd name="connsiteY6" fmla="*/ 171450 h 1263650"/>
                  <a:gd name="connsiteX7" fmla="*/ 596900 w 844550"/>
                  <a:gd name="connsiteY7" fmla="*/ 273050 h 1263650"/>
                  <a:gd name="connsiteX8" fmla="*/ 596900 w 844550"/>
                  <a:gd name="connsiteY8" fmla="*/ 304800 h 1263650"/>
                  <a:gd name="connsiteX9" fmla="*/ 679450 w 844550"/>
                  <a:gd name="connsiteY9" fmla="*/ 428625 h 1263650"/>
                  <a:gd name="connsiteX10" fmla="*/ 701675 w 844550"/>
                  <a:gd name="connsiteY10" fmla="*/ 460375 h 1263650"/>
                  <a:gd name="connsiteX11" fmla="*/ 647700 w 844550"/>
                  <a:gd name="connsiteY11" fmla="*/ 466725 h 1263650"/>
                  <a:gd name="connsiteX12" fmla="*/ 606425 w 844550"/>
                  <a:gd name="connsiteY12" fmla="*/ 454025 h 1263650"/>
                  <a:gd name="connsiteX13" fmla="*/ 520700 w 844550"/>
                  <a:gd name="connsiteY13" fmla="*/ 400050 h 1263650"/>
                  <a:gd name="connsiteX14" fmla="*/ 514350 w 844550"/>
                  <a:gd name="connsiteY14" fmla="*/ 349250 h 1263650"/>
                  <a:gd name="connsiteX15" fmla="*/ 460375 w 844550"/>
                  <a:gd name="connsiteY15" fmla="*/ 403225 h 1263650"/>
                  <a:gd name="connsiteX16" fmla="*/ 460375 w 844550"/>
                  <a:gd name="connsiteY16" fmla="*/ 403225 h 1263650"/>
                  <a:gd name="connsiteX17" fmla="*/ 473075 w 844550"/>
                  <a:gd name="connsiteY17" fmla="*/ 482600 h 1263650"/>
                  <a:gd name="connsiteX18" fmla="*/ 495300 w 844550"/>
                  <a:gd name="connsiteY18" fmla="*/ 542925 h 1263650"/>
                  <a:gd name="connsiteX19" fmla="*/ 536575 w 844550"/>
                  <a:gd name="connsiteY19" fmla="*/ 571500 h 1263650"/>
                  <a:gd name="connsiteX20" fmla="*/ 492125 w 844550"/>
                  <a:gd name="connsiteY20" fmla="*/ 581025 h 1263650"/>
                  <a:gd name="connsiteX21" fmla="*/ 549275 w 844550"/>
                  <a:gd name="connsiteY21" fmla="*/ 692150 h 1263650"/>
                  <a:gd name="connsiteX22" fmla="*/ 587375 w 844550"/>
                  <a:gd name="connsiteY22" fmla="*/ 774700 h 1263650"/>
                  <a:gd name="connsiteX23" fmla="*/ 574675 w 844550"/>
                  <a:gd name="connsiteY23" fmla="*/ 838200 h 1263650"/>
                  <a:gd name="connsiteX24" fmla="*/ 587375 w 844550"/>
                  <a:gd name="connsiteY24" fmla="*/ 923925 h 1263650"/>
                  <a:gd name="connsiteX25" fmla="*/ 558800 w 844550"/>
                  <a:gd name="connsiteY25" fmla="*/ 936625 h 1263650"/>
                  <a:gd name="connsiteX26" fmla="*/ 577850 w 844550"/>
                  <a:gd name="connsiteY26" fmla="*/ 977900 h 1263650"/>
                  <a:gd name="connsiteX27" fmla="*/ 619125 w 844550"/>
                  <a:gd name="connsiteY27" fmla="*/ 990600 h 1263650"/>
                  <a:gd name="connsiteX28" fmla="*/ 641350 w 844550"/>
                  <a:gd name="connsiteY28" fmla="*/ 933450 h 1263650"/>
                  <a:gd name="connsiteX29" fmla="*/ 676275 w 844550"/>
                  <a:gd name="connsiteY29" fmla="*/ 958850 h 1263650"/>
                  <a:gd name="connsiteX30" fmla="*/ 787400 w 844550"/>
                  <a:gd name="connsiteY30" fmla="*/ 917575 h 1263650"/>
                  <a:gd name="connsiteX31" fmla="*/ 844550 w 844550"/>
                  <a:gd name="connsiteY31" fmla="*/ 949325 h 1263650"/>
                  <a:gd name="connsiteX32" fmla="*/ 787400 w 844550"/>
                  <a:gd name="connsiteY32" fmla="*/ 971550 h 1263650"/>
                  <a:gd name="connsiteX33" fmla="*/ 768350 w 844550"/>
                  <a:gd name="connsiteY33" fmla="*/ 1003300 h 1263650"/>
                  <a:gd name="connsiteX34" fmla="*/ 790575 w 844550"/>
                  <a:gd name="connsiteY34" fmla="*/ 1041400 h 1263650"/>
                  <a:gd name="connsiteX35" fmla="*/ 774700 w 844550"/>
                  <a:gd name="connsiteY35" fmla="*/ 1095375 h 1263650"/>
                  <a:gd name="connsiteX36" fmla="*/ 736600 w 844550"/>
                  <a:gd name="connsiteY36" fmla="*/ 1123950 h 1263650"/>
                  <a:gd name="connsiteX37" fmla="*/ 717550 w 844550"/>
                  <a:gd name="connsiteY37" fmla="*/ 1155700 h 1263650"/>
                  <a:gd name="connsiteX38" fmla="*/ 679450 w 844550"/>
                  <a:gd name="connsiteY38" fmla="*/ 1149350 h 1263650"/>
                  <a:gd name="connsiteX39" fmla="*/ 676275 w 844550"/>
                  <a:gd name="connsiteY39" fmla="*/ 1200150 h 1263650"/>
                  <a:gd name="connsiteX40" fmla="*/ 615950 w 844550"/>
                  <a:gd name="connsiteY40" fmla="*/ 1184275 h 1263650"/>
                  <a:gd name="connsiteX41" fmla="*/ 530225 w 844550"/>
                  <a:gd name="connsiteY41" fmla="*/ 1209675 h 1263650"/>
                  <a:gd name="connsiteX42" fmla="*/ 473075 w 844550"/>
                  <a:gd name="connsiteY42" fmla="*/ 1168400 h 1263650"/>
                  <a:gd name="connsiteX43" fmla="*/ 473075 w 844550"/>
                  <a:gd name="connsiteY43" fmla="*/ 1168400 h 1263650"/>
                  <a:gd name="connsiteX44" fmla="*/ 454025 w 844550"/>
                  <a:gd name="connsiteY44" fmla="*/ 1200150 h 1263650"/>
                  <a:gd name="connsiteX45" fmla="*/ 387350 w 844550"/>
                  <a:gd name="connsiteY45" fmla="*/ 1263650 h 1263650"/>
                  <a:gd name="connsiteX46" fmla="*/ 403225 w 844550"/>
                  <a:gd name="connsiteY46" fmla="*/ 1206500 h 1263650"/>
                  <a:gd name="connsiteX47" fmla="*/ 381000 w 844550"/>
                  <a:gd name="connsiteY47" fmla="*/ 1190625 h 1263650"/>
                  <a:gd name="connsiteX48" fmla="*/ 346075 w 844550"/>
                  <a:gd name="connsiteY48" fmla="*/ 1219200 h 1263650"/>
                  <a:gd name="connsiteX49" fmla="*/ 298450 w 844550"/>
                  <a:gd name="connsiteY49" fmla="*/ 1222375 h 1263650"/>
                  <a:gd name="connsiteX50" fmla="*/ 288925 w 844550"/>
                  <a:gd name="connsiteY50" fmla="*/ 1187450 h 1263650"/>
                  <a:gd name="connsiteX51" fmla="*/ 298450 w 844550"/>
                  <a:gd name="connsiteY51" fmla="*/ 1174750 h 1263650"/>
                  <a:gd name="connsiteX52" fmla="*/ 260350 w 844550"/>
                  <a:gd name="connsiteY52" fmla="*/ 1165225 h 1263650"/>
                  <a:gd name="connsiteX53" fmla="*/ 260350 w 844550"/>
                  <a:gd name="connsiteY53" fmla="*/ 1114425 h 1263650"/>
                  <a:gd name="connsiteX54" fmla="*/ 133350 w 844550"/>
                  <a:gd name="connsiteY54" fmla="*/ 1095375 h 1263650"/>
                  <a:gd name="connsiteX55" fmla="*/ 177800 w 844550"/>
                  <a:gd name="connsiteY55" fmla="*/ 1057275 h 1263650"/>
                  <a:gd name="connsiteX56" fmla="*/ 165100 w 844550"/>
                  <a:gd name="connsiteY56" fmla="*/ 977900 h 1263650"/>
                  <a:gd name="connsiteX57" fmla="*/ 165100 w 844550"/>
                  <a:gd name="connsiteY57" fmla="*/ 977900 h 1263650"/>
                  <a:gd name="connsiteX58" fmla="*/ 165100 w 844550"/>
                  <a:gd name="connsiteY58" fmla="*/ 977900 h 1263650"/>
                  <a:gd name="connsiteX59" fmla="*/ 142875 w 844550"/>
                  <a:gd name="connsiteY59" fmla="*/ 920750 h 1263650"/>
                  <a:gd name="connsiteX60" fmla="*/ 104775 w 844550"/>
                  <a:gd name="connsiteY60" fmla="*/ 936625 h 1263650"/>
                  <a:gd name="connsiteX61" fmla="*/ 127000 w 844550"/>
                  <a:gd name="connsiteY61" fmla="*/ 895350 h 1263650"/>
                  <a:gd name="connsiteX62" fmla="*/ 85725 w 844550"/>
                  <a:gd name="connsiteY62" fmla="*/ 854075 h 1263650"/>
                  <a:gd name="connsiteX63" fmla="*/ 25400 w 844550"/>
                  <a:gd name="connsiteY63" fmla="*/ 885825 h 1263650"/>
                  <a:gd name="connsiteX64" fmla="*/ 22225 w 844550"/>
                  <a:gd name="connsiteY64" fmla="*/ 831850 h 1263650"/>
                  <a:gd name="connsiteX65" fmla="*/ 0 w 844550"/>
                  <a:gd name="connsiteY65" fmla="*/ 825500 h 1263650"/>
                  <a:gd name="connsiteX66" fmla="*/ 47625 w 844550"/>
                  <a:gd name="connsiteY66" fmla="*/ 768350 h 1263650"/>
                  <a:gd name="connsiteX67" fmla="*/ 22225 w 844550"/>
                  <a:gd name="connsiteY67" fmla="*/ 755650 h 1263650"/>
                  <a:gd name="connsiteX68" fmla="*/ 25400 w 844550"/>
                  <a:gd name="connsiteY68" fmla="*/ 714375 h 1263650"/>
                  <a:gd name="connsiteX69" fmla="*/ 136525 w 844550"/>
                  <a:gd name="connsiteY69" fmla="*/ 714375 h 1263650"/>
                  <a:gd name="connsiteX70" fmla="*/ 139700 w 844550"/>
                  <a:gd name="connsiteY70" fmla="*/ 508000 h 1263650"/>
                  <a:gd name="connsiteX71" fmla="*/ 82550 w 844550"/>
                  <a:gd name="connsiteY71" fmla="*/ 469900 h 1263650"/>
                  <a:gd name="connsiteX72" fmla="*/ 101600 w 844550"/>
                  <a:gd name="connsiteY72" fmla="*/ 444500 h 1263650"/>
                  <a:gd name="connsiteX73" fmla="*/ 152400 w 844550"/>
                  <a:gd name="connsiteY73" fmla="*/ 438150 h 1263650"/>
                  <a:gd name="connsiteX74" fmla="*/ 177800 w 844550"/>
                  <a:gd name="connsiteY74" fmla="*/ 396875 h 1263650"/>
                  <a:gd name="connsiteX75" fmla="*/ 269875 w 844550"/>
                  <a:gd name="connsiteY75" fmla="*/ 371475 h 1263650"/>
                  <a:gd name="connsiteX76" fmla="*/ 279400 w 844550"/>
                  <a:gd name="connsiteY76" fmla="*/ 333375 h 1263650"/>
                  <a:gd name="connsiteX77" fmla="*/ 333375 w 844550"/>
                  <a:gd name="connsiteY77" fmla="*/ 352425 h 1263650"/>
                  <a:gd name="connsiteX78" fmla="*/ 304800 w 844550"/>
                  <a:gd name="connsiteY78" fmla="*/ 266700 h 1263650"/>
                  <a:gd name="connsiteX79" fmla="*/ 330200 w 844550"/>
                  <a:gd name="connsiteY79" fmla="*/ 219075 h 1263650"/>
                  <a:gd name="connsiteX80" fmla="*/ 260350 w 844550"/>
                  <a:gd name="connsiteY80" fmla="*/ 85725 h 1263650"/>
                  <a:gd name="connsiteX81" fmla="*/ 228600 w 844550"/>
                  <a:gd name="connsiteY81" fmla="*/ 79375 h 1263650"/>
                  <a:gd name="connsiteX82" fmla="*/ 209550 w 844550"/>
                  <a:gd name="connsiteY82" fmla="*/ 57150 h 1263650"/>
                  <a:gd name="connsiteX83" fmla="*/ 263525 w 844550"/>
                  <a:gd name="connsiteY83" fmla="*/ 44450 h 1263650"/>
                  <a:gd name="connsiteX84" fmla="*/ 276225 w 844550"/>
                  <a:gd name="connsiteY84" fmla="*/ 0 h 1263650"/>
                  <a:gd name="connsiteX0" fmla="*/ 288925 w 857250"/>
                  <a:gd name="connsiteY0" fmla="*/ 0 h 1263650"/>
                  <a:gd name="connsiteX1" fmla="*/ 377825 w 857250"/>
                  <a:gd name="connsiteY1" fmla="*/ 50800 h 1263650"/>
                  <a:gd name="connsiteX2" fmla="*/ 441325 w 857250"/>
                  <a:gd name="connsiteY2" fmla="*/ 15875 h 1263650"/>
                  <a:gd name="connsiteX3" fmla="*/ 438150 w 857250"/>
                  <a:gd name="connsiteY3" fmla="*/ 53975 h 1263650"/>
                  <a:gd name="connsiteX4" fmla="*/ 488950 w 857250"/>
                  <a:gd name="connsiteY4" fmla="*/ 114300 h 1263650"/>
                  <a:gd name="connsiteX5" fmla="*/ 508000 w 857250"/>
                  <a:gd name="connsiteY5" fmla="*/ 171450 h 1263650"/>
                  <a:gd name="connsiteX6" fmla="*/ 536575 w 857250"/>
                  <a:gd name="connsiteY6" fmla="*/ 171450 h 1263650"/>
                  <a:gd name="connsiteX7" fmla="*/ 609600 w 857250"/>
                  <a:gd name="connsiteY7" fmla="*/ 273050 h 1263650"/>
                  <a:gd name="connsiteX8" fmla="*/ 609600 w 857250"/>
                  <a:gd name="connsiteY8" fmla="*/ 304800 h 1263650"/>
                  <a:gd name="connsiteX9" fmla="*/ 692150 w 857250"/>
                  <a:gd name="connsiteY9" fmla="*/ 428625 h 1263650"/>
                  <a:gd name="connsiteX10" fmla="*/ 714375 w 857250"/>
                  <a:gd name="connsiteY10" fmla="*/ 460375 h 1263650"/>
                  <a:gd name="connsiteX11" fmla="*/ 660400 w 857250"/>
                  <a:gd name="connsiteY11" fmla="*/ 466725 h 1263650"/>
                  <a:gd name="connsiteX12" fmla="*/ 619125 w 857250"/>
                  <a:gd name="connsiteY12" fmla="*/ 454025 h 1263650"/>
                  <a:gd name="connsiteX13" fmla="*/ 533400 w 857250"/>
                  <a:gd name="connsiteY13" fmla="*/ 400050 h 1263650"/>
                  <a:gd name="connsiteX14" fmla="*/ 527050 w 857250"/>
                  <a:gd name="connsiteY14" fmla="*/ 349250 h 1263650"/>
                  <a:gd name="connsiteX15" fmla="*/ 473075 w 857250"/>
                  <a:gd name="connsiteY15" fmla="*/ 403225 h 1263650"/>
                  <a:gd name="connsiteX16" fmla="*/ 473075 w 857250"/>
                  <a:gd name="connsiteY16" fmla="*/ 403225 h 1263650"/>
                  <a:gd name="connsiteX17" fmla="*/ 485775 w 857250"/>
                  <a:gd name="connsiteY17" fmla="*/ 482600 h 1263650"/>
                  <a:gd name="connsiteX18" fmla="*/ 508000 w 857250"/>
                  <a:gd name="connsiteY18" fmla="*/ 542925 h 1263650"/>
                  <a:gd name="connsiteX19" fmla="*/ 549275 w 857250"/>
                  <a:gd name="connsiteY19" fmla="*/ 571500 h 1263650"/>
                  <a:gd name="connsiteX20" fmla="*/ 504825 w 857250"/>
                  <a:gd name="connsiteY20" fmla="*/ 581025 h 1263650"/>
                  <a:gd name="connsiteX21" fmla="*/ 561975 w 857250"/>
                  <a:gd name="connsiteY21" fmla="*/ 692150 h 1263650"/>
                  <a:gd name="connsiteX22" fmla="*/ 600075 w 857250"/>
                  <a:gd name="connsiteY22" fmla="*/ 774700 h 1263650"/>
                  <a:gd name="connsiteX23" fmla="*/ 587375 w 857250"/>
                  <a:gd name="connsiteY23" fmla="*/ 838200 h 1263650"/>
                  <a:gd name="connsiteX24" fmla="*/ 600075 w 857250"/>
                  <a:gd name="connsiteY24" fmla="*/ 923925 h 1263650"/>
                  <a:gd name="connsiteX25" fmla="*/ 571500 w 857250"/>
                  <a:gd name="connsiteY25" fmla="*/ 936625 h 1263650"/>
                  <a:gd name="connsiteX26" fmla="*/ 590550 w 857250"/>
                  <a:gd name="connsiteY26" fmla="*/ 977900 h 1263650"/>
                  <a:gd name="connsiteX27" fmla="*/ 631825 w 857250"/>
                  <a:gd name="connsiteY27" fmla="*/ 990600 h 1263650"/>
                  <a:gd name="connsiteX28" fmla="*/ 654050 w 857250"/>
                  <a:gd name="connsiteY28" fmla="*/ 933450 h 1263650"/>
                  <a:gd name="connsiteX29" fmla="*/ 688975 w 857250"/>
                  <a:gd name="connsiteY29" fmla="*/ 958850 h 1263650"/>
                  <a:gd name="connsiteX30" fmla="*/ 800100 w 857250"/>
                  <a:gd name="connsiteY30" fmla="*/ 917575 h 1263650"/>
                  <a:gd name="connsiteX31" fmla="*/ 857250 w 857250"/>
                  <a:gd name="connsiteY31" fmla="*/ 949325 h 1263650"/>
                  <a:gd name="connsiteX32" fmla="*/ 800100 w 857250"/>
                  <a:gd name="connsiteY32" fmla="*/ 971550 h 1263650"/>
                  <a:gd name="connsiteX33" fmla="*/ 781050 w 857250"/>
                  <a:gd name="connsiteY33" fmla="*/ 1003300 h 1263650"/>
                  <a:gd name="connsiteX34" fmla="*/ 803275 w 857250"/>
                  <a:gd name="connsiteY34" fmla="*/ 1041400 h 1263650"/>
                  <a:gd name="connsiteX35" fmla="*/ 787400 w 857250"/>
                  <a:gd name="connsiteY35" fmla="*/ 1095375 h 1263650"/>
                  <a:gd name="connsiteX36" fmla="*/ 749300 w 857250"/>
                  <a:gd name="connsiteY36" fmla="*/ 1123950 h 1263650"/>
                  <a:gd name="connsiteX37" fmla="*/ 730250 w 857250"/>
                  <a:gd name="connsiteY37" fmla="*/ 1155700 h 1263650"/>
                  <a:gd name="connsiteX38" fmla="*/ 692150 w 857250"/>
                  <a:gd name="connsiteY38" fmla="*/ 1149350 h 1263650"/>
                  <a:gd name="connsiteX39" fmla="*/ 688975 w 857250"/>
                  <a:gd name="connsiteY39" fmla="*/ 1200150 h 1263650"/>
                  <a:gd name="connsiteX40" fmla="*/ 628650 w 857250"/>
                  <a:gd name="connsiteY40" fmla="*/ 1184275 h 1263650"/>
                  <a:gd name="connsiteX41" fmla="*/ 542925 w 857250"/>
                  <a:gd name="connsiteY41" fmla="*/ 1209675 h 1263650"/>
                  <a:gd name="connsiteX42" fmla="*/ 485775 w 857250"/>
                  <a:gd name="connsiteY42" fmla="*/ 1168400 h 1263650"/>
                  <a:gd name="connsiteX43" fmla="*/ 485775 w 857250"/>
                  <a:gd name="connsiteY43" fmla="*/ 1168400 h 1263650"/>
                  <a:gd name="connsiteX44" fmla="*/ 466725 w 857250"/>
                  <a:gd name="connsiteY44" fmla="*/ 1200150 h 1263650"/>
                  <a:gd name="connsiteX45" fmla="*/ 400050 w 857250"/>
                  <a:gd name="connsiteY45" fmla="*/ 1263650 h 1263650"/>
                  <a:gd name="connsiteX46" fmla="*/ 415925 w 857250"/>
                  <a:gd name="connsiteY46" fmla="*/ 1206500 h 1263650"/>
                  <a:gd name="connsiteX47" fmla="*/ 393700 w 857250"/>
                  <a:gd name="connsiteY47" fmla="*/ 1190625 h 1263650"/>
                  <a:gd name="connsiteX48" fmla="*/ 358775 w 857250"/>
                  <a:gd name="connsiteY48" fmla="*/ 1219200 h 1263650"/>
                  <a:gd name="connsiteX49" fmla="*/ 311150 w 857250"/>
                  <a:gd name="connsiteY49" fmla="*/ 1222375 h 1263650"/>
                  <a:gd name="connsiteX50" fmla="*/ 301625 w 857250"/>
                  <a:gd name="connsiteY50" fmla="*/ 1187450 h 1263650"/>
                  <a:gd name="connsiteX51" fmla="*/ 311150 w 857250"/>
                  <a:gd name="connsiteY51" fmla="*/ 1174750 h 1263650"/>
                  <a:gd name="connsiteX52" fmla="*/ 273050 w 857250"/>
                  <a:gd name="connsiteY52" fmla="*/ 1165225 h 1263650"/>
                  <a:gd name="connsiteX53" fmla="*/ 273050 w 857250"/>
                  <a:gd name="connsiteY53" fmla="*/ 1114425 h 1263650"/>
                  <a:gd name="connsiteX54" fmla="*/ 146050 w 857250"/>
                  <a:gd name="connsiteY54" fmla="*/ 1095375 h 1263650"/>
                  <a:gd name="connsiteX55" fmla="*/ 190500 w 857250"/>
                  <a:gd name="connsiteY55" fmla="*/ 1057275 h 1263650"/>
                  <a:gd name="connsiteX56" fmla="*/ 177800 w 857250"/>
                  <a:gd name="connsiteY56" fmla="*/ 977900 h 1263650"/>
                  <a:gd name="connsiteX57" fmla="*/ 177800 w 857250"/>
                  <a:gd name="connsiteY57" fmla="*/ 977900 h 1263650"/>
                  <a:gd name="connsiteX58" fmla="*/ 177800 w 857250"/>
                  <a:gd name="connsiteY58" fmla="*/ 977900 h 1263650"/>
                  <a:gd name="connsiteX59" fmla="*/ 155575 w 857250"/>
                  <a:gd name="connsiteY59" fmla="*/ 920750 h 1263650"/>
                  <a:gd name="connsiteX60" fmla="*/ 117475 w 857250"/>
                  <a:gd name="connsiteY60" fmla="*/ 936625 h 1263650"/>
                  <a:gd name="connsiteX61" fmla="*/ 139700 w 857250"/>
                  <a:gd name="connsiteY61" fmla="*/ 895350 h 1263650"/>
                  <a:gd name="connsiteX62" fmla="*/ 98425 w 857250"/>
                  <a:gd name="connsiteY62" fmla="*/ 854075 h 1263650"/>
                  <a:gd name="connsiteX63" fmla="*/ 38100 w 857250"/>
                  <a:gd name="connsiteY63" fmla="*/ 885825 h 1263650"/>
                  <a:gd name="connsiteX64" fmla="*/ 34925 w 857250"/>
                  <a:gd name="connsiteY64" fmla="*/ 831850 h 1263650"/>
                  <a:gd name="connsiteX65" fmla="*/ 0 w 857250"/>
                  <a:gd name="connsiteY65" fmla="*/ 815975 h 1263650"/>
                  <a:gd name="connsiteX66" fmla="*/ 60325 w 857250"/>
                  <a:gd name="connsiteY66" fmla="*/ 768350 h 1263650"/>
                  <a:gd name="connsiteX67" fmla="*/ 34925 w 857250"/>
                  <a:gd name="connsiteY67" fmla="*/ 755650 h 1263650"/>
                  <a:gd name="connsiteX68" fmla="*/ 38100 w 857250"/>
                  <a:gd name="connsiteY68" fmla="*/ 714375 h 1263650"/>
                  <a:gd name="connsiteX69" fmla="*/ 149225 w 857250"/>
                  <a:gd name="connsiteY69" fmla="*/ 714375 h 1263650"/>
                  <a:gd name="connsiteX70" fmla="*/ 152400 w 857250"/>
                  <a:gd name="connsiteY70" fmla="*/ 508000 h 1263650"/>
                  <a:gd name="connsiteX71" fmla="*/ 95250 w 857250"/>
                  <a:gd name="connsiteY71" fmla="*/ 469900 h 1263650"/>
                  <a:gd name="connsiteX72" fmla="*/ 114300 w 857250"/>
                  <a:gd name="connsiteY72" fmla="*/ 444500 h 1263650"/>
                  <a:gd name="connsiteX73" fmla="*/ 165100 w 857250"/>
                  <a:gd name="connsiteY73" fmla="*/ 438150 h 1263650"/>
                  <a:gd name="connsiteX74" fmla="*/ 190500 w 857250"/>
                  <a:gd name="connsiteY74" fmla="*/ 396875 h 1263650"/>
                  <a:gd name="connsiteX75" fmla="*/ 282575 w 857250"/>
                  <a:gd name="connsiteY75" fmla="*/ 371475 h 1263650"/>
                  <a:gd name="connsiteX76" fmla="*/ 292100 w 857250"/>
                  <a:gd name="connsiteY76" fmla="*/ 333375 h 1263650"/>
                  <a:gd name="connsiteX77" fmla="*/ 346075 w 857250"/>
                  <a:gd name="connsiteY77" fmla="*/ 352425 h 1263650"/>
                  <a:gd name="connsiteX78" fmla="*/ 317500 w 857250"/>
                  <a:gd name="connsiteY78" fmla="*/ 266700 h 1263650"/>
                  <a:gd name="connsiteX79" fmla="*/ 342900 w 857250"/>
                  <a:gd name="connsiteY79" fmla="*/ 219075 h 1263650"/>
                  <a:gd name="connsiteX80" fmla="*/ 273050 w 857250"/>
                  <a:gd name="connsiteY80" fmla="*/ 85725 h 1263650"/>
                  <a:gd name="connsiteX81" fmla="*/ 241300 w 857250"/>
                  <a:gd name="connsiteY81" fmla="*/ 79375 h 1263650"/>
                  <a:gd name="connsiteX82" fmla="*/ 222250 w 857250"/>
                  <a:gd name="connsiteY82" fmla="*/ 57150 h 1263650"/>
                  <a:gd name="connsiteX83" fmla="*/ 276225 w 857250"/>
                  <a:gd name="connsiteY83" fmla="*/ 44450 h 1263650"/>
                  <a:gd name="connsiteX84" fmla="*/ 288925 w 857250"/>
                  <a:gd name="connsiteY84" fmla="*/ 0 h 126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857250" h="1263650">
                    <a:moveTo>
                      <a:pt x="288925" y="0"/>
                    </a:moveTo>
                    <a:lnTo>
                      <a:pt x="377825" y="50800"/>
                    </a:lnTo>
                    <a:lnTo>
                      <a:pt x="441325" y="15875"/>
                    </a:lnTo>
                    <a:lnTo>
                      <a:pt x="438150" y="53975"/>
                    </a:lnTo>
                    <a:lnTo>
                      <a:pt x="488950" y="114300"/>
                    </a:lnTo>
                    <a:lnTo>
                      <a:pt x="508000" y="171450"/>
                    </a:lnTo>
                    <a:lnTo>
                      <a:pt x="536575" y="171450"/>
                    </a:lnTo>
                    <a:lnTo>
                      <a:pt x="609600" y="273050"/>
                    </a:lnTo>
                    <a:lnTo>
                      <a:pt x="609600" y="304800"/>
                    </a:lnTo>
                    <a:lnTo>
                      <a:pt x="692150" y="428625"/>
                    </a:lnTo>
                    <a:lnTo>
                      <a:pt x="714375" y="460375"/>
                    </a:lnTo>
                    <a:lnTo>
                      <a:pt x="660400" y="466725"/>
                    </a:lnTo>
                    <a:lnTo>
                      <a:pt x="619125" y="454025"/>
                    </a:lnTo>
                    <a:lnTo>
                      <a:pt x="533400" y="400050"/>
                    </a:lnTo>
                    <a:lnTo>
                      <a:pt x="527050" y="349250"/>
                    </a:lnTo>
                    <a:lnTo>
                      <a:pt x="473075" y="403225"/>
                    </a:lnTo>
                    <a:lnTo>
                      <a:pt x="473075" y="403225"/>
                    </a:lnTo>
                    <a:lnTo>
                      <a:pt x="485775" y="482600"/>
                    </a:lnTo>
                    <a:lnTo>
                      <a:pt x="508000" y="542925"/>
                    </a:lnTo>
                    <a:lnTo>
                      <a:pt x="549275" y="571500"/>
                    </a:lnTo>
                    <a:lnTo>
                      <a:pt x="504825" y="581025"/>
                    </a:lnTo>
                    <a:lnTo>
                      <a:pt x="561975" y="692150"/>
                    </a:lnTo>
                    <a:lnTo>
                      <a:pt x="600075" y="774700"/>
                    </a:lnTo>
                    <a:lnTo>
                      <a:pt x="587375" y="838200"/>
                    </a:lnTo>
                    <a:lnTo>
                      <a:pt x="600075" y="923925"/>
                    </a:lnTo>
                    <a:lnTo>
                      <a:pt x="571500" y="936625"/>
                    </a:lnTo>
                    <a:lnTo>
                      <a:pt x="590550" y="977900"/>
                    </a:lnTo>
                    <a:lnTo>
                      <a:pt x="631825" y="990600"/>
                    </a:lnTo>
                    <a:lnTo>
                      <a:pt x="654050" y="933450"/>
                    </a:lnTo>
                    <a:lnTo>
                      <a:pt x="688975" y="958850"/>
                    </a:lnTo>
                    <a:lnTo>
                      <a:pt x="800100" y="917575"/>
                    </a:lnTo>
                    <a:lnTo>
                      <a:pt x="857250" y="949325"/>
                    </a:lnTo>
                    <a:lnTo>
                      <a:pt x="800100" y="971550"/>
                    </a:lnTo>
                    <a:lnTo>
                      <a:pt x="781050" y="1003300"/>
                    </a:lnTo>
                    <a:lnTo>
                      <a:pt x="803275" y="1041400"/>
                    </a:lnTo>
                    <a:lnTo>
                      <a:pt x="787400" y="1095375"/>
                    </a:lnTo>
                    <a:lnTo>
                      <a:pt x="749300" y="1123950"/>
                    </a:lnTo>
                    <a:lnTo>
                      <a:pt x="730250" y="1155700"/>
                    </a:lnTo>
                    <a:lnTo>
                      <a:pt x="692150" y="1149350"/>
                    </a:lnTo>
                    <a:lnTo>
                      <a:pt x="688975" y="1200150"/>
                    </a:lnTo>
                    <a:lnTo>
                      <a:pt x="628650" y="1184275"/>
                    </a:lnTo>
                    <a:lnTo>
                      <a:pt x="542925" y="1209675"/>
                    </a:lnTo>
                    <a:lnTo>
                      <a:pt x="485775" y="1168400"/>
                    </a:lnTo>
                    <a:lnTo>
                      <a:pt x="485775" y="1168400"/>
                    </a:lnTo>
                    <a:lnTo>
                      <a:pt x="466725" y="1200150"/>
                    </a:lnTo>
                    <a:lnTo>
                      <a:pt x="400050" y="1263650"/>
                    </a:lnTo>
                    <a:lnTo>
                      <a:pt x="415925" y="1206500"/>
                    </a:lnTo>
                    <a:lnTo>
                      <a:pt x="393700" y="1190625"/>
                    </a:lnTo>
                    <a:lnTo>
                      <a:pt x="358775" y="1219200"/>
                    </a:lnTo>
                    <a:lnTo>
                      <a:pt x="311150" y="1222375"/>
                    </a:lnTo>
                    <a:lnTo>
                      <a:pt x="301625" y="1187450"/>
                    </a:lnTo>
                    <a:lnTo>
                      <a:pt x="311150" y="1174750"/>
                    </a:lnTo>
                    <a:lnTo>
                      <a:pt x="273050" y="1165225"/>
                    </a:lnTo>
                    <a:lnTo>
                      <a:pt x="273050" y="1114425"/>
                    </a:lnTo>
                    <a:lnTo>
                      <a:pt x="146050" y="1095375"/>
                    </a:lnTo>
                    <a:lnTo>
                      <a:pt x="190500" y="1057275"/>
                    </a:lnTo>
                    <a:lnTo>
                      <a:pt x="177800" y="977900"/>
                    </a:lnTo>
                    <a:lnTo>
                      <a:pt x="177800" y="977900"/>
                    </a:lnTo>
                    <a:lnTo>
                      <a:pt x="177800" y="977900"/>
                    </a:lnTo>
                    <a:lnTo>
                      <a:pt x="155575" y="920750"/>
                    </a:lnTo>
                    <a:lnTo>
                      <a:pt x="117475" y="936625"/>
                    </a:lnTo>
                    <a:lnTo>
                      <a:pt x="139700" y="895350"/>
                    </a:lnTo>
                    <a:lnTo>
                      <a:pt x="98425" y="854075"/>
                    </a:lnTo>
                    <a:lnTo>
                      <a:pt x="38100" y="885825"/>
                    </a:lnTo>
                    <a:lnTo>
                      <a:pt x="34925" y="831850"/>
                    </a:lnTo>
                    <a:lnTo>
                      <a:pt x="0" y="815975"/>
                    </a:lnTo>
                    <a:lnTo>
                      <a:pt x="60325" y="768350"/>
                    </a:lnTo>
                    <a:lnTo>
                      <a:pt x="34925" y="755650"/>
                    </a:lnTo>
                    <a:lnTo>
                      <a:pt x="38100" y="714375"/>
                    </a:lnTo>
                    <a:lnTo>
                      <a:pt x="149225" y="714375"/>
                    </a:lnTo>
                    <a:cubicBezTo>
                      <a:pt x="150283" y="645583"/>
                      <a:pt x="151342" y="576792"/>
                      <a:pt x="152400" y="508000"/>
                    </a:cubicBezTo>
                    <a:lnTo>
                      <a:pt x="95250" y="469900"/>
                    </a:lnTo>
                    <a:lnTo>
                      <a:pt x="114300" y="444500"/>
                    </a:lnTo>
                    <a:lnTo>
                      <a:pt x="165100" y="438150"/>
                    </a:lnTo>
                    <a:lnTo>
                      <a:pt x="190500" y="396875"/>
                    </a:lnTo>
                    <a:lnTo>
                      <a:pt x="282575" y="371475"/>
                    </a:lnTo>
                    <a:lnTo>
                      <a:pt x="292100" y="333375"/>
                    </a:lnTo>
                    <a:lnTo>
                      <a:pt x="346075" y="352425"/>
                    </a:lnTo>
                    <a:lnTo>
                      <a:pt x="317500" y="266700"/>
                    </a:lnTo>
                    <a:lnTo>
                      <a:pt x="342900" y="219075"/>
                    </a:lnTo>
                    <a:cubicBezTo>
                      <a:pt x="316442" y="170392"/>
                      <a:pt x="289983" y="109008"/>
                      <a:pt x="273050" y="85725"/>
                    </a:cubicBezTo>
                    <a:cubicBezTo>
                      <a:pt x="256117" y="62442"/>
                      <a:pt x="249767" y="84138"/>
                      <a:pt x="241300" y="79375"/>
                    </a:cubicBezTo>
                    <a:cubicBezTo>
                      <a:pt x="232833" y="74612"/>
                      <a:pt x="228600" y="64558"/>
                      <a:pt x="222250" y="57150"/>
                    </a:cubicBezTo>
                    <a:lnTo>
                      <a:pt x="276225" y="44450"/>
                    </a:lnTo>
                    <a:lnTo>
                      <a:pt x="288925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Forma libre 22"/>
              <p:cNvSpPr/>
              <p:nvPr/>
            </p:nvSpPr>
            <p:spPr>
              <a:xfrm>
                <a:off x="1234904" y="6462018"/>
                <a:ext cx="198042" cy="248867"/>
              </a:xfrm>
              <a:custGeom>
                <a:avLst/>
                <a:gdLst>
                  <a:gd name="connsiteX0" fmla="*/ 644525 w 1323975"/>
                  <a:gd name="connsiteY0" fmla="*/ 41275 h 1574800"/>
                  <a:gd name="connsiteX1" fmla="*/ 590550 w 1323975"/>
                  <a:gd name="connsiteY1" fmla="*/ 34925 h 1574800"/>
                  <a:gd name="connsiteX2" fmla="*/ 498475 w 1323975"/>
                  <a:gd name="connsiteY2" fmla="*/ 79375 h 1574800"/>
                  <a:gd name="connsiteX3" fmla="*/ 441325 w 1323975"/>
                  <a:gd name="connsiteY3" fmla="*/ 50800 h 1574800"/>
                  <a:gd name="connsiteX4" fmla="*/ 387350 w 1323975"/>
                  <a:gd name="connsiteY4" fmla="*/ 57150 h 1574800"/>
                  <a:gd name="connsiteX5" fmla="*/ 342900 w 1323975"/>
                  <a:gd name="connsiteY5" fmla="*/ 0 h 1574800"/>
                  <a:gd name="connsiteX6" fmla="*/ 307975 w 1323975"/>
                  <a:gd name="connsiteY6" fmla="*/ 34925 h 1574800"/>
                  <a:gd name="connsiteX7" fmla="*/ 231775 w 1323975"/>
                  <a:gd name="connsiteY7" fmla="*/ 34925 h 1574800"/>
                  <a:gd name="connsiteX8" fmla="*/ 187325 w 1323975"/>
                  <a:gd name="connsiteY8" fmla="*/ 63500 h 1574800"/>
                  <a:gd name="connsiteX9" fmla="*/ 184150 w 1323975"/>
                  <a:gd name="connsiteY9" fmla="*/ 120650 h 1574800"/>
                  <a:gd name="connsiteX10" fmla="*/ 136525 w 1323975"/>
                  <a:gd name="connsiteY10" fmla="*/ 187325 h 1574800"/>
                  <a:gd name="connsiteX11" fmla="*/ 139700 w 1323975"/>
                  <a:gd name="connsiteY11" fmla="*/ 222250 h 1574800"/>
                  <a:gd name="connsiteX12" fmla="*/ 174625 w 1323975"/>
                  <a:gd name="connsiteY12" fmla="*/ 219075 h 1574800"/>
                  <a:gd name="connsiteX13" fmla="*/ 231775 w 1323975"/>
                  <a:gd name="connsiteY13" fmla="*/ 333375 h 1574800"/>
                  <a:gd name="connsiteX14" fmla="*/ 139700 w 1323975"/>
                  <a:gd name="connsiteY14" fmla="*/ 377825 h 1574800"/>
                  <a:gd name="connsiteX15" fmla="*/ 114300 w 1323975"/>
                  <a:gd name="connsiteY15" fmla="*/ 450850 h 1574800"/>
                  <a:gd name="connsiteX16" fmla="*/ 69850 w 1323975"/>
                  <a:gd name="connsiteY16" fmla="*/ 374650 h 1574800"/>
                  <a:gd name="connsiteX17" fmla="*/ 0 w 1323975"/>
                  <a:gd name="connsiteY17" fmla="*/ 381000 h 1574800"/>
                  <a:gd name="connsiteX18" fmla="*/ 6350 w 1323975"/>
                  <a:gd name="connsiteY18" fmla="*/ 409575 h 1574800"/>
                  <a:gd name="connsiteX19" fmla="*/ 53975 w 1323975"/>
                  <a:gd name="connsiteY19" fmla="*/ 473075 h 1574800"/>
                  <a:gd name="connsiteX20" fmla="*/ 76200 w 1323975"/>
                  <a:gd name="connsiteY20" fmla="*/ 530225 h 1574800"/>
                  <a:gd name="connsiteX21" fmla="*/ 107950 w 1323975"/>
                  <a:gd name="connsiteY21" fmla="*/ 523875 h 1574800"/>
                  <a:gd name="connsiteX22" fmla="*/ 184150 w 1323975"/>
                  <a:gd name="connsiteY22" fmla="*/ 641350 h 1574800"/>
                  <a:gd name="connsiteX23" fmla="*/ 184150 w 1323975"/>
                  <a:gd name="connsiteY23" fmla="*/ 669925 h 1574800"/>
                  <a:gd name="connsiteX24" fmla="*/ 279400 w 1323975"/>
                  <a:gd name="connsiteY24" fmla="*/ 819150 h 1574800"/>
                  <a:gd name="connsiteX25" fmla="*/ 349250 w 1323975"/>
                  <a:gd name="connsiteY25" fmla="*/ 819150 h 1574800"/>
                  <a:gd name="connsiteX26" fmla="*/ 396875 w 1323975"/>
                  <a:gd name="connsiteY26" fmla="*/ 806450 h 1574800"/>
                  <a:gd name="connsiteX27" fmla="*/ 511175 w 1323975"/>
                  <a:gd name="connsiteY27" fmla="*/ 863600 h 1574800"/>
                  <a:gd name="connsiteX28" fmla="*/ 622300 w 1323975"/>
                  <a:gd name="connsiteY28" fmla="*/ 923925 h 1574800"/>
                  <a:gd name="connsiteX29" fmla="*/ 685800 w 1323975"/>
                  <a:gd name="connsiteY29" fmla="*/ 949325 h 1574800"/>
                  <a:gd name="connsiteX30" fmla="*/ 711200 w 1323975"/>
                  <a:gd name="connsiteY30" fmla="*/ 1025525 h 1574800"/>
                  <a:gd name="connsiteX31" fmla="*/ 695325 w 1323975"/>
                  <a:gd name="connsiteY31" fmla="*/ 1101725 h 1574800"/>
                  <a:gd name="connsiteX32" fmla="*/ 619125 w 1323975"/>
                  <a:gd name="connsiteY32" fmla="*/ 1177925 h 1574800"/>
                  <a:gd name="connsiteX33" fmla="*/ 542925 w 1323975"/>
                  <a:gd name="connsiteY33" fmla="*/ 1235075 h 1574800"/>
                  <a:gd name="connsiteX34" fmla="*/ 558800 w 1323975"/>
                  <a:gd name="connsiteY34" fmla="*/ 1282700 h 1574800"/>
                  <a:gd name="connsiteX35" fmla="*/ 546100 w 1323975"/>
                  <a:gd name="connsiteY35" fmla="*/ 1314450 h 1574800"/>
                  <a:gd name="connsiteX36" fmla="*/ 581025 w 1323975"/>
                  <a:gd name="connsiteY36" fmla="*/ 1333500 h 1574800"/>
                  <a:gd name="connsiteX37" fmla="*/ 669925 w 1323975"/>
                  <a:gd name="connsiteY37" fmla="*/ 1330325 h 1574800"/>
                  <a:gd name="connsiteX38" fmla="*/ 704850 w 1323975"/>
                  <a:gd name="connsiteY38" fmla="*/ 1365250 h 1574800"/>
                  <a:gd name="connsiteX39" fmla="*/ 714375 w 1323975"/>
                  <a:gd name="connsiteY39" fmla="*/ 1270000 h 1574800"/>
                  <a:gd name="connsiteX40" fmla="*/ 714375 w 1323975"/>
                  <a:gd name="connsiteY40" fmla="*/ 1270000 h 1574800"/>
                  <a:gd name="connsiteX41" fmla="*/ 774700 w 1323975"/>
                  <a:gd name="connsiteY41" fmla="*/ 1346200 h 1574800"/>
                  <a:gd name="connsiteX42" fmla="*/ 825500 w 1323975"/>
                  <a:gd name="connsiteY42" fmla="*/ 1397000 h 1574800"/>
                  <a:gd name="connsiteX43" fmla="*/ 784225 w 1323975"/>
                  <a:gd name="connsiteY43" fmla="*/ 1431925 h 1574800"/>
                  <a:gd name="connsiteX44" fmla="*/ 850900 w 1323975"/>
                  <a:gd name="connsiteY44" fmla="*/ 1444625 h 1574800"/>
                  <a:gd name="connsiteX45" fmla="*/ 879475 w 1323975"/>
                  <a:gd name="connsiteY45" fmla="*/ 1473200 h 1574800"/>
                  <a:gd name="connsiteX46" fmla="*/ 917575 w 1323975"/>
                  <a:gd name="connsiteY46" fmla="*/ 1425575 h 1574800"/>
                  <a:gd name="connsiteX47" fmla="*/ 917575 w 1323975"/>
                  <a:gd name="connsiteY47" fmla="*/ 1425575 h 1574800"/>
                  <a:gd name="connsiteX48" fmla="*/ 971550 w 1323975"/>
                  <a:gd name="connsiteY48" fmla="*/ 1447800 h 1574800"/>
                  <a:gd name="connsiteX49" fmla="*/ 1019175 w 1323975"/>
                  <a:gd name="connsiteY49" fmla="*/ 1425575 h 1574800"/>
                  <a:gd name="connsiteX50" fmla="*/ 1047750 w 1323975"/>
                  <a:gd name="connsiteY50" fmla="*/ 1450975 h 1574800"/>
                  <a:gd name="connsiteX51" fmla="*/ 1041400 w 1323975"/>
                  <a:gd name="connsiteY51" fmla="*/ 1498600 h 1574800"/>
                  <a:gd name="connsiteX52" fmla="*/ 1019175 w 1323975"/>
                  <a:gd name="connsiteY52" fmla="*/ 1524000 h 1574800"/>
                  <a:gd name="connsiteX53" fmla="*/ 1047750 w 1323975"/>
                  <a:gd name="connsiteY53" fmla="*/ 1574800 h 1574800"/>
                  <a:gd name="connsiteX54" fmla="*/ 1079500 w 1323975"/>
                  <a:gd name="connsiteY54" fmla="*/ 1571625 h 1574800"/>
                  <a:gd name="connsiteX55" fmla="*/ 1117600 w 1323975"/>
                  <a:gd name="connsiteY55" fmla="*/ 1498600 h 1574800"/>
                  <a:gd name="connsiteX56" fmla="*/ 1104900 w 1323975"/>
                  <a:gd name="connsiteY56" fmla="*/ 1298575 h 1574800"/>
                  <a:gd name="connsiteX57" fmla="*/ 1069975 w 1323975"/>
                  <a:gd name="connsiteY57" fmla="*/ 1311275 h 1574800"/>
                  <a:gd name="connsiteX58" fmla="*/ 1054100 w 1323975"/>
                  <a:gd name="connsiteY58" fmla="*/ 1270000 h 1574800"/>
                  <a:gd name="connsiteX59" fmla="*/ 1114425 w 1323975"/>
                  <a:gd name="connsiteY59" fmla="*/ 1244600 h 1574800"/>
                  <a:gd name="connsiteX60" fmla="*/ 1108075 w 1323975"/>
                  <a:gd name="connsiteY60" fmla="*/ 1165225 h 1574800"/>
                  <a:gd name="connsiteX61" fmla="*/ 1184275 w 1323975"/>
                  <a:gd name="connsiteY61" fmla="*/ 1076325 h 1574800"/>
                  <a:gd name="connsiteX62" fmla="*/ 1146175 w 1323975"/>
                  <a:gd name="connsiteY62" fmla="*/ 1031875 h 1574800"/>
                  <a:gd name="connsiteX63" fmla="*/ 1143000 w 1323975"/>
                  <a:gd name="connsiteY63" fmla="*/ 946150 h 1574800"/>
                  <a:gd name="connsiteX64" fmla="*/ 1209675 w 1323975"/>
                  <a:gd name="connsiteY64" fmla="*/ 974725 h 1574800"/>
                  <a:gd name="connsiteX65" fmla="*/ 1206500 w 1323975"/>
                  <a:gd name="connsiteY65" fmla="*/ 917575 h 1574800"/>
                  <a:gd name="connsiteX66" fmla="*/ 1279525 w 1323975"/>
                  <a:gd name="connsiteY66" fmla="*/ 857250 h 1574800"/>
                  <a:gd name="connsiteX67" fmla="*/ 1320800 w 1323975"/>
                  <a:gd name="connsiteY67" fmla="*/ 800100 h 1574800"/>
                  <a:gd name="connsiteX68" fmla="*/ 1323975 w 1323975"/>
                  <a:gd name="connsiteY68" fmla="*/ 746125 h 1574800"/>
                  <a:gd name="connsiteX69" fmla="*/ 1260475 w 1323975"/>
                  <a:gd name="connsiteY69" fmla="*/ 733425 h 1574800"/>
                  <a:gd name="connsiteX70" fmla="*/ 1244600 w 1323975"/>
                  <a:gd name="connsiteY70" fmla="*/ 711200 h 1574800"/>
                  <a:gd name="connsiteX71" fmla="*/ 1206500 w 1323975"/>
                  <a:gd name="connsiteY71" fmla="*/ 736600 h 1574800"/>
                  <a:gd name="connsiteX72" fmla="*/ 1155700 w 1323975"/>
                  <a:gd name="connsiteY72" fmla="*/ 704850 h 1574800"/>
                  <a:gd name="connsiteX73" fmla="*/ 1092200 w 1323975"/>
                  <a:gd name="connsiteY73" fmla="*/ 784225 h 1574800"/>
                  <a:gd name="connsiteX74" fmla="*/ 1025525 w 1323975"/>
                  <a:gd name="connsiteY74" fmla="*/ 758825 h 1574800"/>
                  <a:gd name="connsiteX75" fmla="*/ 1038225 w 1323975"/>
                  <a:gd name="connsiteY75" fmla="*/ 669925 h 1574800"/>
                  <a:gd name="connsiteX76" fmla="*/ 987425 w 1323975"/>
                  <a:gd name="connsiteY76" fmla="*/ 666750 h 1574800"/>
                  <a:gd name="connsiteX77" fmla="*/ 917575 w 1323975"/>
                  <a:gd name="connsiteY77" fmla="*/ 628650 h 1574800"/>
                  <a:gd name="connsiteX78" fmla="*/ 882650 w 1323975"/>
                  <a:gd name="connsiteY78" fmla="*/ 568325 h 1574800"/>
                  <a:gd name="connsiteX79" fmla="*/ 819150 w 1323975"/>
                  <a:gd name="connsiteY79" fmla="*/ 606425 h 1574800"/>
                  <a:gd name="connsiteX80" fmla="*/ 736600 w 1323975"/>
                  <a:gd name="connsiteY80" fmla="*/ 568325 h 1574800"/>
                  <a:gd name="connsiteX81" fmla="*/ 685800 w 1323975"/>
                  <a:gd name="connsiteY81" fmla="*/ 485775 h 1574800"/>
                  <a:gd name="connsiteX82" fmla="*/ 727075 w 1323975"/>
                  <a:gd name="connsiteY82" fmla="*/ 419100 h 1574800"/>
                  <a:gd name="connsiteX83" fmla="*/ 673100 w 1323975"/>
                  <a:gd name="connsiteY83" fmla="*/ 384175 h 1574800"/>
                  <a:gd name="connsiteX84" fmla="*/ 676275 w 1323975"/>
                  <a:gd name="connsiteY84" fmla="*/ 320675 h 1574800"/>
                  <a:gd name="connsiteX85" fmla="*/ 612775 w 1323975"/>
                  <a:gd name="connsiteY85" fmla="*/ 314325 h 1574800"/>
                  <a:gd name="connsiteX86" fmla="*/ 546100 w 1323975"/>
                  <a:gd name="connsiteY86" fmla="*/ 177800 h 1574800"/>
                  <a:gd name="connsiteX87" fmla="*/ 644525 w 1323975"/>
                  <a:gd name="connsiteY87" fmla="*/ 41275 h 157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1323975" h="1574800">
                    <a:moveTo>
                      <a:pt x="644525" y="41275"/>
                    </a:moveTo>
                    <a:lnTo>
                      <a:pt x="590550" y="34925"/>
                    </a:lnTo>
                    <a:lnTo>
                      <a:pt x="498475" y="79375"/>
                    </a:lnTo>
                    <a:lnTo>
                      <a:pt x="441325" y="50800"/>
                    </a:lnTo>
                    <a:lnTo>
                      <a:pt x="387350" y="57150"/>
                    </a:lnTo>
                    <a:lnTo>
                      <a:pt x="342900" y="0"/>
                    </a:lnTo>
                    <a:lnTo>
                      <a:pt x="307975" y="34925"/>
                    </a:lnTo>
                    <a:lnTo>
                      <a:pt x="231775" y="34925"/>
                    </a:lnTo>
                    <a:lnTo>
                      <a:pt x="187325" y="63500"/>
                    </a:lnTo>
                    <a:lnTo>
                      <a:pt x="184150" y="120650"/>
                    </a:lnTo>
                    <a:lnTo>
                      <a:pt x="136525" y="187325"/>
                    </a:lnTo>
                    <a:lnTo>
                      <a:pt x="139700" y="222250"/>
                    </a:lnTo>
                    <a:lnTo>
                      <a:pt x="174625" y="219075"/>
                    </a:lnTo>
                    <a:lnTo>
                      <a:pt x="231775" y="333375"/>
                    </a:lnTo>
                    <a:lnTo>
                      <a:pt x="139700" y="377825"/>
                    </a:lnTo>
                    <a:lnTo>
                      <a:pt x="114300" y="450850"/>
                    </a:lnTo>
                    <a:lnTo>
                      <a:pt x="69850" y="374650"/>
                    </a:lnTo>
                    <a:lnTo>
                      <a:pt x="0" y="381000"/>
                    </a:lnTo>
                    <a:lnTo>
                      <a:pt x="6350" y="409575"/>
                    </a:lnTo>
                    <a:lnTo>
                      <a:pt x="53975" y="473075"/>
                    </a:lnTo>
                    <a:lnTo>
                      <a:pt x="76200" y="530225"/>
                    </a:lnTo>
                    <a:lnTo>
                      <a:pt x="107950" y="523875"/>
                    </a:lnTo>
                    <a:lnTo>
                      <a:pt x="184150" y="641350"/>
                    </a:lnTo>
                    <a:lnTo>
                      <a:pt x="184150" y="669925"/>
                    </a:lnTo>
                    <a:lnTo>
                      <a:pt x="279400" y="819150"/>
                    </a:lnTo>
                    <a:lnTo>
                      <a:pt x="349250" y="819150"/>
                    </a:lnTo>
                    <a:lnTo>
                      <a:pt x="396875" y="806450"/>
                    </a:lnTo>
                    <a:lnTo>
                      <a:pt x="511175" y="863600"/>
                    </a:lnTo>
                    <a:lnTo>
                      <a:pt x="622300" y="923925"/>
                    </a:lnTo>
                    <a:lnTo>
                      <a:pt x="685800" y="949325"/>
                    </a:lnTo>
                    <a:lnTo>
                      <a:pt x="711200" y="1025525"/>
                    </a:lnTo>
                    <a:lnTo>
                      <a:pt x="695325" y="1101725"/>
                    </a:lnTo>
                    <a:lnTo>
                      <a:pt x="619125" y="1177925"/>
                    </a:lnTo>
                    <a:lnTo>
                      <a:pt x="542925" y="1235075"/>
                    </a:lnTo>
                    <a:lnTo>
                      <a:pt x="558800" y="1282700"/>
                    </a:lnTo>
                    <a:lnTo>
                      <a:pt x="546100" y="1314450"/>
                    </a:lnTo>
                    <a:lnTo>
                      <a:pt x="581025" y="1333500"/>
                    </a:lnTo>
                    <a:lnTo>
                      <a:pt x="669925" y="1330325"/>
                    </a:lnTo>
                    <a:lnTo>
                      <a:pt x="704850" y="1365250"/>
                    </a:lnTo>
                    <a:lnTo>
                      <a:pt x="714375" y="1270000"/>
                    </a:lnTo>
                    <a:lnTo>
                      <a:pt x="714375" y="1270000"/>
                    </a:lnTo>
                    <a:lnTo>
                      <a:pt x="774700" y="1346200"/>
                    </a:lnTo>
                    <a:lnTo>
                      <a:pt x="825500" y="1397000"/>
                    </a:lnTo>
                    <a:lnTo>
                      <a:pt x="784225" y="1431925"/>
                    </a:lnTo>
                    <a:lnTo>
                      <a:pt x="850900" y="1444625"/>
                    </a:lnTo>
                    <a:lnTo>
                      <a:pt x="879475" y="1473200"/>
                    </a:lnTo>
                    <a:lnTo>
                      <a:pt x="917575" y="1425575"/>
                    </a:lnTo>
                    <a:lnTo>
                      <a:pt x="917575" y="1425575"/>
                    </a:lnTo>
                    <a:lnTo>
                      <a:pt x="971550" y="1447800"/>
                    </a:lnTo>
                    <a:lnTo>
                      <a:pt x="1019175" y="1425575"/>
                    </a:lnTo>
                    <a:lnTo>
                      <a:pt x="1047750" y="1450975"/>
                    </a:lnTo>
                    <a:lnTo>
                      <a:pt x="1041400" y="1498600"/>
                    </a:lnTo>
                    <a:lnTo>
                      <a:pt x="1019175" y="1524000"/>
                    </a:lnTo>
                    <a:lnTo>
                      <a:pt x="1047750" y="1574800"/>
                    </a:lnTo>
                    <a:lnTo>
                      <a:pt x="1079500" y="1571625"/>
                    </a:lnTo>
                    <a:lnTo>
                      <a:pt x="1117600" y="1498600"/>
                    </a:lnTo>
                    <a:lnTo>
                      <a:pt x="1104900" y="1298575"/>
                    </a:lnTo>
                    <a:lnTo>
                      <a:pt x="1069975" y="1311275"/>
                    </a:lnTo>
                    <a:lnTo>
                      <a:pt x="1054100" y="1270000"/>
                    </a:lnTo>
                    <a:lnTo>
                      <a:pt x="1114425" y="1244600"/>
                    </a:lnTo>
                    <a:lnTo>
                      <a:pt x="1108075" y="1165225"/>
                    </a:lnTo>
                    <a:lnTo>
                      <a:pt x="1184275" y="1076325"/>
                    </a:lnTo>
                    <a:lnTo>
                      <a:pt x="1146175" y="1031875"/>
                    </a:lnTo>
                    <a:lnTo>
                      <a:pt x="1143000" y="946150"/>
                    </a:lnTo>
                    <a:lnTo>
                      <a:pt x="1209675" y="974725"/>
                    </a:lnTo>
                    <a:lnTo>
                      <a:pt x="1206500" y="917575"/>
                    </a:lnTo>
                    <a:lnTo>
                      <a:pt x="1279525" y="857250"/>
                    </a:lnTo>
                    <a:lnTo>
                      <a:pt x="1320800" y="800100"/>
                    </a:lnTo>
                    <a:lnTo>
                      <a:pt x="1323975" y="746125"/>
                    </a:lnTo>
                    <a:lnTo>
                      <a:pt x="1260475" y="733425"/>
                    </a:lnTo>
                    <a:lnTo>
                      <a:pt x="1244600" y="711200"/>
                    </a:lnTo>
                    <a:lnTo>
                      <a:pt x="1206500" y="736600"/>
                    </a:lnTo>
                    <a:lnTo>
                      <a:pt x="1155700" y="704850"/>
                    </a:lnTo>
                    <a:lnTo>
                      <a:pt x="1092200" y="784225"/>
                    </a:lnTo>
                    <a:lnTo>
                      <a:pt x="1025525" y="758825"/>
                    </a:lnTo>
                    <a:lnTo>
                      <a:pt x="1038225" y="669925"/>
                    </a:lnTo>
                    <a:lnTo>
                      <a:pt x="987425" y="666750"/>
                    </a:lnTo>
                    <a:lnTo>
                      <a:pt x="917575" y="628650"/>
                    </a:lnTo>
                    <a:lnTo>
                      <a:pt x="882650" y="568325"/>
                    </a:lnTo>
                    <a:lnTo>
                      <a:pt x="819150" y="606425"/>
                    </a:lnTo>
                    <a:lnTo>
                      <a:pt x="736600" y="568325"/>
                    </a:lnTo>
                    <a:lnTo>
                      <a:pt x="685800" y="485775"/>
                    </a:lnTo>
                    <a:lnTo>
                      <a:pt x="727075" y="419100"/>
                    </a:lnTo>
                    <a:lnTo>
                      <a:pt x="673100" y="384175"/>
                    </a:lnTo>
                    <a:lnTo>
                      <a:pt x="676275" y="320675"/>
                    </a:lnTo>
                    <a:lnTo>
                      <a:pt x="612775" y="314325"/>
                    </a:lnTo>
                    <a:lnTo>
                      <a:pt x="546100" y="177800"/>
                    </a:lnTo>
                    <a:lnTo>
                      <a:pt x="644525" y="4127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42" name="Forma libre 23"/>
              <p:cNvSpPr/>
              <p:nvPr/>
            </p:nvSpPr>
            <p:spPr>
              <a:xfrm>
                <a:off x="1241553" y="6577922"/>
                <a:ext cx="96884" cy="96336"/>
              </a:xfrm>
              <a:custGeom>
                <a:avLst/>
                <a:gdLst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84200 w 657225"/>
                  <a:gd name="connsiteY2" fmla="*/ 4349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7465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84200 w 657225"/>
                  <a:gd name="connsiteY2" fmla="*/ 4349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222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26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69900 w 657225"/>
                  <a:gd name="connsiteY3" fmla="*/ 50800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5775 w 657225"/>
                  <a:gd name="connsiteY3" fmla="*/ 504825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69900 w 657225"/>
                  <a:gd name="connsiteY3" fmla="*/ 51435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2600 w 657225"/>
                  <a:gd name="connsiteY3" fmla="*/ 51435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444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57225 w 657225"/>
                  <a:gd name="connsiteY0" fmla="*/ 288925 h 609600"/>
                  <a:gd name="connsiteX1" fmla="*/ 654050 w 657225"/>
                  <a:gd name="connsiteY1" fmla="*/ 355600 h 609600"/>
                  <a:gd name="connsiteX2" fmla="*/ 574675 w 657225"/>
                  <a:gd name="connsiteY2" fmla="*/ 434975 h 609600"/>
                  <a:gd name="connsiteX3" fmla="*/ 482600 w 657225"/>
                  <a:gd name="connsiteY3" fmla="*/ 514350 h 609600"/>
                  <a:gd name="connsiteX4" fmla="*/ 501650 w 657225"/>
                  <a:gd name="connsiteY4" fmla="*/ 533400 h 609600"/>
                  <a:gd name="connsiteX5" fmla="*/ 498475 w 657225"/>
                  <a:gd name="connsiteY5" fmla="*/ 561975 h 609600"/>
                  <a:gd name="connsiteX6" fmla="*/ 425450 w 657225"/>
                  <a:gd name="connsiteY6" fmla="*/ 558800 h 609600"/>
                  <a:gd name="connsiteX7" fmla="*/ 393700 w 657225"/>
                  <a:gd name="connsiteY7" fmla="*/ 549275 h 609600"/>
                  <a:gd name="connsiteX8" fmla="*/ 384175 w 657225"/>
                  <a:gd name="connsiteY8" fmla="*/ 574675 h 609600"/>
                  <a:gd name="connsiteX9" fmla="*/ 317500 w 657225"/>
                  <a:gd name="connsiteY9" fmla="*/ 536575 h 609600"/>
                  <a:gd name="connsiteX10" fmla="*/ 206375 w 657225"/>
                  <a:gd name="connsiteY10" fmla="*/ 581025 h 609600"/>
                  <a:gd name="connsiteX11" fmla="*/ 177800 w 657225"/>
                  <a:gd name="connsiteY11" fmla="*/ 546100 h 609600"/>
                  <a:gd name="connsiteX12" fmla="*/ 152400 w 657225"/>
                  <a:gd name="connsiteY12" fmla="*/ 609600 h 609600"/>
                  <a:gd name="connsiteX13" fmla="*/ 117475 w 657225"/>
                  <a:gd name="connsiteY13" fmla="*/ 590550 h 609600"/>
                  <a:gd name="connsiteX14" fmla="*/ 114300 w 657225"/>
                  <a:gd name="connsiteY14" fmla="*/ 561975 h 609600"/>
                  <a:gd name="connsiteX15" fmla="*/ 139700 w 657225"/>
                  <a:gd name="connsiteY15" fmla="*/ 542925 h 609600"/>
                  <a:gd name="connsiteX16" fmla="*/ 117475 w 657225"/>
                  <a:gd name="connsiteY16" fmla="*/ 485775 h 609600"/>
                  <a:gd name="connsiteX17" fmla="*/ 136525 w 657225"/>
                  <a:gd name="connsiteY17" fmla="*/ 393700 h 609600"/>
                  <a:gd name="connsiteX18" fmla="*/ 44450 w 657225"/>
                  <a:gd name="connsiteY18" fmla="*/ 222250 h 609600"/>
                  <a:gd name="connsiteX19" fmla="*/ 95250 w 657225"/>
                  <a:gd name="connsiteY19" fmla="*/ 203200 h 609600"/>
                  <a:gd name="connsiteX20" fmla="*/ 38100 w 657225"/>
                  <a:gd name="connsiteY20" fmla="*/ 165100 h 609600"/>
                  <a:gd name="connsiteX21" fmla="*/ 0 w 657225"/>
                  <a:gd name="connsiteY21" fmla="*/ 57150 h 609600"/>
                  <a:gd name="connsiteX22" fmla="*/ 41275 w 657225"/>
                  <a:gd name="connsiteY22" fmla="*/ 0 h 609600"/>
                  <a:gd name="connsiteX23" fmla="*/ 44450 w 657225"/>
                  <a:gd name="connsiteY23" fmla="*/ 47625 h 609600"/>
                  <a:gd name="connsiteX24" fmla="*/ 177800 w 657225"/>
                  <a:gd name="connsiteY24" fmla="*/ 117475 h 609600"/>
                  <a:gd name="connsiteX25" fmla="*/ 368300 w 657225"/>
                  <a:gd name="connsiteY25" fmla="*/ 88900 h 609600"/>
                  <a:gd name="connsiteX26" fmla="*/ 631825 w 657225"/>
                  <a:gd name="connsiteY26" fmla="*/ 215900 h 609600"/>
                  <a:gd name="connsiteX27" fmla="*/ 657225 w 657225"/>
                  <a:gd name="connsiteY27" fmla="*/ 288925 h 609600"/>
                  <a:gd name="connsiteX0" fmla="*/ 647700 w 647700"/>
                  <a:gd name="connsiteY0" fmla="*/ 288925 h 609600"/>
                  <a:gd name="connsiteX1" fmla="*/ 644525 w 647700"/>
                  <a:gd name="connsiteY1" fmla="*/ 355600 h 609600"/>
                  <a:gd name="connsiteX2" fmla="*/ 565150 w 647700"/>
                  <a:gd name="connsiteY2" fmla="*/ 434975 h 609600"/>
                  <a:gd name="connsiteX3" fmla="*/ 473075 w 647700"/>
                  <a:gd name="connsiteY3" fmla="*/ 514350 h 609600"/>
                  <a:gd name="connsiteX4" fmla="*/ 492125 w 647700"/>
                  <a:gd name="connsiteY4" fmla="*/ 533400 h 609600"/>
                  <a:gd name="connsiteX5" fmla="*/ 488950 w 647700"/>
                  <a:gd name="connsiteY5" fmla="*/ 561975 h 609600"/>
                  <a:gd name="connsiteX6" fmla="*/ 415925 w 647700"/>
                  <a:gd name="connsiteY6" fmla="*/ 558800 h 609600"/>
                  <a:gd name="connsiteX7" fmla="*/ 384175 w 647700"/>
                  <a:gd name="connsiteY7" fmla="*/ 549275 h 609600"/>
                  <a:gd name="connsiteX8" fmla="*/ 374650 w 647700"/>
                  <a:gd name="connsiteY8" fmla="*/ 574675 h 609600"/>
                  <a:gd name="connsiteX9" fmla="*/ 307975 w 647700"/>
                  <a:gd name="connsiteY9" fmla="*/ 536575 h 609600"/>
                  <a:gd name="connsiteX10" fmla="*/ 196850 w 647700"/>
                  <a:gd name="connsiteY10" fmla="*/ 581025 h 609600"/>
                  <a:gd name="connsiteX11" fmla="*/ 168275 w 647700"/>
                  <a:gd name="connsiteY11" fmla="*/ 546100 h 609600"/>
                  <a:gd name="connsiteX12" fmla="*/ 142875 w 647700"/>
                  <a:gd name="connsiteY12" fmla="*/ 609600 h 609600"/>
                  <a:gd name="connsiteX13" fmla="*/ 107950 w 647700"/>
                  <a:gd name="connsiteY13" fmla="*/ 590550 h 609600"/>
                  <a:gd name="connsiteX14" fmla="*/ 104775 w 647700"/>
                  <a:gd name="connsiteY14" fmla="*/ 561975 h 609600"/>
                  <a:gd name="connsiteX15" fmla="*/ 130175 w 647700"/>
                  <a:gd name="connsiteY15" fmla="*/ 542925 h 609600"/>
                  <a:gd name="connsiteX16" fmla="*/ 107950 w 647700"/>
                  <a:gd name="connsiteY16" fmla="*/ 485775 h 609600"/>
                  <a:gd name="connsiteX17" fmla="*/ 127000 w 647700"/>
                  <a:gd name="connsiteY17" fmla="*/ 393700 h 609600"/>
                  <a:gd name="connsiteX18" fmla="*/ 34925 w 647700"/>
                  <a:gd name="connsiteY18" fmla="*/ 222250 h 609600"/>
                  <a:gd name="connsiteX19" fmla="*/ 85725 w 647700"/>
                  <a:gd name="connsiteY19" fmla="*/ 203200 h 609600"/>
                  <a:gd name="connsiteX20" fmla="*/ 28575 w 647700"/>
                  <a:gd name="connsiteY20" fmla="*/ 165100 h 609600"/>
                  <a:gd name="connsiteX21" fmla="*/ 0 w 647700"/>
                  <a:gd name="connsiteY21" fmla="*/ 44450 h 609600"/>
                  <a:gd name="connsiteX22" fmla="*/ 31750 w 647700"/>
                  <a:gd name="connsiteY22" fmla="*/ 0 h 609600"/>
                  <a:gd name="connsiteX23" fmla="*/ 34925 w 647700"/>
                  <a:gd name="connsiteY23" fmla="*/ 47625 h 609600"/>
                  <a:gd name="connsiteX24" fmla="*/ 168275 w 647700"/>
                  <a:gd name="connsiteY24" fmla="*/ 117475 h 609600"/>
                  <a:gd name="connsiteX25" fmla="*/ 358775 w 647700"/>
                  <a:gd name="connsiteY25" fmla="*/ 88900 h 609600"/>
                  <a:gd name="connsiteX26" fmla="*/ 622300 w 647700"/>
                  <a:gd name="connsiteY26" fmla="*/ 215900 h 609600"/>
                  <a:gd name="connsiteX27" fmla="*/ 647700 w 647700"/>
                  <a:gd name="connsiteY27" fmla="*/ 288925 h 60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647700" h="609600">
                    <a:moveTo>
                      <a:pt x="647700" y="288925"/>
                    </a:moveTo>
                    <a:lnTo>
                      <a:pt x="644525" y="355600"/>
                    </a:lnTo>
                    <a:lnTo>
                      <a:pt x="565150" y="434975"/>
                    </a:lnTo>
                    <a:lnTo>
                      <a:pt x="473075" y="514350"/>
                    </a:lnTo>
                    <a:lnTo>
                      <a:pt x="492125" y="533400"/>
                    </a:lnTo>
                    <a:lnTo>
                      <a:pt x="488950" y="561975"/>
                    </a:lnTo>
                    <a:lnTo>
                      <a:pt x="415925" y="558800"/>
                    </a:lnTo>
                    <a:lnTo>
                      <a:pt x="384175" y="549275"/>
                    </a:lnTo>
                    <a:lnTo>
                      <a:pt x="374650" y="574675"/>
                    </a:lnTo>
                    <a:lnTo>
                      <a:pt x="307975" y="536575"/>
                    </a:lnTo>
                    <a:lnTo>
                      <a:pt x="196850" y="581025"/>
                    </a:lnTo>
                    <a:lnTo>
                      <a:pt x="168275" y="546100"/>
                    </a:lnTo>
                    <a:lnTo>
                      <a:pt x="142875" y="609600"/>
                    </a:lnTo>
                    <a:lnTo>
                      <a:pt x="107950" y="590550"/>
                    </a:lnTo>
                    <a:lnTo>
                      <a:pt x="104775" y="561975"/>
                    </a:lnTo>
                    <a:lnTo>
                      <a:pt x="130175" y="542925"/>
                    </a:lnTo>
                    <a:lnTo>
                      <a:pt x="107950" y="485775"/>
                    </a:lnTo>
                    <a:lnTo>
                      <a:pt x="127000" y="393700"/>
                    </a:lnTo>
                    <a:lnTo>
                      <a:pt x="34925" y="222250"/>
                    </a:lnTo>
                    <a:lnTo>
                      <a:pt x="85725" y="203200"/>
                    </a:lnTo>
                    <a:lnTo>
                      <a:pt x="28575" y="165100"/>
                    </a:lnTo>
                    <a:lnTo>
                      <a:pt x="0" y="44450"/>
                    </a:lnTo>
                    <a:lnTo>
                      <a:pt x="31750" y="0"/>
                    </a:lnTo>
                    <a:lnTo>
                      <a:pt x="34925" y="47625"/>
                    </a:lnTo>
                    <a:lnTo>
                      <a:pt x="168275" y="117475"/>
                    </a:lnTo>
                    <a:lnTo>
                      <a:pt x="358775" y="88900"/>
                    </a:lnTo>
                    <a:lnTo>
                      <a:pt x="622300" y="215900"/>
                    </a:lnTo>
                    <a:lnTo>
                      <a:pt x="647700" y="288925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Forma libre 24"/>
              <p:cNvSpPr/>
              <p:nvPr/>
            </p:nvSpPr>
            <p:spPr>
              <a:xfrm>
                <a:off x="1173164" y="6665226"/>
                <a:ext cx="237460" cy="155040"/>
              </a:xfrm>
              <a:custGeom>
                <a:avLst/>
                <a:gdLst>
                  <a:gd name="connsiteX0" fmla="*/ 0 w 1574800"/>
                  <a:gd name="connsiteY0" fmla="*/ 301625 h 981075"/>
                  <a:gd name="connsiteX1" fmla="*/ 88900 w 1574800"/>
                  <a:gd name="connsiteY1" fmla="*/ 346075 h 981075"/>
                  <a:gd name="connsiteX2" fmla="*/ 209550 w 1574800"/>
                  <a:gd name="connsiteY2" fmla="*/ 396875 h 981075"/>
                  <a:gd name="connsiteX3" fmla="*/ 215900 w 1574800"/>
                  <a:gd name="connsiteY3" fmla="*/ 431800 h 981075"/>
                  <a:gd name="connsiteX4" fmla="*/ 285750 w 1574800"/>
                  <a:gd name="connsiteY4" fmla="*/ 444500 h 981075"/>
                  <a:gd name="connsiteX5" fmla="*/ 377825 w 1574800"/>
                  <a:gd name="connsiteY5" fmla="*/ 498475 h 981075"/>
                  <a:gd name="connsiteX6" fmla="*/ 498475 w 1574800"/>
                  <a:gd name="connsiteY6" fmla="*/ 590550 h 981075"/>
                  <a:gd name="connsiteX7" fmla="*/ 638175 w 1574800"/>
                  <a:gd name="connsiteY7" fmla="*/ 622300 h 981075"/>
                  <a:gd name="connsiteX8" fmla="*/ 660400 w 1574800"/>
                  <a:gd name="connsiteY8" fmla="*/ 660400 h 981075"/>
                  <a:gd name="connsiteX9" fmla="*/ 711200 w 1574800"/>
                  <a:gd name="connsiteY9" fmla="*/ 660400 h 981075"/>
                  <a:gd name="connsiteX10" fmla="*/ 790575 w 1574800"/>
                  <a:gd name="connsiteY10" fmla="*/ 698500 h 981075"/>
                  <a:gd name="connsiteX11" fmla="*/ 844550 w 1574800"/>
                  <a:gd name="connsiteY11" fmla="*/ 749300 h 981075"/>
                  <a:gd name="connsiteX12" fmla="*/ 974725 w 1574800"/>
                  <a:gd name="connsiteY12" fmla="*/ 762000 h 981075"/>
                  <a:gd name="connsiteX13" fmla="*/ 1031875 w 1574800"/>
                  <a:gd name="connsiteY13" fmla="*/ 828675 h 981075"/>
                  <a:gd name="connsiteX14" fmla="*/ 1108075 w 1574800"/>
                  <a:gd name="connsiteY14" fmla="*/ 882650 h 981075"/>
                  <a:gd name="connsiteX15" fmla="*/ 1193800 w 1574800"/>
                  <a:gd name="connsiteY15" fmla="*/ 936625 h 981075"/>
                  <a:gd name="connsiteX16" fmla="*/ 1323975 w 1574800"/>
                  <a:gd name="connsiteY16" fmla="*/ 981075 h 981075"/>
                  <a:gd name="connsiteX17" fmla="*/ 1387475 w 1574800"/>
                  <a:gd name="connsiteY17" fmla="*/ 911225 h 981075"/>
                  <a:gd name="connsiteX18" fmla="*/ 1374775 w 1574800"/>
                  <a:gd name="connsiteY18" fmla="*/ 879475 h 981075"/>
                  <a:gd name="connsiteX19" fmla="*/ 1339850 w 1574800"/>
                  <a:gd name="connsiteY19" fmla="*/ 854075 h 981075"/>
                  <a:gd name="connsiteX20" fmla="*/ 1339850 w 1574800"/>
                  <a:gd name="connsiteY20" fmla="*/ 793750 h 981075"/>
                  <a:gd name="connsiteX21" fmla="*/ 1362075 w 1574800"/>
                  <a:gd name="connsiteY21" fmla="*/ 762000 h 981075"/>
                  <a:gd name="connsiteX22" fmla="*/ 1390650 w 1574800"/>
                  <a:gd name="connsiteY22" fmla="*/ 784225 h 981075"/>
                  <a:gd name="connsiteX23" fmla="*/ 1416050 w 1574800"/>
                  <a:gd name="connsiteY23" fmla="*/ 669925 h 981075"/>
                  <a:gd name="connsiteX24" fmla="*/ 1479550 w 1574800"/>
                  <a:gd name="connsiteY24" fmla="*/ 669925 h 981075"/>
                  <a:gd name="connsiteX25" fmla="*/ 1504950 w 1574800"/>
                  <a:gd name="connsiteY25" fmla="*/ 688975 h 981075"/>
                  <a:gd name="connsiteX26" fmla="*/ 1511300 w 1574800"/>
                  <a:gd name="connsiteY26" fmla="*/ 657225 h 981075"/>
                  <a:gd name="connsiteX27" fmla="*/ 1508125 w 1574800"/>
                  <a:gd name="connsiteY27" fmla="*/ 609600 h 981075"/>
                  <a:gd name="connsiteX28" fmla="*/ 1562100 w 1574800"/>
                  <a:gd name="connsiteY28" fmla="*/ 590550 h 981075"/>
                  <a:gd name="connsiteX29" fmla="*/ 1539875 w 1574800"/>
                  <a:gd name="connsiteY29" fmla="*/ 533400 h 981075"/>
                  <a:gd name="connsiteX30" fmla="*/ 1574800 w 1574800"/>
                  <a:gd name="connsiteY30" fmla="*/ 511175 h 981075"/>
                  <a:gd name="connsiteX31" fmla="*/ 1520825 w 1574800"/>
                  <a:gd name="connsiteY31" fmla="*/ 403225 h 981075"/>
                  <a:gd name="connsiteX32" fmla="*/ 1533525 w 1574800"/>
                  <a:gd name="connsiteY32" fmla="*/ 371475 h 981075"/>
                  <a:gd name="connsiteX33" fmla="*/ 1479550 w 1574800"/>
                  <a:gd name="connsiteY33" fmla="*/ 307975 h 981075"/>
                  <a:gd name="connsiteX34" fmla="*/ 1435100 w 1574800"/>
                  <a:gd name="connsiteY34" fmla="*/ 292100 h 981075"/>
                  <a:gd name="connsiteX35" fmla="*/ 1406525 w 1574800"/>
                  <a:gd name="connsiteY35" fmla="*/ 241300 h 981075"/>
                  <a:gd name="connsiteX36" fmla="*/ 1438275 w 1574800"/>
                  <a:gd name="connsiteY36" fmla="*/ 187325 h 981075"/>
                  <a:gd name="connsiteX37" fmla="*/ 1419225 w 1574800"/>
                  <a:gd name="connsiteY37" fmla="*/ 149225 h 981075"/>
                  <a:gd name="connsiteX38" fmla="*/ 1374775 w 1574800"/>
                  <a:gd name="connsiteY38" fmla="*/ 171450 h 981075"/>
                  <a:gd name="connsiteX39" fmla="*/ 1327150 w 1574800"/>
                  <a:gd name="connsiteY39" fmla="*/ 149225 h 981075"/>
                  <a:gd name="connsiteX40" fmla="*/ 1276350 w 1574800"/>
                  <a:gd name="connsiteY40" fmla="*/ 200025 h 981075"/>
                  <a:gd name="connsiteX41" fmla="*/ 1247775 w 1574800"/>
                  <a:gd name="connsiteY41" fmla="*/ 168275 h 981075"/>
                  <a:gd name="connsiteX42" fmla="*/ 1162050 w 1574800"/>
                  <a:gd name="connsiteY42" fmla="*/ 152400 h 981075"/>
                  <a:gd name="connsiteX43" fmla="*/ 1203325 w 1574800"/>
                  <a:gd name="connsiteY43" fmla="*/ 111125 h 981075"/>
                  <a:gd name="connsiteX44" fmla="*/ 1120775 w 1574800"/>
                  <a:gd name="connsiteY44" fmla="*/ 0 h 981075"/>
                  <a:gd name="connsiteX45" fmla="*/ 1114425 w 1574800"/>
                  <a:gd name="connsiteY45" fmla="*/ 95250 h 981075"/>
                  <a:gd name="connsiteX46" fmla="*/ 1057275 w 1574800"/>
                  <a:gd name="connsiteY46" fmla="*/ 60325 h 981075"/>
                  <a:gd name="connsiteX47" fmla="*/ 958850 w 1574800"/>
                  <a:gd name="connsiteY47" fmla="*/ 60325 h 981075"/>
                  <a:gd name="connsiteX48" fmla="*/ 911225 w 1574800"/>
                  <a:gd name="connsiteY48" fmla="*/ 22225 h 981075"/>
                  <a:gd name="connsiteX49" fmla="*/ 831850 w 1574800"/>
                  <a:gd name="connsiteY49" fmla="*/ 12700 h 981075"/>
                  <a:gd name="connsiteX50" fmla="*/ 812800 w 1574800"/>
                  <a:gd name="connsiteY50" fmla="*/ 47625 h 981075"/>
                  <a:gd name="connsiteX51" fmla="*/ 762000 w 1574800"/>
                  <a:gd name="connsiteY51" fmla="*/ 57150 h 981075"/>
                  <a:gd name="connsiteX52" fmla="*/ 762000 w 1574800"/>
                  <a:gd name="connsiteY52" fmla="*/ 57150 h 981075"/>
                  <a:gd name="connsiteX53" fmla="*/ 765175 w 1574800"/>
                  <a:gd name="connsiteY53" fmla="*/ 123825 h 981075"/>
                  <a:gd name="connsiteX54" fmla="*/ 758825 w 1574800"/>
                  <a:gd name="connsiteY54" fmla="*/ 177800 h 981075"/>
                  <a:gd name="connsiteX55" fmla="*/ 692150 w 1574800"/>
                  <a:gd name="connsiteY55" fmla="*/ 247650 h 981075"/>
                  <a:gd name="connsiteX56" fmla="*/ 660400 w 1574800"/>
                  <a:gd name="connsiteY56" fmla="*/ 247650 h 981075"/>
                  <a:gd name="connsiteX57" fmla="*/ 654050 w 1574800"/>
                  <a:gd name="connsiteY57" fmla="*/ 295275 h 981075"/>
                  <a:gd name="connsiteX58" fmla="*/ 581025 w 1574800"/>
                  <a:gd name="connsiteY58" fmla="*/ 279400 h 981075"/>
                  <a:gd name="connsiteX59" fmla="*/ 492125 w 1574800"/>
                  <a:gd name="connsiteY59" fmla="*/ 301625 h 981075"/>
                  <a:gd name="connsiteX60" fmla="*/ 450850 w 1574800"/>
                  <a:gd name="connsiteY60" fmla="*/ 257175 h 981075"/>
                  <a:gd name="connsiteX61" fmla="*/ 346075 w 1574800"/>
                  <a:gd name="connsiteY61" fmla="*/ 377825 h 981075"/>
                  <a:gd name="connsiteX62" fmla="*/ 349250 w 1574800"/>
                  <a:gd name="connsiteY62" fmla="*/ 288925 h 981075"/>
                  <a:gd name="connsiteX63" fmla="*/ 301625 w 1574800"/>
                  <a:gd name="connsiteY63" fmla="*/ 320675 h 981075"/>
                  <a:gd name="connsiteX64" fmla="*/ 247650 w 1574800"/>
                  <a:gd name="connsiteY64" fmla="*/ 311150 h 981075"/>
                  <a:gd name="connsiteX65" fmla="*/ 244475 w 1574800"/>
                  <a:gd name="connsiteY65" fmla="*/ 244475 h 981075"/>
                  <a:gd name="connsiteX66" fmla="*/ 203200 w 1574800"/>
                  <a:gd name="connsiteY66" fmla="*/ 247650 h 981075"/>
                  <a:gd name="connsiteX67" fmla="*/ 219075 w 1574800"/>
                  <a:gd name="connsiteY67" fmla="*/ 209550 h 981075"/>
                  <a:gd name="connsiteX68" fmla="*/ 82550 w 1574800"/>
                  <a:gd name="connsiteY68" fmla="*/ 174625 h 981075"/>
                  <a:gd name="connsiteX69" fmla="*/ 31750 w 1574800"/>
                  <a:gd name="connsiteY69" fmla="*/ 206375 h 981075"/>
                  <a:gd name="connsiteX70" fmla="*/ 0 w 1574800"/>
                  <a:gd name="connsiteY70" fmla="*/ 301625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74700 w 1587500"/>
                  <a:gd name="connsiteY52" fmla="*/ 57150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04850 w 1587500"/>
                  <a:gd name="connsiteY55" fmla="*/ 247650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58775 w 1587500"/>
                  <a:gd name="connsiteY61" fmla="*/ 37782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74700 w 1587500"/>
                  <a:gd name="connsiteY52" fmla="*/ 57150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04850 w 1587500"/>
                  <a:gd name="connsiteY55" fmla="*/ 247650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74700 w 1587500"/>
                  <a:gd name="connsiteY52" fmla="*/ 57150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17550 w 1587500"/>
                  <a:gd name="connsiteY55" fmla="*/ 225425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74700 w 1587500"/>
                  <a:gd name="connsiteY51" fmla="*/ 57150 h 981075"/>
                  <a:gd name="connsiteX52" fmla="*/ 762000 w 1587500"/>
                  <a:gd name="connsiteY52" fmla="*/ 79375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17550 w 1587500"/>
                  <a:gd name="connsiteY55" fmla="*/ 225425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  <a:gd name="connsiteX0" fmla="*/ 0 w 1587500"/>
                  <a:gd name="connsiteY0" fmla="*/ 298450 h 981075"/>
                  <a:gd name="connsiteX1" fmla="*/ 101600 w 1587500"/>
                  <a:gd name="connsiteY1" fmla="*/ 346075 h 981075"/>
                  <a:gd name="connsiteX2" fmla="*/ 222250 w 1587500"/>
                  <a:gd name="connsiteY2" fmla="*/ 396875 h 981075"/>
                  <a:gd name="connsiteX3" fmla="*/ 228600 w 1587500"/>
                  <a:gd name="connsiteY3" fmla="*/ 431800 h 981075"/>
                  <a:gd name="connsiteX4" fmla="*/ 298450 w 1587500"/>
                  <a:gd name="connsiteY4" fmla="*/ 444500 h 981075"/>
                  <a:gd name="connsiteX5" fmla="*/ 390525 w 1587500"/>
                  <a:gd name="connsiteY5" fmla="*/ 498475 h 981075"/>
                  <a:gd name="connsiteX6" fmla="*/ 511175 w 1587500"/>
                  <a:gd name="connsiteY6" fmla="*/ 590550 h 981075"/>
                  <a:gd name="connsiteX7" fmla="*/ 650875 w 1587500"/>
                  <a:gd name="connsiteY7" fmla="*/ 622300 h 981075"/>
                  <a:gd name="connsiteX8" fmla="*/ 673100 w 1587500"/>
                  <a:gd name="connsiteY8" fmla="*/ 660400 h 981075"/>
                  <a:gd name="connsiteX9" fmla="*/ 723900 w 1587500"/>
                  <a:gd name="connsiteY9" fmla="*/ 660400 h 981075"/>
                  <a:gd name="connsiteX10" fmla="*/ 803275 w 1587500"/>
                  <a:gd name="connsiteY10" fmla="*/ 698500 h 981075"/>
                  <a:gd name="connsiteX11" fmla="*/ 857250 w 1587500"/>
                  <a:gd name="connsiteY11" fmla="*/ 749300 h 981075"/>
                  <a:gd name="connsiteX12" fmla="*/ 987425 w 1587500"/>
                  <a:gd name="connsiteY12" fmla="*/ 762000 h 981075"/>
                  <a:gd name="connsiteX13" fmla="*/ 1044575 w 1587500"/>
                  <a:gd name="connsiteY13" fmla="*/ 828675 h 981075"/>
                  <a:gd name="connsiteX14" fmla="*/ 1120775 w 1587500"/>
                  <a:gd name="connsiteY14" fmla="*/ 882650 h 981075"/>
                  <a:gd name="connsiteX15" fmla="*/ 1206500 w 1587500"/>
                  <a:gd name="connsiteY15" fmla="*/ 936625 h 981075"/>
                  <a:gd name="connsiteX16" fmla="*/ 1336675 w 1587500"/>
                  <a:gd name="connsiteY16" fmla="*/ 981075 h 981075"/>
                  <a:gd name="connsiteX17" fmla="*/ 1400175 w 1587500"/>
                  <a:gd name="connsiteY17" fmla="*/ 911225 h 981075"/>
                  <a:gd name="connsiteX18" fmla="*/ 1387475 w 1587500"/>
                  <a:gd name="connsiteY18" fmla="*/ 879475 h 981075"/>
                  <a:gd name="connsiteX19" fmla="*/ 1352550 w 1587500"/>
                  <a:gd name="connsiteY19" fmla="*/ 854075 h 981075"/>
                  <a:gd name="connsiteX20" fmla="*/ 1352550 w 1587500"/>
                  <a:gd name="connsiteY20" fmla="*/ 793750 h 981075"/>
                  <a:gd name="connsiteX21" fmla="*/ 1374775 w 1587500"/>
                  <a:gd name="connsiteY21" fmla="*/ 762000 h 981075"/>
                  <a:gd name="connsiteX22" fmla="*/ 1403350 w 1587500"/>
                  <a:gd name="connsiteY22" fmla="*/ 784225 h 981075"/>
                  <a:gd name="connsiteX23" fmla="*/ 1428750 w 1587500"/>
                  <a:gd name="connsiteY23" fmla="*/ 669925 h 981075"/>
                  <a:gd name="connsiteX24" fmla="*/ 1492250 w 1587500"/>
                  <a:gd name="connsiteY24" fmla="*/ 669925 h 981075"/>
                  <a:gd name="connsiteX25" fmla="*/ 1517650 w 1587500"/>
                  <a:gd name="connsiteY25" fmla="*/ 688975 h 981075"/>
                  <a:gd name="connsiteX26" fmla="*/ 1524000 w 1587500"/>
                  <a:gd name="connsiteY26" fmla="*/ 657225 h 981075"/>
                  <a:gd name="connsiteX27" fmla="*/ 1520825 w 1587500"/>
                  <a:gd name="connsiteY27" fmla="*/ 609600 h 981075"/>
                  <a:gd name="connsiteX28" fmla="*/ 1574800 w 1587500"/>
                  <a:gd name="connsiteY28" fmla="*/ 590550 h 981075"/>
                  <a:gd name="connsiteX29" fmla="*/ 1552575 w 1587500"/>
                  <a:gd name="connsiteY29" fmla="*/ 533400 h 981075"/>
                  <a:gd name="connsiteX30" fmla="*/ 1587500 w 1587500"/>
                  <a:gd name="connsiteY30" fmla="*/ 511175 h 981075"/>
                  <a:gd name="connsiteX31" fmla="*/ 1533525 w 1587500"/>
                  <a:gd name="connsiteY31" fmla="*/ 403225 h 981075"/>
                  <a:gd name="connsiteX32" fmla="*/ 1546225 w 1587500"/>
                  <a:gd name="connsiteY32" fmla="*/ 371475 h 981075"/>
                  <a:gd name="connsiteX33" fmla="*/ 1492250 w 1587500"/>
                  <a:gd name="connsiteY33" fmla="*/ 307975 h 981075"/>
                  <a:gd name="connsiteX34" fmla="*/ 1447800 w 1587500"/>
                  <a:gd name="connsiteY34" fmla="*/ 292100 h 981075"/>
                  <a:gd name="connsiteX35" fmla="*/ 1419225 w 1587500"/>
                  <a:gd name="connsiteY35" fmla="*/ 241300 h 981075"/>
                  <a:gd name="connsiteX36" fmla="*/ 1450975 w 1587500"/>
                  <a:gd name="connsiteY36" fmla="*/ 187325 h 981075"/>
                  <a:gd name="connsiteX37" fmla="*/ 1431925 w 1587500"/>
                  <a:gd name="connsiteY37" fmla="*/ 149225 h 981075"/>
                  <a:gd name="connsiteX38" fmla="*/ 1387475 w 1587500"/>
                  <a:gd name="connsiteY38" fmla="*/ 171450 h 981075"/>
                  <a:gd name="connsiteX39" fmla="*/ 1339850 w 1587500"/>
                  <a:gd name="connsiteY39" fmla="*/ 149225 h 981075"/>
                  <a:gd name="connsiteX40" fmla="*/ 1289050 w 1587500"/>
                  <a:gd name="connsiteY40" fmla="*/ 200025 h 981075"/>
                  <a:gd name="connsiteX41" fmla="*/ 1260475 w 1587500"/>
                  <a:gd name="connsiteY41" fmla="*/ 168275 h 981075"/>
                  <a:gd name="connsiteX42" fmla="*/ 1174750 w 1587500"/>
                  <a:gd name="connsiteY42" fmla="*/ 152400 h 981075"/>
                  <a:gd name="connsiteX43" fmla="*/ 1216025 w 1587500"/>
                  <a:gd name="connsiteY43" fmla="*/ 111125 h 981075"/>
                  <a:gd name="connsiteX44" fmla="*/ 1133475 w 1587500"/>
                  <a:gd name="connsiteY44" fmla="*/ 0 h 981075"/>
                  <a:gd name="connsiteX45" fmla="*/ 1127125 w 1587500"/>
                  <a:gd name="connsiteY45" fmla="*/ 95250 h 981075"/>
                  <a:gd name="connsiteX46" fmla="*/ 1069975 w 1587500"/>
                  <a:gd name="connsiteY46" fmla="*/ 60325 h 981075"/>
                  <a:gd name="connsiteX47" fmla="*/ 971550 w 1587500"/>
                  <a:gd name="connsiteY47" fmla="*/ 60325 h 981075"/>
                  <a:gd name="connsiteX48" fmla="*/ 923925 w 1587500"/>
                  <a:gd name="connsiteY48" fmla="*/ 22225 h 981075"/>
                  <a:gd name="connsiteX49" fmla="*/ 844550 w 1587500"/>
                  <a:gd name="connsiteY49" fmla="*/ 12700 h 981075"/>
                  <a:gd name="connsiteX50" fmla="*/ 825500 w 1587500"/>
                  <a:gd name="connsiteY50" fmla="*/ 47625 h 981075"/>
                  <a:gd name="connsiteX51" fmla="*/ 790575 w 1587500"/>
                  <a:gd name="connsiteY51" fmla="*/ 50800 h 981075"/>
                  <a:gd name="connsiteX52" fmla="*/ 762000 w 1587500"/>
                  <a:gd name="connsiteY52" fmla="*/ 79375 h 981075"/>
                  <a:gd name="connsiteX53" fmla="*/ 777875 w 1587500"/>
                  <a:gd name="connsiteY53" fmla="*/ 123825 h 981075"/>
                  <a:gd name="connsiteX54" fmla="*/ 771525 w 1587500"/>
                  <a:gd name="connsiteY54" fmla="*/ 177800 h 981075"/>
                  <a:gd name="connsiteX55" fmla="*/ 717550 w 1587500"/>
                  <a:gd name="connsiteY55" fmla="*/ 225425 h 981075"/>
                  <a:gd name="connsiteX56" fmla="*/ 673100 w 1587500"/>
                  <a:gd name="connsiteY56" fmla="*/ 247650 h 981075"/>
                  <a:gd name="connsiteX57" fmla="*/ 666750 w 1587500"/>
                  <a:gd name="connsiteY57" fmla="*/ 295275 h 981075"/>
                  <a:gd name="connsiteX58" fmla="*/ 593725 w 1587500"/>
                  <a:gd name="connsiteY58" fmla="*/ 279400 h 981075"/>
                  <a:gd name="connsiteX59" fmla="*/ 504825 w 1587500"/>
                  <a:gd name="connsiteY59" fmla="*/ 301625 h 981075"/>
                  <a:gd name="connsiteX60" fmla="*/ 463550 w 1587500"/>
                  <a:gd name="connsiteY60" fmla="*/ 257175 h 981075"/>
                  <a:gd name="connsiteX61" fmla="*/ 368300 w 1587500"/>
                  <a:gd name="connsiteY61" fmla="*/ 358775 h 981075"/>
                  <a:gd name="connsiteX62" fmla="*/ 361950 w 1587500"/>
                  <a:gd name="connsiteY62" fmla="*/ 288925 h 981075"/>
                  <a:gd name="connsiteX63" fmla="*/ 314325 w 1587500"/>
                  <a:gd name="connsiteY63" fmla="*/ 320675 h 981075"/>
                  <a:gd name="connsiteX64" fmla="*/ 260350 w 1587500"/>
                  <a:gd name="connsiteY64" fmla="*/ 311150 h 981075"/>
                  <a:gd name="connsiteX65" fmla="*/ 257175 w 1587500"/>
                  <a:gd name="connsiteY65" fmla="*/ 244475 h 981075"/>
                  <a:gd name="connsiteX66" fmla="*/ 215900 w 1587500"/>
                  <a:gd name="connsiteY66" fmla="*/ 247650 h 981075"/>
                  <a:gd name="connsiteX67" fmla="*/ 231775 w 1587500"/>
                  <a:gd name="connsiteY67" fmla="*/ 209550 h 981075"/>
                  <a:gd name="connsiteX68" fmla="*/ 95250 w 1587500"/>
                  <a:gd name="connsiteY68" fmla="*/ 174625 h 981075"/>
                  <a:gd name="connsiteX69" fmla="*/ 44450 w 1587500"/>
                  <a:gd name="connsiteY69" fmla="*/ 206375 h 981075"/>
                  <a:gd name="connsiteX70" fmla="*/ 0 w 1587500"/>
                  <a:gd name="connsiteY70" fmla="*/ 298450 h 981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1587500" h="981075">
                    <a:moveTo>
                      <a:pt x="0" y="298450"/>
                    </a:moveTo>
                    <a:lnTo>
                      <a:pt x="101600" y="346075"/>
                    </a:lnTo>
                    <a:lnTo>
                      <a:pt x="222250" y="396875"/>
                    </a:lnTo>
                    <a:lnTo>
                      <a:pt x="228600" y="431800"/>
                    </a:lnTo>
                    <a:lnTo>
                      <a:pt x="298450" y="444500"/>
                    </a:lnTo>
                    <a:lnTo>
                      <a:pt x="390525" y="498475"/>
                    </a:lnTo>
                    <a:lnTo>
                      <a:pt x="511175" y="590550"/>
                    </a:lnTo>
                    <a:lnTo>
                      <a:pt x="650875" y="622300"/>
                    </a:lnTo>
                    <a:lnTo>
                      <a:pt x="673100" y="660400"/>
                    </a:lnTo>
                    <a:lnTo>
                      <a:pt x="723900" y="660400"/>
                    </a:lnTo>
                    <a:lnTo>
                      <a:pt x="803275" y="698500"/>
                    </a:lnTo>
                    <a:lnTo>
                      <a:pt x="857250" y="749300"/>
                    </a:lnTo>
                    <a:lnTo>
                      <a:pt x="987425" y="762000"/>
                    </a:lnTo>
                    <a:lnTo>
                      <a:pt x="1044575" y="828675"/>
                    </a:lnTo>
                    <a:lnTo>
                      <a:pt x="1120775" y="882650"/>
                    </a:lnTo>
                    <a:lnTo>
                      <a:pt x="1206500" y="936625"/>
                    </a:lnTo>
                    <a:lnTo>
                      <a:pt x="1336675" y="981075"/>
                    </a:lnTo>
                    <a:lnTo>
                      <a:pt x="1400175" y="911225"/>
                    </a:lnTo>
                    <a:lnTo>
                      <a:pt x="1387475" y="879475"/>
                    </a:lnTo>
                    <a:lnTo>
                      <a:pt x="1352550" y="854075"/>
                    </a:lnTo>
                    <a:lnTo>
                      <a:pt x="1352550" y="793750"/>
                    </a:lnTo>
                    <a:lnTo>
                      <a:pt x="1374775" y="762000"/>
                    </a:lnTo>
                    <a:lnTo>
                      <a:pt x="1403350" y="784225"/>
                    </a:lnTo>
                    <a:lnTo>
                      <a:pt x="1428750" y="669925"/>
                    </a:lnTo>
                    <a:lnTo>
                      <a:pt x="1492250" y="669925"/>
                    </a:lnTo>
                    <a:lnTo>
                      <a:pt x="1517650" y="688975"/>
                    </a:lnTo>
                    <a:lnTo>
                      <a:pt x="1524000" y="657225"/>
                    </a:lnTo>
                    <a:lnTo>
                      <a:pt x="1520825" y="609600"/>
                    </a:lnTo>
                    <a:lnTo>
                      <a:pt x="1574800" y="590550"/>
                    </a:lnTo>
                    <a:lnTo>
                      <a:pt x="1552575" y="533400"/>
                    </a:lnTo>
                    <a:lnTo>
                      <a:pt x="1587500" y="511175"/>
                    </a:lnTo>
                    <a:lnTo>
                      <a:pt x="1533525" y="403225"/>
                    </a:lnTo>
                    <a:lnTo>
                      <a:pt x="1546225" y="371475"/>
                    </a:lnTo>
                    <a:lnTo>
                      <a:pt x="1492250" y="307975"/>
                    </a:lnTo>
                    <a:lnTo>
                      <a:pt x="1447800" y="292100"/>
                    </a:lnTo>
                    <a:lnTo>
                      <a:pt x="1419225" y="241300"/>
                    </a:lnTo>
                    <a:lnTo>
                      <a:pt x="1450975" y="187325"/>
                    </a:lnTo>
                    <a:lnTo>
                      <a:pt x="1431925" y="149225"/>
                    </a:lnTo>
                    <a:lnTo>
                      <a:pt x="1387475" y="171450"/>
                    </a:lnTo>
                    <a:lnTo>
                      <a:pt x="1339850" y="149225"/>
                    </a:lnTo>
                    <a:lnTo>
                      <a:pt x="1289050" y="200025"/>
                    </a:lnTo>
                    <a:lnTo>
                      <a:pt x="1260475" y="168275"/>
                    </a:lnTo>
                    <a:lnTo>
                      <a:pt x="1174750" y="152400"/>
                    </a:lnTo>
                    <a:lnTo>
                      <a:pt x="1216025" y="111125"/>
                    </a:lnTo>
                    <a:lnTo>
                      <a:pt x="1133475" y="0"/>
                    </a:lnTo>
                    <a:lnTo>
                      <a:pt x="1127125" y="95250"/>
                    </a:lnTo>
                    <a:lnTo>
                      <a:pt x="1069975" y="60325"/>
                    </a:lnTo>
                    <a:lnTo>
                      <a:pt x="971550" y="60325"/>
                    </a:lnTo>
                    <a:lnTo>
                      <a:pt x="923925" y="22225"/>
                    </a:lnTo>
                    <a:lnTo>
                      <a:pt x="844550" y="12700"/>
                    </a:lnTo>
                    <a:lnTo>
                      <a:pt x="825500" y="47625"/>
                    </a:lnTo>
                    <a:cubicBezTo>
                      <a:pt x="808567" y="50800"/>
                      <a:pt x="801158" y="45508"/>
                      <a:pt x="790575" y="50800"/>
                    </a:cubicBezTo>
                    <a:cubicBezTo>
                      <a:pt x="779992" y="56092"/>
                      <a:pt x="764117" y="67204"/>
                      <a:pt x="762000" y="79375"/>
                    </a:cubicBezTo>
                    <a:cubicBezTo>
                      <a:pt x="759883" y="91546"/>
                      <a:pt x="772583" y="109008"/>
                      <a:pt x="777875" y="123825"/>
                    </a:cubicBezTo>
                    <a:lnTo>
                      <a:pt x="771525" y="177800"/>
                    </a:lnTo>
                    <a:lnTo>
                      <a:pt x="717550" y="225425"/>
                    </a:lnTo>
                    <a:lnTo>
                      <a:pt x="673100" y="247650"/>
                    </a:lnTo>
                    <a:lnTo>
                      <a:pt x="666750" y="295275"/>
                    </a:lnTo>
                    <a:lnTo>
                      <a:pt x="593725" y="279400"/>
                    </a:lnTo>
                    <a:lnTo>
                      <a:pt x="504825" y="301625"/>
                    </a:lnTo>
                    <a:lnTo>
                      <a:pt x="463550" y="257175"/>
                    </a:lnTo>
                    <a:lnTo>
                      <a:pt x="368300" y="358775"/>
                    </a:lnTo>
                    <a:lnTo>
                      <a:pt x="361950" y="288925"/>
                    </a:lnTo>
                    <a:lnTo>
                      <a:pt x="314325" y="320675"/>
                    </a:lnTo>
                    <a:lnTo>
                      <a:pt x="260350" y="311150"/>
                    </a:lnTo>
                    <a:lnTo>
                      <a:pt x="257175" y="244475"/>
                    </a:lnTo>
                    <a:lnTo>
                      <a:pt x="215900" y="247650"/>
                    </a:lnTo>
                    <a:lnTo>
                      <a:pt x="231775" y="209550"/>
                    </a:lnTo>
                    <a:lnTo>
                      <a:pt x="95250" y="174625"/>
                    </a:lnTo>
                    <a:lnTo>
                      <a:pt x="44450" y="206375"/>
                    </a:lnTo>
                    <a:lnTo>
                      <a:pt x="0" y="29845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0087C8"/>
                  </a:solidFill>
                </a:endParaRPr>
              </a:p>
            </p:txBody>
          </p:sp>
          <p:sp>
            <p:nvSpPr>
              <p:cNvPr id="44" name="Forma libre 25"/>
              <p:cNvSpPr/>
              <p:nvPr/>
            </p:nvSpPr>
            <p:spPr>
              <a:xfrm>
                <a:off x="1374531" y="6743499"/>
                <a:ext cx="81686" cy="109381"/>
              </a:xfrm>
              <a:custGeom>
                <a:avLst/>
                <a:gdLst>
                  <a:gd name="connsiteX0" fmla="*/ 117475 w 546100"/>
                  <a:gd name="connsiteY0" fmla="*/ 692150 h 692150"/>
                  <a:gd name="connsiteX1" fmla="*/ 25400 w 546100"/>
                  <a:gd name="connsiteY1" fmla="*/ 644525 h 692150"/>
                  <a:gd name="connsiteX2" fmla="*/ 31750 w 546100"/>
                  <a:gd name="connsiteY2" fmla="*/ 581025 h 692150"/>
                  <a:gd name="connsiteX3" fmla="*/ 0 w 546100"/>
                  <a:gd name="connsiteY3" fmla="*/ 492125 h 692150"/>
                  <a:gd name="connsiteX4" fmla="*/ 66675 w 546100"/>
                  <a:gd name="connsiteY4" fmla="*/ 415925 h 692150"/>
                  <a:gd name="connsiteX5" fmla="*/ 47625 w 546100"/>
                  <a:gd name="connsiteY5" fmla="*/ 368300 h 692150"/>
                  <a:gd name="connsiteX6" fmla="*/ 19050 w 546100"/>
                  <a:gd name="connsiteY6" fmla="*/ 358775 h 692150"/>
                  <a:gd name="connsiteX7" fmla="*/ 22225 w 546100"/>
                  <a:gd name="connsiteY7" fmla="*/ 295275 h 692150"/>
                  <a:gd name="connsiteX8" fmla="*/ 22225 w 546100"/>
                  <a:gd name="connsiteY8" fmla="*/ 295275 h 692150"/>
                  <a:gd name="connsiteX9" fmla="*/ 69850 w 546100"/>
                  <a:gd name="connsiteY9" fmla="*/ 307975 h 692150"/>
                  <a:gd name="connsiteX10" fmla="*/ 88900 w 546100"/>
                  <a:gd name="connsiteY10" fmla="*/ 184150 h 692150"/>
                  <a:gd name="connsiteX11" fmla="*/ 133350 w 546100"/>
                  <a:gd name="connsiteY11" fmla="*/ 187325 h 692150"/>
                  <a:gd name="connsiteX12" fmla="*/ 184150 w 546100"/>
                  <a:gd name="connsiteY12" fmla="*/ 222250 h 692150"/>
                  <a:gd name="connsiteX13" fmla="*/ 190500 w 546100"/>
                  <a:gd name="connsiteY13" fmla="*/ 123825 h 692150"/>
                  <a:gd name="connsiteX14" fmla="*/ 254000 w 546100"/>
                  <a:gd name="connsiteY14" fmla="*/ 98425 h 692150"/>
                  <a:gd name="connsiteX15" fmla="*/ 215900 w 546100"/>
                  <a:gd name="connsiteY15" fmla="*/ 38100 h 692150"/>
                  <a:gd name="connsiteX16" fmla="*/ 295275 w 546100"/>
                  <a:gd name="connsiteY16" fmla="*/ 12700 h 692150"/>
                  <a:gd name="connsiteX17" fmla="*/ 336550 w 546100"/>
                  <a:gd name="connsiteY17" fmla="*/ 0 h 692150"/>
                  <a:gd name="connsiteX18" fmla="*/ 400050 w 546100"/>
                  <a:gd name="connsiteY18" fmla="*/ 41275 h 692150"/>
                  <a:gd name="connsiteX19" fmla="*/ 415925 w 546100"/>
                  <a:gd name="connsiteY19" fmla="*/ 95250 h 692150"/>
                  <a:gd name="connsiteX20" fmla="*/ 412750 w 546100"/>
                  <a:gd name="connsiteY20" fmla="*/ 158750 h 692150"/>
                  <a:gd name="connsiteX21" fmla="*/ 444500 w 546100"/>
                  <a:gd name="connsiteY21" fmla="*/ 193675 h 692150"/>
                  <a:gd name="connsiteX22" fmla="*/ 479425 w 546100"/>
                  <a:gd name="connsiteY22" fmla="*/ 228600 h 692150"/>
                  <a:gd name="connsiteX23" fmla="*/ 546100 w 546100"/>
                  <a:gd name="connsiteY23" fmla="*/ 263525 h 692150"/>
                  <a:gd name="connsiteX24" fmla="*/ 504825 w 546100"/>
                  <a:gd name="connsiteY24" fmla="*/ 358775 h 692150"/>
                  <a:gd name="connsiteX25" fmla="*/ 447675 w 546100"/>
                  <a:gd name="connsiteY25" fmla="*/ 365125 h 692150"/>
                  <a:gd name="connsiteX26" fmla="*/ 450850 w 546100"/>
                  <a:gd name="connsiteY26" fmla="*/ 330200 h 692150"/>
                  <a:gd name="connsiteX27" fmla="*/ 469900 w 546100"/>
                  <a:gd name="connsiteY27" fmla="*/ 304800 h 692150"/>
                  <a:gd name="connsiteX28" fmla="*/ 419100 w 546100"/>
                  <a:gd name="connsiteY28" fmla="*/ 292100 h 692150"/>
                  <a:gd name="connsiteX29" fmla="*/ 371475 w 546100"/>
                  <a:gd name="connsiteY29" fmla="*/ 320675 h 692150"/>
                  <a:gd name="connsiteX30" fmla="*/ 371475 w 546100"/>
                  <a:gd name="connsiteY30" fmla="*/ 406400 h 692150"/>
                  <a:gd name="connsiteX31" fmla="*/ 330200 w 546100"/>
                  <a:gd name="connsiteY31" fmla="*/ 457200 h 692150"/>
                  <a:gd name="connsiteX32" fmla="*/ 279400 w 546100"/>
                  <a:gd name="connsiteY32" fmla="*/ 457200 h 692150"/>
                  <a:gd name="connsiteX33" fmla="*/ 257175 w 546100"/>
                  <a:gd name="connsiteY33" fmla="*/ 536575 h 692150"/>
                  <a:gd name="connsiteX34" fmla="*/ 209550 w 546100"/>
                  <a:gd name="connsiteY34" fmla="*/ 593725 h 692150"/>
                  <a:gd name="connsiteX35" fmla="*/ 200025 w 546100"/>
                  <a:gd name="connsiteY35" fmla="*/ 631825 h 692150"/>
                  <a:gd name="connsiteX36" fmla="*/ 146050 w 546100"/>
                  <a:gd name="connsiteY36" fmla="*/ 638175 h 692150"/>
                  <a:gd name="connsiteX37" fmla="*/ 117475 w 546100"/>
                  <a:gd name="connsiteY37" fmla="*/ 692150 h 692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546100" h="692150">
                    <a:moveTo>
                      <a:pt x="117475" y="692150"/>
                    </a:moveTo>
                    <a:lnTo>
                      <a:pt x="25400" y="644525"/>
                    </a:lnTo>
                    <a:lnTo>
                      <a:pt x="31750" y="581025"/>
                    </a:lnTo>
                    <a:lnTo>
                      <a:pt x="0" y="492125"/>
                    </a:lnTo>
                    <a:lnTo>
                      <a:pt x="66675" y="415925"/>
                    </a:lnTo>
                    <a:lnTo>
                      <a:pt x="47625" y="368300"/>
                    </a:lnTo>
                    <a:lnTo>
                      <a:pt x="19050" y="358775"/>
                    </a:lnTo>
                    <a:lnTo>
                      <a:pt x="22225" y="295275"/>
                    </a:lnTo>
                    <a:lnTo>
                      <a:pt x="22225" y="295275"/>
                    </a:lnTo>
                    <a:lnTo>
                      <a:pt x="69850" y="307975"/>
                    </a:lnTo>
                    <a:lnTo>
                      <a:pt x="88900" y="184150"/>
                    </a:lnTo>
                    <a:lnTo>
                      <a:pt x="133350" y="187325"/>
                    </a:lnTo>
                    <a:lnTo>
                      <a:pt x="184150" y="222250"/>
                    </a:lnTo>
                    <a:lnTo>
                      <a:pt x="190500" y="123825"/>
                    </a:lnTo>
                    <a:lnTo>
                      <a:pt x="254000" y="98425"/>
                    </a:lnTo>
                    <a:lnTo>
                      <a:pt x="215900" y="38100"/>
                    </a:lnTo>
                    <a:lnTo>
                      <a:pt x="295275" y="12700"/>
                    </a:lnTo>
                    <a:lnTo>
                      <a:pt x="336550" y="0"/>
                    </a:lnTo>
                    <a:lnTo>
                      <a:pt x="400050" y="41275"/>
                    </a:lnTo>
                    <a:lnTo>
                      <a:pt x="415925" y="95250"/>
                    </a:lnTo>
                    <a:lnTo>
                      <a:pt x="412750" y="158750"/>
                    </a:lnTo>
                    <a:lnTo>
                      <a:pt x="444500" y="193675"/>
                    </a:lnTo>
                    <a:lnTo>
                      <a:pt x="479425" y="228600"/>
                    </a:lnTo>
                    <a:lnTo>
                      <a:pt x="546100" y="263525"/>
                    </a:lnTo>
                    <a:lnTo>
                      <a:pt x="504825" y="358775"/>
                    </a:lnTo>
                    <a:lnTo>
                      <a:pt x="447675" y="365125"/>
                    </a:lnTo>
                    <a:lnTo>
                      <a:pt x="450850" y="330200"/>
                    </a:lnTo>
                    <a:lnTo>
                      <a:pt x="469900" y="304800"/>
                    </a:lnTo>
                    <a:lnTo>
                      <a:pt x="419100" y="292100"/>
                    </a:lnTo>
                    <a:lnTo>
                      <a:pt x="371475" y="320675"/>
                    </a:lnTo>
                    <a:lnTo>
                      <a:pt x="371475" y="406400"/>
                    </a:lnTo>
                    <a:lnTo>
                      <a:pt x="330200" y="457200"/>
                    </a:lnTo>
                    <a:lnTo>
                      <a:pt x="279400" y="457200"/>
                    </a:lnTo>
                    <a:lnTo>
                      <a:pt x="257175" y="536575"/>
                    </a:lnTo>
                    <a:lnTo>
                      <a:pt x="209550" y="593725"/>
                    </a:lnTo>
                    <a:lnTo>
                      <a:pt x="200025" y="631825"/>
                    </a:lnTo>
                    <a:lnTo>
                      <a:pt x="146050" y="638175"/>
                    </a:lnTo>
                    <a:lnTo>
                      <a:pt x="117475" y="69215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Forma libre 26"/>
              <p:cNvSpPr/>
              <p:nvPr/>
            </p:nvSpPr>
            <p:spPr>
              <a:xfrm>
                <a:off x="1392103" y="6789660"/>
                <a:ext cx="92610" cy="92823"/>
              </a:xfrm>
              <a:custGeom>
                <a:avLst/>
                <a:gdLst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17525 w 619125"/>
                  <a:gd name="connsiteY35" fmla="*/ 323850 h 587375"/>
                  <a:gd name="connsiteX36" fmla="*/ 558800 w 619125"/>
                  <a:gd name="connsiteY36" fmla="*/ 333375 h 587375"/>
                  <a:gd name="connsiteX37" fmla="*/ 619125 w 619125"/>
                  <a:gd name="connsiteY37" fmla="*/ 228600 h 587375"/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17525 w 619125"/>
                  <a:gd name="connsiteY35" fmla="*/ 323850 h 587375"/>
                  <a:gd name="connsiteX36" fmla="*/ 609600 w 619125"/>
                  <a:gd name="connsiteY36" fmla="*/ 314325 h 587375"/>
                  <a:gd name="connsiteX37" fmla="*/ 619125 w 619125"/>
                  <a:gd name="connsiteY37" fmla="*/ 228600 h 587375"/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36575 w 619125"/>
                  <a:gd name="connsiteY35" fmla="*/ 333375 h 587375"/>
                  <a:gd name="connsiteX36" fmla="*/ 609600 w 619125"/>
                  <a:gd name="connsiteY36" fmla="*/ 314325 h 587375"/>
                  <a:gd name="connsiteX37" fmla="*/ 619125 w 619125"/>
                  <a:gd name="connsiteY37" fmla="*/ 228600 h 587375"/>
                  <a:gd name="connsiteX0" fmla="*/ 619125 w 619125"/>
                  <a:gd name="connsiteY0" fmla="*/ 228600 h 587375"/>
                  <a:gd name="connsiteX1" fmla="*/ 558800 w 619125"/>
                  <a:gd name="connsiteY1" fmla="*/ 190500 h 587375"/>
                  <a:gd name="connsiteX2" fmla="*/ 520700 w 619125"/>
                  <a:gd name="connsiteY2" fmla="*/ 193675 h 587375"/>
                  <a:gd name="connsiteX3" fmla="*/ 504825 w 619125"/>
                  <a:gd name="connsiteY3" fmla="*/ 171450 h 587375"/>
                  <a:gd name="connsiteX4" fmla="*/ 466725 w 619125"/>
                  <a:gd name="connsiteY4" fmla="*/ 177800 h 587375"/>
                  <a:gd name="connsiteX5" fmla="*/ 406400 w 619125"/>
                  <a:gd name="connsiteY5" fmla="*/ 130175 h 587375"/>
                  <a:gd name="connsiteX6" fmla="*/ 400050 w 619125"/>
                  <a:gd name="connsiteY6" fmla="*/ 92075 h 587375"/>
                  <a:gd name="connsiteX7" fmla="*/ 400050 w 619125"/>
                  <a:gd name="connsiteY7" fmla="*/ 92075 h 587375"/>
                  <a:gd name="connsiteX8" fmla="*/ 400050 w 619125"/>
                  <a:gd name="connsiteY8" fmla="*/ 92075 h 587375"/>
                  <a:gd name="connsiteX9" fmla="*/ 390525 w 619125"/>
                  <a:gd name="connsiteY9" fmla="*/ 66675 h 587375"/>
                  <a:gd name="connsiteX10" fmla="*/ 336550 w 619125"/>
                  <a:gd name="connsiteY10" fmla="*/ 88900 h 587375"/>
                  <a:gd name="connsiteX11" fmla="*/ 307975 w 619125"/>
                  <a:gd name="connsiteY11" fmla="*/ 44450 h 587375"/>
                  <a:gd name="connsiteX12" fmla="*/ 342900 w 619125"/>
                  <a:gd name="connsiteY12" fmla="*/ 12700 h 587375"/>
                  <a:gd name="connsiteX13" fmla="*/ 301625 w 619125"/>
                  <a:gd name="connsiteY13" fmla="*/ 0 h 587375"/>
                  <a:gd name="connsiteX14" fmla="*/ 250825 w 619125"/>
                  <a:gd name="connsiteY14" fmla="*/ 31750 h 587375"/>
                  <a:gd name="connsiteX15" fmla="*/ 257175 w 619125"/>
                  <a:gd name="connsiteY15" fmla="*/ 107950 h 587375"/>
                  <a:gd name="connsiteX16" fmla="*/ 212725 w 619125"/>
                  <a:gd name="connsiteY16" fmla="*/ 168275 h 587375"/>
                  <a:gd name="connsiteX17" fmla="*/ 168275 w 619125"/>
                  <a:gd name="connsiteY17" fmla="*/ 161925 h 587375"/>
                  <a:gd name="connsiteX18" fmla="*/ 146050 w 619125"/>
                  <a:gd name="connsiteY18" fmla="*/ 241300 h 587375"/>
                  <a:gd name="connsiteX19" fmla="*/ 95250 w 619125"/>
                  <a:gd name="connsiteY19" fmla="*/ 301625 h 587375"/>
                  <a:gd name="connsiteX20" fmla="*/ 85725 w 619125"/>
                  <a:gd name="connsiteY20" fmla="*/ 352425 h 587375"/>
                  <a:gd name="connsiteX21" fmla="*/ 25400 w 619125"/>
                  <a:gd name="connsiteY21" fmla="*/ 352425 h 587375"/>
                  <a:gd name="connsiteX22" fmla="*/ 0 w 619125"/>
                  <a:gd name="connsiteY22" fmla="*/ 400050 h 587375"/>
                  <a:gd name="connsiteX23" fmla="*/ 34925 w 619125"/>
                  <a:gd name="connsiteY23" fmla="*/ 425450 h 587375"/>
                  <a:gd name="connsiteX24" fmla="*/ 73025 w 619125"/>
                  <a:gd name="connsiteY24" fmla="*/ 425450 h 587375"/>
                  <a:gd name="connsiteX25" fmla="*/ 95250 w 619125"/>
                  <a:gd name="connsiteY25" fmla="*/ 473075 h 587375"/>
                  <a:gd name="connsiteX26" fmla="*/ 180975 w 619125"/>
                  <a:gd name="connsiteY26" fmla="*/ 536575 h 587375"/>
                  <a:gd name="connsiteX27" fmla="*/ 282575 w 619125"/>
                  <a:gd name="connsiteY27" fmla="*/ 587375 h 587375"/>
                  <a:gd name="connsiteX28" fmla="*/ 330200 w 619125"/>
                  <a:gd name="connsiteY28" fmla="*/ 571500 h 587375"/>
                  <a:gd name="connsiteX29" fmla="*/ 361950 w 619125"/>
                  <a:gd name="connsiteY29" fmla="*/ 581025 h 587375"/>
                  <a:gd name="connsiteX30" fmla="*/ 412750 w 619125"/>
                  <a:gd name="connsiteY30" fmla="*/ 558800 h 587375"/>
                  <a:gd name="connsiteX31" fmla="*/ 447675 w 619125"/>
                  <a:gd name="connsiteY31" fmla="*/ 558800 h 587375"/>
                  <a:gd name="connsiteX32" fmla="*/ 492125 w 619125"/>
                  <a:gd name="connsiteY32" fmla="*/ 498475 h 587375"/>
                  <a:gd name="connsiteX33" fmla="*/ 514350 w 619125"/>
                  <a:gd name="connsiteY33" fmla="*/ 444500 h 587375"/>
                  <a:gd name="connsiteX34" fmla="*/ 495300 w 619125"/>
                  <a:gd name="connsiteY34" fmla="*/ 346075 h 587375"/>
                  <a:gd name="connsiteX35" fmla="*/ 536575 w 619125"/>
                  <a:gd name="connsiteY35" fmla="*/ 333375 h 587375"/>
                  <a:gd name="connsiteX36" fmla="*/ 619125 w 619125"/>
                  <a:gd name="connsiteY36" fmla="*/ 292100 h 587375"/>
                  <a:gd name="connsiteX37" fmla="*/ 619125 w 619125"/>
                  <a:gd name="connsiteY37" fmla="*/ 228600 h 587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619125" h="587375">
                    <a:moveTo>
                      <a:pt x="619125" y="228600"/>
                    </a:moveTo>
                    <a:lnTo>
                      <a:pt x="558800" y="190500"/>
                    </a:lnTo>
                    <a:lnTo>
                      <a:pt x="520700" y="193675"/>
                    </a:lnTo>
                    <a:lnTo>
                      <a:pt x="504825" y="171450"/>
                    </a:lnTo>
                    <a:lnTo>
                      <a:pt x="466725" y="177800"/>
                    </a:lnTo>
                    <a:lnTo>
                      <a:pt x="406400" y="130175"/>
                    </a:lnTo>
                    <a:lnTo>
                      <a:pt x="400050" y="92075"/>
                    </a:lnTo>
                    <a:lnTo>
                      <a:pt x="400050" y="92075"/>
                    </a:lnTo>
                    <a:lnTo>
                      <a:pt x="400050" y="92075"/>
                    </a:lnTo>
                    <a:lnTo>
                      <a:pt x="390525" y="66675"/>
                    </a:lnTo>
                    <a:lnTo>
                      <a:pt x="336550" y="88900"/>
                    </a:lnTo>
                    <a:lnTo>
                      <a:pt x="307975" y="44450"/>
                    </a:lnTo>
                    <a:lnTo>
                      <a:pt x="342900" y="12700"/>
                    </a:lnTo>
                    <a:lnTo>
                      <a:pt x="301625" y="0"/>
                    </a:lnTo>
                    <a:lnTo>
                      <a:pt x="250825" y="31750"/>
                    </a:lnTo>
                    <a:lnTo>
                      <a:pt x="257175" y="107950"/>
                    </a:lnTo>
                    <a:lnTo>
                      <a:pt x="212725" y="168275"/>
                    </a:lnTo>
                    <a:lnTo>
                      <a:pt x="168275" y="161925"/>
                    </a:lnTo>
                    <a:lnTo>
                      <a:pt x="146050" y="241300"/>
                    </a:lnTo>
                    <a:lnTo>
                      <a:pt x="95250" y="301625"/>
                    </a:lnTo>
                    <a:lnTo>
                      <a:pt x="85725" y="352425"/>
                    </a:lnTo>
                    <a:lnTo>
                      <a:pt x="25400" y="352425"/>
                    </a:lnTo>
                    <a:lnTo>
                      <a:pt x="0" y="400050"/>
                    </a:lnTo>
                    <a:lnTo>
                      <a:pt x="34925" y="425450"/>
                    </a:lnTo>
                    <a:lnTo>
                      <a:pt x="73025" y="425450"/>
                    </a:lnTo>
                    <a:lnTo>
                      <a:pt x="95250" y="473075"/>
                    </a:lnTo>
                    <a:lnTo>
                      <a:pt x="180975" y="536575"/>
                    </a:lnTo>
                    <a:lnTo>
                      <a:pt x="282575" y="587375"/>
                    </a:lnTo>
                    <a:lnTo>
                      <a:pt x="330200" y="571500"/>
                    </a:lnTo>
                    <a:lnTo>
                      <a:pt x="361950" y="581025"/>
                    </a:lnTo>
                    <a:lnTo>
                      <a:pt x="412750" y="558800"/>
                    </a:lnTo>
                    <a:lnTo>
                      <a:pt x="447675" y="558800"/>
                    </a:lnTo>
                    <a:lnTo>
                      <a:pt x="492125" y="498475"/>
                    </a:lnTo>
                    <a:lnTo>
                      <a:pt x="514350" y="444500"/>
                    </a:lnTo>
                    <a:lnTo>
                      <a:pt x="495300" y="346075"/>
                    </a:lnTo>
                    <a:lnTo>
                      <a:pt x="536575" y="333375"/>
                    </a:lnTo>
                    <a:lnTo>
                      <a:pt x="619125" y="292100"/>
                    </a:lnTo>
                    <a:lnTo>
                      <a:pt x="619125" y="22860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Forma libre 45"/>
              <p:cNvSpPr/>
              <p:nvPr/>
            </p:nvSpPr>
            <p:spPr>
              <a:xfrm>
                <a:off x="1393263" y="6566883"/>
                <a:ext cx="128492" cy="251878"/>
              </a:xfrm>
              <a:custGeom>
                <a:avLst/>
                <a:gdLst>
                  <a:gd name="connsiteX0" fmla="*/ 831850 w 854075"/>
                  <a:gd name="connsiteY0" fmla="*/ 0 h 1593850"/>
                  <a:gd name="connsiteX1" fmla="*/ 546100 w 854075"/>
                  <a:gd name="connsiteY1" fmla="*/ 133350 h 1593850"/>
                  <a:gd name="connsiteX2" fmla="*/ 269875 w 854075"/>
                  <a:gd name="connsiteY2" fmla="*/ 41275 h 1593850"/>
                  <a:gd name="connsiteX3" fmla="*/ 273050 w 854075"/>
                  <a:gd name="connsiteY3" fmla="*/ 130175 h 1593850"/>
                  <a:gd name="connsiteX4" fmla="*/ 222250 w 854075"/>
                  <a:gd name="connsiteY4" fmla="*/ 203200 h 1593850"/>
                  <a:gd name="connsiteX5" fmla="*/ 155575 w 854075"/>
                  <a:gd name="connsiteY5" fmla="*/ 260350 h 1593850"/>
                  <a:gd name="connsiteX6" fmla="*/ 155575 w 854075"/>
                  <a:gd name="connsiteY6" fmla="*/ 333375 h 1593850"/>
                  <a:gd name="connsiteX7" fmla="*/ 85725 w 854075"/>
                  <a:gd name="connsiteY7" fmla="*/ 292100 h 1593850"/>
                  <a:gd name="connsiteX8" fmla="*/ 92075 w 854075"/>
                  <a:gd name="connsiteY8" fmla="*/ 365125 h 1593850"/>
                  <a:gd name="connsiteX9" fmla="*/ 146050 w 854075"/>
                  <a:gd name="connsiteY9" fmla="*/ 415925 h 1593850"/>
                  <a:gd name="connsiteX10" fmla="*/ 63500 w 854075"/>
                  <a:gd name="connsiteY10" fmla="*/ 504825 h 1593850"/>
                  <a:gd name="connsiteX11" fmla="*/ 66675 w 854075"/>
                  <a:gd name="connsiteY11" fmla="*/ 577850 h 1593850"/>
                  <a:gd name="connsiteX12" fmla="*/ 0 w 854075"/>
                  <a:gd name="connsiteY12" fmla="*/ 615950 h 1593850"/>
                  <a:gd name="connsiteX13" fmla="*/ 0 w 854075"/>
                  <a:gd name="connsiteY13" fmla="*/ 615950 h 1593850"/>
                  <a:gd name="connsiteX14" fmla="*/ 57150 w 854075"/>
                  <a:gd name="connsiteY14" fmla="*/ 635000 h 1593850"/>
                  <a:gd name="connsiteX15" fmla="*/ 66675 w 854075"/>
                  <a:gd name="connsiteY15" fmla="*/ 850900 h 1593850"/>
                  <a:gd name="connsiteX16" fmla="*/ 22225 w 854075"/>
                  <a:gd name="connsiteY16" fmla="*/ 927100 h 1593850"/>
                  <a:gd name="connsiteX17" fmla="*/ 79375 w 854075"/>
                  <a:gd name="connsiteY17" fmla="*/ 981075 h 1593850"/>
                  <a:gd name="connsiteX18" fmla="*/ 69850 w 854075"/>
                  <a:gd name="connsiteY18" fmla="*/ 1022350 h 1593850"/>
                  <a:gd name="connsiteX19" fmla="*/ 117475 w 854075"/>
                  <a:gd name="connsiteY19" fmla="*/ 1130300 h 1593850"/>
                  <a:gd name="connsiteX20" fmla="*/ 209550 w 854075"/>
                  <a:gd name="connsiteY20" fmla="*/ 1104900 h 1593850"/>
                  <a:gd name="connsiteX21" fmla="*/ 282575 w 854075"/>
                  <a:gd name="connsiteY21" fmla="*/ 1149350 h 1593850"/>
                  <a:gd name="connsiteX22" fmla="*/ 298450 w 854075"/>
                  <a:gd name="connsiteY22" fmla="*/ 1206500 h 1593850"/>
                  <a:gd name="connsiteX23" fmla="*/ 298450 w 854075"/>
                  <a:gd name="connsiteY23" fmla="*/ 1270000 h 1593850"/>
                  <a:gd name="connsiteX24" fmla="*/ 358775 w 854075"/>
                  <a:gd name="connsiteY24" fmla="*/ 1333500 h 1593850"/>
                  <a:gd name="connsiteX25" fmla="*/ 428625 w 854075"/>
                  <a:gd name="connsiteY25" fmla="*/ 1371600 h 1593850"/>
                  <a:gd name="connsiteX26" fmla="*/ 390525 w 854075"/>
                  <a:gd name="connsiteY26" fmla="*/ 1470025 h 1593850"/>
                  <a:gd name="connsiteX27" fmla="*/ 409575 w 854075"/>
                  <a:gd name="connsiteY27" fmla="*/ 1539875 h 1593850"/>
                  <a:gd name="connsiteX28" fmla="*/ 466725 w 854075"/>
                  <a:gd name="connsiteY28" fmla="*/ 1574800 h 1593850"/>
                  <a:gd name="connsiteX29" fmla="*/ 495300 w 854075"/>
                  <a:gd name="connsiteY29" fmla="*/ 1565275 h 1593850"/>
                  <a:gd name="connsiteX30" fmla="*/ 520700 w 854075"/>
                  <a:gd name="connsiteY30" fmla="*/ 1593850 h 1593850"/>
                  <a:gd name="connsiteX31" fmla="*/ 561975 w 854075"/>
                  <a:gd name="connsiteY31" fmla="*/ 1587500 h 1593850"/>
                  <a:gd name="connsiteX32" fmla="*/ 635000 w 854075"/>
                  <a:gd name="connsiteY32" fmla="*/ 1524000 h 1593850"/>
                  <a:gd name="connsiteX33" fmla="*/ 733425 w 854075"/>
                  <a:gd name="connsiteY33" fmla="*/ 1400175 h 1593850"/>
                  <a:gd name="connsiteX34" fmla="*/ 774700 w 854075"/>
                  <a:gd name="connsiteY34" fmla="*/ 1377950 h 1593850"/>
                  <a:gd name="connsiteX35" fmla="*/ 762000 w 854075"/>
                  <a:gd name="connsiteY35" fmla="*/ 1304925 h 1593850"/>
                  <a:gd name="connsiteX36" fmla="*/ 774700 w 854075"/>
                  <a:gd name="connsiteY36" fmla="*/ 1235075 h 1593850"/>
                  <a:gd name="connsiteX37" fmla="*/ 812800 w 854075"/>
                  <a:gd name="connsiteY37" fmla="*/ 1206500 h 1593850"/>
                  <a:gd name="connsiteX38" fmla="*/ 768350 w 854075"/>
                  <a:gd name="connsiteY38" fmla="*/ 1203325 h 1593850"/>
                  <a:gd name="connsiteX39" fmla="*/ 669925 w 854075"/>
                  <a:gd name="connsiteY39" fmla="*/ 952500 h 1593850"/>
                  <a:gd name="connsiteX40" fmla="*/ 714375 w 854075"/>
                  <a:gd name="connsiteY40" fmla="*/ 869950 h 1593850"/>
                  <a:gd name="connsiteX41" fmla="*/ 752475 w 854075"/>
                  <a:gd name="connsiteY41" fmla="*/ 841375 h 1593850"/>
                  <a:gd name="connsiteX42" fmla="*/ 676275 w 854075"/>
                  <a:gd name="connsiteY42" fmla="*/ 768350 h 1593850"/>
                  <a:gd name="connsiteX43" fmla="*/ 657225 w 854075"/>
                  <a:gd name="connsiteY43" fmla="*/ 708025 h 1593850"/>
                  <a:gd name="connsiteX44" fmla="*/ 657225 w 854075"/>
                  <a:gd name="connsiteY44" fmla="*/ 663575 h 1593850"/>
                  <a:gd name="connsiteX45" fmla="*/ 711200 w 854075"/>
                  <a:gd name="connsiteY45" fmla="*/ 647700 h 1593850"/>
                  <a:gd name="connsiteX46" fmla="*/ 704850 w 854075"/>
                  <a:gd name="connsiteY46" fmla="*/ 587375 h 1593850"/>
                  <a:gd name="connsiteX47" fmla="*/ 736600 w 854075"/>
                  <a:gd name="connsiteY47" fmla="*/ 587375 h 1593850"/>
                  <a:gd name="connsiteX48" fmla="*/ 790575 w 854075"/>
                  <a:gd name="connsiteY48" fmla="*/ 504825 h 1593850"/>
                  <a:gd name="connsiteX49" fmla="*/ 790575 w 854075"/>
                  <a:gd name="connsiteY49" fmla="*/ 457200 h 1593850"/>
                  <a:gd name="connsiteX50" fmla="*/ 854075 w 854075"/>
                  <a:gd name="connsiteY50" fmla="*/ 454025 h 1593850"/>
                  <a:gd name="connsiteX51" fmla="*/ 819150 w 854075"/>
                  <a:gd name="connsiteY51" fmla="*/ 365125 h 1593850"/>
                  <a:gd name="connsiteX52" fmla="*/ 819150 w 854075"/>
                  <a:gd name="connsiteY52" fmla="*/ 365125 h 1593850"/>
                  <a:gd name="connsiteX53" fmla="*/ 800100 w 854075"/>
                  <a:gd name="connsiteY53" fmla="*/ 295275 h 1593850"/>
                  <a:gd name="connsiteX54" fmla="*/ 746125 w 854075"/>
                  <a:gd name="connsiteY54" fmla="*/ 247650 h 1593850"/>
                  <a:gd name="connsiteX55" fmla="*/ 806450 w 854075"/>
                  <a:gd name="connsiteY55" fmla="*/ 234950 h 1593850"/>
                  <a:gd name="connsiteX56" fmla="*/ 831850 w 854075"/>
                  <a:gd name="connsiteY56" fmla="*/ 130175 h 1593850"/>
                  <a:gd name="connsiteX57" fmla="*/ 835025 w 854075"/>
                  <a:gd name="connsiteY57" fmla="*/ 69850 h 1593850"/>
                  <a:gd name="connsiteX58" fmla="*/ 831850 w 854075"/>
                  <a:gd name="connsiteY58" fmla="*/ 0 h 1593850"/>
                  <a:gd name="connsiteX0" fmla="*/ 831850 w 854075"/>
                  <a:gd name="connsiteY0" fmla="*/ 0 h 1593850"/>
                  <a:gd name="connsiteX1" fmla="*/ 546100 w 854075"/>
                  <a:gd name="connsiteY1" fmla="*/ 133350 h 1593850"/>
                  <a:gd name="connsiteX2" fmla="*/ 269875 w 854075"/>
                  <a:gd name="connsiteY2" fmla="*/ 41275 h 1593850"/>
                  <a:gd name="connsiteX3" fmla="*/ 273050 w 854075"/>
                  <a:gd name="connsiteY3" fmla="*/ 130175 h 1593850"/>
                  <a:gd name="connsiteX4" fmla="*/ 222250 w 854075"/>
                  <a:gd name="connsiteY4" fmla="*/ 203200 h 1593850"/>
                  <a:gd name="connsiteX5" fmla="*/ 155575 w 854075"/>
                  <a:gd name="connsiteY5" fmla="*/ 260350 h 1593850"/>
                  <a:gd name="connsiteX6" fmla="*/ 155575 w 854075"/>
                  <a:gd name="connsiteY6" fmla="*/ 333375 h 1593850"/>
                  <a:gd name="connsiteX7" fmla="*/ 85725 w 854075"/>
                  <a:gd name="connsiteY7" fmla="*/ 292100 h 1593850"/>
                  <a:gd name="connsiteX8" fmla="*/ 92075 w 854075"/>
                  <a:gd name="connsiteY8" fmla="*/ 365125 h 1593850"/>
                  <a:gd name="connsiteX9" fmla="*/ 133350 w 854075"/>
                  <a:gd name="connsiteY9" fmla="*/ 415925 h 1593850"/>
                  <a:gd name="connsiteX10" fmla="*/ 63500 w 854075"/>
                  <a:gd name="connsiteY10" fmla="*/ 504825 h 1593850"/>
                  <a:gd name="connsiteX11" fmla="*/ 66675 w 854075"/>
                  <a:gd name="connsiteY11" fmla="*/ 577850 h 1593850"/>
                  <a:gd name="connsiteX12" fmla="*/ 0 w 854075"/>
                  <a:gd name="connsiteY12" fmla="*/ 615950 h 1593850"/>
                  <a:gd name="connsiteX13" fmla="*/ 0 w 854075"/>
                  <a:gd name="connsiteY13" fmla="*/ 615950 h 1593850"/>
                  <a:gd name="connsiteX14" fmla="*/ 57150 w 854075"/>
                  <a:gd name="connsiteY14" fmla="*/ 635000 h 1593850"/>
                  <a:gd name="connsiteX15" fmla="*/ 66675 w 854075"/>
                  <a:gd name="connsiteY15" fmla="*/ 850900 h 1593850"/>
                  <a:gd name="connsiteX16" fmla="*/ 22225 w 854075"/>
                  <a:gd name="connsiteY16" fmla="*/ 927100 h 1593850"/>
                  <a:gd name="connsiteX17" fmla="*/ 79375 w 854075"/>
                  <a:gd name="connsiteY17" fmla="*/ 981075 h 1593850"/>
                  <a:gd name="connsiteX18" fmla="*/ 69850 w 854075"/>
                  <a:gd name="connsiteY18" fmla="*/ 1022350 h 1593850"/>
                  <a:gd name="connsiteX19" fmla="*/ 117475 w 854075"/>
                  <a:gd name="connsiteY19" fmla="*/ 1130300 h 1593850"/>
                  <a:gd name="connsiteX20" fmla="*/ 209550 w 854075"/>
                  <a:gd name="connsiteY20" fmla="*/ 1104900 h 1593850"/>
                  <a:gd name="connsiteX21" fmla="*/ 282575 w 854075"/>
                  <a:gd name="connsiteY21" fmla="*/ 1149350 h 1593850"/>
                  <a:gd name="connsiteX22" fmla="*/ 298450 w 854075"/>
                  <a:gd name="connsiteY22" fmla="*/ 1206500 h 1593850"/>
                  <a:gd name="connsiteX23" fmla="*/ 298450 w 854075"/>
                  <a:gd name="connsiteY23" fmla="*/ 1270000 h 1593850"/>
                  <a:gd name="connsiteX24" fmla="*/ 358775 w 854075"/>
                  <a:gd name="connsiteY24" fmla="*/ 1333500 h 1593850"/>
                  <a:gd name="connsiteX25" fmla="*/ 428625 w 854075"/>
                  <a:gd name="connsiteY25" fmla="*/ 1371600 h 1593850"/>
                  <a:gd name="connsiteX26" fmla="*/ 390525 w 854075"/>
                  <a:gd name="connsiteY26" fmla="*/ 1470025 h 1593850"/>
                  <a:gd name="connsiteX27" fmla="*/ 409575 w 854075"/>
                  <a:gd name="connsiteY27" fmla="*/ 1539875 h 1593850"/>
                  <a:gd name="connsiteX28" fmla="*/ 466725 w 854075"/>
                  <a:gd name="connsiteY28" fmla="*/ 1574800 h 1593850"/>
                  <a:gd name="connsiteX29" fmla="*/ 495300 w 854075"/>
                  <a:gd name="connsiteY29" fmla="*/ 1565275 h 1593850"/>
                  <a:gd name="connsiteX30" fmla="*/ 520700 w 854075"/>
                  <a:gd name="connsiteY30" fmla="*/ 1593850 h 1593850"/>
                  <a:gd name="connsiteX31" fmla="*/ 561975 w 854075"/>
                  <a:gd name="connsiteY31" fmla="*/ 1587500 h 1593850"/>
                  <a:gd name="connsiteX32" fmla="*/ 635000 w 854075"/>
                  <a:gd name="connsiteY32" fmla="*/ 1524000 h 1593850"/>
                  <a:gd name="connsiteX33" fmla="*/ 733425 w 854075"/>
                  <a:gd name="connsiteY33" fmla="*/ 1400175 h 1593850"/>
                  <a:gd name="connsiteX34" fmla="*/ 774700 w 854075"/>
                  <a:gd name="connsiteY34" fmla="*/ 1377950 h 1593850"/>
                  <a:gd name="connsiteX35" fmla="*/ 762000 w 854075"/>
                  <a:gd name="connsiteY35" fmla="*/ 1304925 h 1593850"/>
                  <a:gd name="connsiteX36" fmla="*/ 774700 w 854075"/>
                  <a:gd name="connsiteY36" fmla="*/ 1235075 h 1593850"/>
                  <a:gd name="connsiteX37" fmla="*/ 812800 w 854075"/>
                  <a:gd name="connsiteY37" fmla="*/ 1206500 h 1593850"/>
                  <a:gd name="connsiteX38" fmla="*/ 768350 w 854075"/>
                  <a:gd name="connsiteY38" fmla="*/ 1203325 h 1593850"/>
                  <a:gd name="connsiteX39" fmla="*/ 669925 w 854075"/>
                  <a:gd name="connsiteY39" fmla="*/ 952500 h 1593850"/>
                  <a:gd name="connsiteX40" fmla="*/ 714375 w 854075"/>
                  <a:gd name="connsiteY40" fmla="*/ 869950 h 1593850"/>
                  <a:gd name="connsiteX41" fmla="*/ 752475 w 854075"/>
                  <a:gd name="connsiteY41" fmla="*/ 841375 h 1593850"/>
                  <a:gd name="connsiteX42" fmla="*/ 676275 w 854075"/>
                  <a:gd name="connsiteY42" fmla="*/ 768350 h 1593850"/>
                  <a:gd name="connsiteX43" fmla="*/ 657225 w 854075"/>
                  <a:gd name="connsiteY43" fmla="*/ 708025 h 1593850"/>
                  <a:gd name="connsiteX44" fmla="*/ 657225 w 854075"/>
                  <a:gd name="connsiteY44" fmla="*/ 663575 h 1593850"/>
                  <a:gd name="connsiteX45" fmla="*/ 711200 w 854075"/>
                  <a:gd name="connsiteY45" fmla="*/ 647700 h 1593850"/>
                  <a:gd name="connsiteX46" fmla="*/ 704850 w 854075"/>
                  <a:gd name="connsiteY46" fmla="*/ 587375 h 1593850"/>
                  <a:gd name="connsiteX47" fmla="*/ 736600 w 854075"/>
                  <a:gd name="connsiteY47" fmla="*/ 587375 h 1593850"/>
                  <a:gd name="connsiteX48" fmla="*/ 790575 w 854075"/>
                  <a:gd name="connsiteY48" fmla="*/ 504825 h 1593850"/>
                  <a:gd name="connsiteX49" fmla="*/ 790575 w 854075"/>
                  <a:gd name="connsiteY49" fmla="*/ 457200 h 1593850"/>
                  <a:gd name="connsiteX50" fmla="*/ 854075 w 854075"/>
                  <a:gd name="connsiteY50" fmla="*/ 454025 h 1593850"/>
                  <a:gd name="connsiteX51" fmla="*/ 819150 w 854075"/>
                  <a:gd name="connsiteY51" fmla="*/ 365125 h 1593850"/>
                  <a:gd name="connsiteX52" fmla="*/ 819150 w 854075"/>
                  <a:gd name="connsiteY52" fmla="*/ 365125 h 1593850"/>
                  <a:gd name="connsiteX53" fmla="*/ 800100 w 854075"/>
                  <a:gd name="connsiteY53" fmla="*/ 295275 h 1593850"/>
                  <a:gd name="connsiteX54" fmla="*/ 746125 w 854075"/>
                  <a:gd name="connsiteY54" fmla="*/ 247650 h 1593850"/>
                  <a:gd name="connsiteX55" fmla="*/ 806450 w 854075"/>
                  <a:gd name="connsiteY55" fmla="*/ 234950 h 1593850"/>
                  <a:gd name="connsiteX56" fmla="*/ 831850 w 854075"/>
                  <a:gd name="connsiteY56" fmla="*/ 130175 h 1593850"/>
                  <a:gd name="connsiteX57" fmla="*/ 835025 w 854075"/>
                  <a:gd name="connsiteY57" fmla="*/ 69850 h 1593850"/>
                  <a:gd name="connsiteX58" fmla="*/ 831850 w 854075"/>
                  <a:gd name="connsiteY58" fmla="*/ 0 h 1593850"/>
                  <a:gd name="connsiteX0" fmla="*/ 836789 w 859014"/>
                  <a:gd name="connsiteY0" fmla="*/ 0 h 1593850"/>
                  <a:gd name="connsiteX1" fmla="*/ 551039 w 859014"/>
                  <a:gd name="connsiteY1" fmla="*/ 133350 h 1593850"/>
                  <a:gd name="connsiteX2" fmla="*/ 274814 w 859014"/>
                  <a:gd name="connsiteY2" fmla="*/ 41275 h 1593850"/>
                  <a:gd name="connsiteX3" fmla="*/ 277989 w 859014"/>
                  <a:gd name="connsiteY3" fmla="*/ 130175 h 1593850"/>
                  <a:gd name="connsiteX4" fmla="*/ 227189 w 859014"/>
                  <a:gd name="connsiteY4" fmla="*/ 203200 h 1593850"/>
                  <a:gd name="connsiteX5" fmla="*/ 160514 w 859014"/>
                  <a:gd name="connsiteY5" fmla="*/ 260350 h 1593850"/>
                  <a:gd name="connsiteX6" fmla="*/ 160514 w 859014"/>
                  <a:gd name="connsiteY6" fmla="*/ 333375 h 1593850"/>
                  <a:gd name="connsiteX7" fmla="*/ 90664 w 859014"/>
                  <a:gd name="connsiteY7" fmla="*/ 292100 h 1593850"/>
                  <a:gd name="connsiteX8" fmla="*/ 97014 w 859014"/>
                  <a:gd name="connsiteY8" fmla="*/ 365125 h 1593850"/>
                  <a:gd name="connsiteX9" fmla="*/ 138289 w 859014"/>
                  <a:gd name="connsiteY9" fmla="*/ 415925 h 1593850"/>
                  <a:gd name="connsiteX10" fmla="*/ 68439 w 859014"/>
                  <a:gd name="connsiteY10" fmla="*/ 504825 h 1593850"/>
                  <a:gd name="connsiteX11" fmla="*/ 71614 w 859014"/>
                  <a:gd name="connsiteY11" fmla="*/ 577850 h 1593850"/>
                  <a:gd name="connsiteX12" fmla="*/ 4939 w 859014"/>
                  <a:gd name="connsiteY12" fmla="*/ 615950 h 1593850"/>
                  <a:gd name="connsiteX13" fmla="*/ 4939 w 859014"/>
                  <a:gd name="connsiteY13" fmla="*/ 625475 h 1593850"/>
                  <a:gd name="connsiteX14" fmla="*/ 62089 w 859014"/>
                  <a:gd name="connsiteY14" fmla="*/ 635000 h 1593850"/>
                  <a:gd name="connsiteX15" fmla="*/ 71614 w 859014"/>
                  <a:gd name="connsiteY15" fmla="*/ 850900 h 1593850"/>
                  <a:gd name="connsiteX16" fmla="*/ 27164 w 859014"/>
                  <a:gd name="connsiteY16" fmla="*/ 927100 h 1593850"/>
                  <a:gd name="connsiteX17" fmla="*/ 84314 w 859014"/>
                  <a:gd name="connsiteY17" fmla="*/ 981075 h 1593850"/>
                  <a:gd name="connsiteX18" fmla="*/ 74789 w 859014"/>
                  <a:gd name="connsiteY18" fmla="*/ 1022350 h 1593850"/>
                  <a:gd name="connsiteX19" fmla="*/ 122414 w 859014"/>
                  <a:gd name="connsiteY19" fmla="*/ 1130300 h 1593850"/>
                  <a:gd name="connsiteX20" fmla="*/ 214489 w 859014"/>
                  <a:gd name="connsiteY20" fmla="*/ 1104900 h 1593850"/>
                  <a:gd name="connsiteX21" fmla="*/ 287514 w 859014"/>
                  <a:gd name="connsiteY21" fmla="*/ 1149350 h 1593850"/>
                  <a:gd name="connsiteX22" fmla="*/ 303389 w 859014"/>
                  <a:gd name="connsiteY22" fmla="*/ 1206500 h 1593850"/>
                  <a:gd name="connsiteX23" fmla="*/ 303389 w 859014"/>
                  <a:gd name="connsiteY23" fmla="*/ 1270000 h 1593850"/>
                  <a:gd name="connsiteX24" fmla="*/ 363714 w 859014"/>
                  <a:gd name="connsiteY24" fmla="*/ 1333500 h 1593850"/>
                  <a:gd name="connsiteX25" fmla="*/ 433564 w 859014"/>
                  <a:gd name="connsiteY25" fmla="*/ 1371600 h 1593850"/>
                  <a:gd name="connsiteX26" fmla="*/ 395464 w 859014"/>
                  <a:gd name="connsiteY26" fmla="*/ 1470025 h 1593850"/>
                  <a:gd name="connsiteX27" fmla="*/ 414514 w 859014"/>
                  <a:gd name="connsiteY27" fmla="*/ 1539875 h 1593850"/>
                  <a:gd name="connsiteX28" fmla="*/ 471664 w 859014"/>
                  <a:gd name="connsiteY28" fmla="*/ 1574800 h 1593850"/>
                  <a:gd name="connsiteX29" fmla="*/ 500239 w 859014"/>
                  <a:gd name="connsiteY29" fmla="*/ 1565275 h 1593850"/>
                  <a:gd name="connsiteX30" fmla="*/ 525639 w 859014"/>
                  <a:gd name="connsiteY30" fmla="*/ 1593850 h 1593850"/>
                  <a:gd name="connsiteX31" fmla="*/ 566914 w 859014"/>
                  <a:gd name="connsiteY31" fmla="*/ 1587500 h 1593850"/>
                  <a:gd name="connsiteX32" fmla="*/ 639939 w 859014"/>
                  <a:gd name="connsiteY32" fmla="*/ 1524000 h 1593850"/>
                  <a:gd name="connsiteX33" fmla="*/ 738364 w 859014"/>
                  <a:gd name="connsiteY33" fmla="*/ 1400175 h 1593850"/>
                  <a:gd name="connsiteX34" fmla="*/ 779639 w 859014"/>
                  <a:gd name="connsiteY34" fmla="*/ 1377950 h 1593850"/>
                  <a:gd name="connsiteX35" fmla="*/ 766939 w 859014"/>
                  <a:gd name="connsiteY35" fmla="*/ 1304925 h 1593850"/>
                  <a:gd name="connsiteX36" fmla="*/ 779639 w 859014"/>
                  <a:gd name="connsiteY36" fmla="*/ 1235075 h 1593850"/>
                  <a:gd name="connsiteX37" fmla="*/ 817739 w 859014"/>
                  <a:gd name="connsiteY37" fmla="*/ 1206500 h 1593850"/>
                  <a:gd name="connsiteX38" fmla="*/ 773289 w 859014"/>
                  <a:gd name="connsiteY38" fmla="*/ 1203325 h 1593850"/>
                  <a:gd name="connsiteX39" fmla="*/ 674864 w 859014"/>
                  <a:gd name="connsiteY39" fmla="*/ 952500 h 1593850"/>
                  <a:gd name="connsiteX40" fmla="*/ 719314 w 859014"/>
                  <a:gd name="connsiteY40" fmla="*/ 869950 h 1593850"/>
                  <a:gd name="connsiteX41" fmla="*/ 757414 w 859014"/>
                  <a:gd name="connsiteY41" fmla="*/ 841375 h 1593850"/>
                  <a:gd name="connsiteX42" fmla="*/ 681214 w 859014"/>
                  <a:gd name="connsiteY42" fmla="*/ 768350 h 1593850"/>
                  <a:gd name="connsiteX43" fmla="*/ 662164 w 859014"/>
                  <a:gd name="connsiteY43" fmla="*/ 708025 h 1593850"/>
                  <a:gd name="connsiteX44" fmla="*/ 662164 w 859014"/>
                  <a:gd name="connsiteY44" fmla="*/ 663575 h 1593850"/>
                  <a:gd name="connsiteX45" fmla="*/ 716139 w 859014"/>
                  <a:gd name="connsiteY45" fmla="*/ 647700 h 1593850"/>
                  <a:gd name="connsiteX46" fmla="*/ 709789 w 859014"/>
                  <a:gd name="connsiteY46" fmla="*/ 587375 h 1593850"/>
                  <a:gd name="connsiteX47" fmla="*/ 741539 w 859014"/>
                  <a:gd name="connsiteY47" fmla="*/ 587375 h 1593850"/>
                  <a:gd name="connsiteX48" fmla="*/ 795514 w 859014"/>
                  <a:gd name="connsiteY48" fmla="*/ 504825 h 1593850"/>
                  <a:gd name="connsiteX49" fmla="*/ 795514 w 859014"/>
                  <a:gd name="connsiteY49" fmla="*/ 457200 h 1593850"/>
                  <a:gd name="connsiteX50" fmla="*/ 859014 w 859014"/>
                  <a:gd name="connsiteY50" fmla="*/ 454025 h 1593850"/>
                  <a:gd name="connsiteX51" fmla="*/ 824089 w 859014"/>
                  <a:gd name="connsiteY51" fmla="*/ 365125 h 1593850"/>
                  <a:gd name="connsiteX52" fmla="*/ 824089 w 859014"/>
                  <a:gd name="connsiteY52" fmla="*/ 365125 h 1593850"/>
                  <a:gd name="connsiteX53" fmla="*/ 805039 w 859014"/>
                  <a:gd name="connsiteY53" fmla="*/ 295275 h 1593850"/>
                  <a:gd name="connsiteX54" fmla="*/ 751064 w 859014"/>
                  <a:gd name="connsiteY54" fmla="*/ 247650 h 1593850"/>
                  <a:gd name="connsiteX55" fmla="*/ 811389 w 859014"/>
                  <a:gd name="connsiteY55" fmla="*/ 234950 h 1593850"/>
                  <a:gd name="connsiteX56" fmla="*/ 836789 w 859014"/>
                  <a:gd name="connsiteY56" fmla="*/ 130175 h 1593850"/>
                  <a:gd name="connsiteX57" fmla="*/ 839964 w 859014"/>
                  <a:gd name="connsiteY57" fmla="*/ 69850 h 1593850"/>
                  <a:gd name="connsiteX58" fmla="*/ 836789 w 859014"/>
                  <a:gd name="connsiteY58" fmla="*/ 0 h 159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859014" h="1593850">
                    <a:moveTo>
                      <a:pt x="836789" y="0"/>
                    </a:moveTo>
                    <a:lnTo>
                      <a:pt x="551039" y="133350"/>
                    </a:lnTo>
                    <a:lnTo>
                      <a:pt x="274814" y="41275"/>
                    </a:lnTo>
                    <a:lnTo>
                      <a:pt x="277989" y="130175"/>
                    </a:lnTo>
                    <a:lnTo>
                      <a:pt x="227189" y="203200"/>
                    </a:lnTo>
                    <a:lnTo>
                      <a:pt x="160514" y="260350"/>
                    </a:lnTo>
                    <a:lnTo>
                      <a:pt x="160514" y="333375"/>
                    </a:lnTo>
                    <a:lnTo>
                      <a:pt x="90664" y="292100"/>
                    </a:lnTo>
                    <a:lnTo>
                      <a:pt x="97014" y="365125"/>
                    </a:lnTo>
                    <a:lnTo>
                      <a:pt x="138289" y="415925"/>
                    </a:lnTo>
                    <a:lnTo>
                      <a:pt x="68439" y="504825"/>
                    </a:lnTo>
                    <a:lnTo>
                      <a:pt x="71614" y="577850"/>
                    </a:lnTo>
                    <a:cubicBezTo>
                      <a:pt x="49389" y="590550"/>
                      <a:pt x="16052" y="608013"/>
                      <a:pt x="4939" y="615950"/>
                    </a:cubicBezTo>
                    <a:cubicBezTo>
                      <a:pt x="-6174" y="623888"/>
                      <a:pt x="4939" y="622300"/>
                      <a:pt x="4939" y="625475"/>
                    </a:cubicBezTo>
                    <a:lnTo>
                      <a:pt x="62089" y="635000"/>
                    </a:lnTo>
                    <a:lnTo>
                      <a:pt x="71614" y="850900"/>
                    </a:lnTo>
                    <a:lnTo>
                      <a:pt x="27164" y="927100"/>
                    </a:lnTo>
                    <a:lnTo>
                      <a:pt x="84314" y="981075"/>
                    </a:lnTo>
                    <a:lnTo>
                      <a:pt x="74789" y="1022350"/>
                    </a:lnTo>
                    <a:lnTo>
                      <a:pt x="122414" y="1130300"/>
                    </a:lnTo>
                    <a:lnTo>
                      <a:pt x="214489" y="1104900"/>
                    </a:lnTo>
                    <a:lnTo>
                      <a:pt x="287514" y="1149350"/>
                    </a:lnTo>
                    <a:lnTo>
                      <a:pt x="303389" y="1206500"/>
                    </a:lnTo>
                    <a:lnTo>
                      <a:pt x="303389" y="1270000"/>
                    </a:lnTo>
                    <a:lnTo>
                      <a:pt x="363714" y="1333500"/>
                    </a:lnTo>
                    <a:lnTo>
                      <a:pt x="433564" y="1371600"/>
                    </a:lnTo>
                    <a:lnTo>
                      <a:pt x="395464" y="1470025"/>
                    </a:lnTo>
                    <a:lnTo>
                      <a:pt x="414514" y="1539875"/>
                    </a:lnTo>
                    <a:lnTo>
                      <a:pt x="471664" y="1574800"/>
                    </a:lnTo>
                    <a:lnTo>
                      <a:pt x="500239" y="1565275"/>
                    </a:lnTo>
                    <a:lnTo>
                      <a:pt x="525639" y="1593850"/>
                    </a:lnTo>
                    <a:lnTo>
                      <a:pt x="566914" y="1587500"/>
                    </a:lnTo>
                    <a:lnTo>
                      <a:pt x="639939" y="1524000"/>
                    </a:lnTo>
                    <a:lnTo>
                      <a:pt x="738364" y="1400175"/>
                    </a:lnTo>
                    <a:lnTo>
                      <a:pt x="779639" y="1377950"/>
                    </a:lnTo>
                    <a:lnTo>
                      <a:pt x="766939" y="1304925"/>
                    </a:lnTo>
                    <a:lnTo>
                      <a:pt x="779639" y="1235075"/>
                    </a:lnTo>
                    <a:lnTo>
                      <a:pt x="817739" y="1206500"/>
                    </a:lnTo>
                    <a:lnTo>
                      <a:pt x="773289" y="1203325"/>
                    </a:lnTo>
                    <a:lnTo>
                      <a:pt x="674864" y="952500"/>
                    </a:lnTo>
                    <a:lnTo>
                      <a:pt x="719314" y="869950"/>
                    </a:lnTo>
                    <a:lnTo>
                      <a:pt x="757414" y="841375"/>
                    </a:lnTo>
                    <a:lnTo>
                      <a:pt x="681214" y="768350"/>
                    </a:lnTo>
                    <a:lnTo>
                      <a:pt x="662164" y="708025"/>
                    </a:lnTo>
                    <a:lnTo>
                      <a:pt x="662164" y="663575"/>
                    </a:lnTo>
                    <a:lnTo>
                      <a:pt x="716139" y="647700"/>
                    </a:lnTo>
                    <a:lnTo>
                      <a:pt x="709789" y="587375"/>
                    </a:lnTo>
                    <a:lnTo>
                      <a:pt x="741539" y="587375"/>
                    </a:lnTo>
                    <a:lnTo>
                      <a:pt x="795514" y="504825"/>
                    </a:lnTo>
                    <a:lnTo>
                      <a:pt x="795514" y="457200"/>
                    </a:lnTo>
                    <a:lnTo>
                      <a:pt x="859014" y="454025"/>
                    </a:lnTo>
                    <a:lnTo>
                      <a:pt x="824089" y="365125"/>
                    </a:lnTo>
                    <a:lnTo>
                      <a:pt x="824089" y="365125"/>
                    </a:lnTo>
                    <a:lnTo>
                      <a:pt x="805039" y="295275"/>
                    </a:lnTo>
                    <a:lnTo>
                      <a:pt x="751064" y="247650"/>
                    </a:lnTo>
                    <a:lnTo>
                      <a:pt x="811389" y="234950"/>
                    </a:lnTo>
                    <a:lnTo>
                      <a:pt x="836789" y="130175"/>
                    </a:lnTo>
                    <a:lnTo>
                      <a:pt x="839964" y="69850"/>
                    </a:lnTo>
                    <a:lnTo>
                      <a:pt x="836789" y="0"/>
                    </a:lnTo>
                    <a:close/>
                  </a:path>
                </a:pathLst>
              </a:custGeom>
              <a:grpFill/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3" name="Forma libre 22"/>
            <p:cNvSpPr/>
            <p:nvPr/>
          </p:nvSpPr>
          <p:spPr>
            <a:xfrm>
              <a:off x="755508" y="3131963"/>
              <a:ext cx="682741" cy="666158"/>
            </a:xfrm>
            <a:custGeom>
              <a:avLst/>
              <a:gdLst>
                <a:gd name="connsiteX0" fmla="*/ 606449 w 881135"/>
                <a:gd name="connsiteY0" fmla="*/ 1127318 h 1127318"/>
                <a:gd name="connsiteX1" fmla="*/ 520833 w 881135"/>
                <a:gd name="connsiteY1" fmla="*/ 1020294 h 1127318"/>
                <a:gd name="connsiteX2" fmla="*/ 510131 w 881135"/>
                <a:gd name="connsiteY2" fmla="*/ 945378 h 1127318"/>
                <a:gd name="connsiteX3" fmla="*/ 460188 w 881135"/>
                <a:gd name="connsiteY3" fmla="*/ 902568 h 1127318"/>
                <a:gd name="connsiteX4" fmla="*/ 445918 w 881135"/>
                <a:gd name="connsiteY4" fmla="*/ 849056 h 1127318"/>
                <a:gd name="connsiteX5" fmla="*/ 410245 w 881135"/>
                <a:gd name="connsiteY5" fmla="*/ 820516 h 1127318"/>
                <a:gd name="connsiteX6" fmla="*/ 413812 w 881135"/>
                <a:gd name="connsiteY6" fmla="*/ 759870 h 1127318"/>
                <a:gd name="connsiteX7" fmla="*/ 321061 w 881135"/>
                <a:gd name="connsiteY7" fmla="*/ 706358 h 1127318"/>
                <a:gd name="connsiteX8" fmla="*/ 331763 w 881135"/>
                <a:gd name="connsiteY8" fmla="*/ 670683 h 1127318"/>
                <a:gd name="connsiteX9" fmla="*/ 249714 w 881135"/>
                <a:gd name="connsiteY9" fmla="*/ 659981 h 1127318"/>
                <a:gd name="connsiteX10" fmla="*/ 274686 w 881135"/>
                <a:gd name="connsiteY10" fmla="*/ 617171 h 1127318"/>
                <a:gd name="connsiteX11" fmla="*/ 260416 w 881135"/>
                <a:gd name="connsiteY11" fmla="*/ 542254 h 1127318"/>
                <a:gd name="connsiteX12" fmla="*/ 203339 w 881135"/>
                <a:gd name="connsiteY12" fmla="*/ 438798 h 1127318"/>
                <a:gd name="connsiteX13" fmla="*/ 85616 w 881135"/>
                <a:gd name="connsiteY13" fmla="*/ 371016 h 1127318"/>
                <a:gd name="connsiteX14" fmla="*/ 85616 w 881135"/>
                <a:gd name="connsiteY14" fmla="*/ 331774 h 1127318"/>
                <a:gd name="connsiteX15" fmla="*/ 85616 w 881135"/>
                <a:gd name="connsiteY15" fmla="*/ 331774 h 1127318"/>
                <a:gd name="connsiteX16" fmla="*/ 103453 w 881135"/>
                <a:gd name="connsiteY16" fmla="*/ 306802 h 1127318"/>
                <a:gd name="connsiteX17" fmla="*/ 0 w 881135"/>
                <a:gd name="connsiteY17" fmla="*/ 107024 h 1127318"/>
                <a:gd name="connsiteX18" fmla="*/ 60645 w 881135"/>
                <a:gd name="connsiteY18" fmla="*/ 46377 h 1127318"/>
                <a:gd name="connsiteX19" fmla="*/ 67780 w 881135"/>
                <a:gd name="connsiteY19" fmla="*/ 89187 h 1127318"/>
                <a:gd name="connsiteX20" fmla="*/ 103453 w 881135"/>
                <a:gd name="connsiteY20" fmla="*/ 121294 h 1127318"/>
                <a:gd name="connsiteX21" fmla="*/ 107020 w 881135"/>
                <a:gd name="connsiteY21" fmla="*/ 185508 h 1127318"/>
                <a:gd name="connsiteX22" fmla="*/ 189069 w 881135"/>
                <a:gd name="connsiteY22" fmla="*/ 160536 h 1127318"/>
                <a:gd name="connsiteX23" fmla="*/ 260416 w 881135"/>
                <a:gd name="connsiteY23" fmla="*/ 85619 h 1127318"/>
                <a:gd name="connsiteX24" fmla="*/ 303225 w 881135"/>
                <a:gd name="connsiteY24" fmla="*/ 10703 h 1127318"/>
                <a:gd name="connsiteX25" fmla="*/ 363869 w 881135"/>
                <a:gd name="connsiteY25" fmla="*/ 0 h 1127318"/>
                <a:gd name="connsiteX26" fmla="*/ 435216 w 881135"/>
                <a:gd name="connsiteY26" fmla="*/ 57080 h 1127318"/>
                <a:gd name="connsiteX27" fmla="*/ 467322 w 881135"/>
                <a:gd name="connsiteY27" fmla="*/ 185508 h 1127318"/>
                <a:gd name="connsiteX28" fmla="*/ 513698 w 881135"/>
                <a:gd name="connsiteY28" fmla="*/ 288965 h 1127318"/>
                <a:gd name="connsiteX29" fmla="*/ 513698 w 881135"/>
                <a:gd name="connsiteY29" fmla="*/ 335342 h 1127318"/>
                <a:gd name="connsiteX30" fmla="*/ 574343 w 881135"/>
                <a:gd name="connsiteY30" fmla="*/ 478040 h 1127318"/>
                <a:gd name="connsiteX31" fmla="*/ 631420 w 881135"/>
                <a:gd name="connsiteY31" fmla="*/ 481608 h 1127318"/>
                <a:gd name="connsiteX32" fmla="*/ 638555 w 881135"/>
                <a:gd name="connsiteY32" fmla="*/ 545822 h 1127318"/>
                <a:gd name="connsiteX33" fmla="*/ 692065 w 881135"/>
                <a:gd name="connsiteY33" fmla="*/ 631441 h 1127318"/>
                <a:gd name="connsiteX34" fmla="*/ 809788 w 881135"/>
                <a:gd name="connsiteY34" fmla="*/ 642143 h 1127318"/>
                <a:gd name="connsiteX35" fmla="*/ 849028 w 881135"/>
                <a:gd name="connsiteY35" fmla="*/ 695655 h 1127318"/>
                <a:gd name="connsiteX36" fmla="*/ 820490 w 881135"/>
                <a:gd name="connsiteY36" fmla="*/ 720628 h 1127318"/>
                <a:gd name="connsiteX37" fmla="*/ 881135 w 881135"/>
                <a:gd name="connsiteY37" fmla="*/ 781274 h 1127318"/>
                <a:gd name="connsiteX38" fmla="*/ 877567 w 881135"/>
                <a:gd name="connsiteY38" fmla="*/ 874028 h 1127318"/>
                <a:gd name="connsiteX39" fmla="*/ 881135 w 881135"/>
                <a:gd name="connsiteY39" fmla="*/ 941810 h 1127318"/>
                <a:gd name="connsiteX40" fmla="*/ 820490 w 881135"/>
                <a:gd name="connsiteY40" fmla="*/ 1023862 h 1127318"/>
                <a:gd name="connsiteX41" fmla="*/ 720604 w 881135"/>
                <a:gd name="connsiteY41" fmla="*/ 1009592 h 1127318"/>
                <a:gd name="connsiteX42" fmla="*/ 656392 w 881135"/>
                <a:gd name="connsiteY42" fmla="*/ 1077374 h 1127318"/>
                <a:gd name="connsiteX43" fmla="*/ 606449 w 881135"/>
                <a:gd name="connsiteY43" fmla="*/ 1127318 h 112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81135" h="1127318">
                  <a:moveTo>
                    <a:pt x="606449" y="1127318"/>
                  </a:moveTo>
                  <a:lnTo>
                    <a:pt x="520833" y="1020294"/>
                  </a:lnTo>
                  <a:lnTo>
                    <a:pt x="510131" y="945378"/>
                  </a:lnTo>
                  <a:lnTo>
                    <a:pt x="460188" y="902568"/>
                  </a:lnTo>
                  <a:lnTo>
                    <a:pt x="445918" y="849056"/>
                  </a:lnTo>
                  <a:lnTo>
                    <a:pt x="410245" y="820516"/>
                  </a:lnTo>
                  <a:lnTo>
                    <a:pt x="413812" y="759870"/>
                  </a:lnTo>
                  <a:lnTo>
                    <a:pt x="321061" y="706358"/>
                  </a:lnTo>
                  <a:lnTo>
                    <a:pt x="331763" y="670683"/>
                  </a:lnTo>
                  <a:lnTo>
                    <a:pt x="249714" y="659981"/>
                  </a:lnTo>
                  <a:lnTo>
                    <a:pt x="274686" y="617171"/>
                  </a:lnTo>
                  <a:lnTo>
                    <a:pt x="260416" y="542254"/>
                  </a:lnTo>
                  <a:lnTo>
                    <a:pt x="203339" y="438798"/>
                  </a:lnTo>
                  <a:lnTo>
                    <a:pt x="85616" y="371016"/>
                  </a:lnTo>
                  <a:lnTo>
                    <a:pt x="85616" y="331774"/>
                  </a:lnTo>
                  <a:lnTo>
                    <a:pt x="85616" y="331774"/>
                  </a:lnTo>
                  <a:lnTo>
                    <a:pt x="103453" y="306802"/>
                  </a:lnTo>
                  <a:lnTo>
                    <a:pt x="0" y="107024"/>
                  </a:lnTo>
                  <a:lnTo>
                    <a:pt x="60645" y="46377"/>
                  </a:lnTo>
                  <a:lnTo>
                    <a:pt x="67780" y="89187"/>
                  </a:lnTo>
                  <a:lnTo>
                    <a:pt x="103453" y="121294"/>
                  </a:lnTo>
                  <a:lnTo>
                    <a:pt x="107020" y="185508"/>
                  </a:lnTo>
                  <a:lnTo>
                    <a:pt x="189069" y="160536"/>
                  </a:lnTo>
                  <a:lnTo>
                    <a:pt x="260416" y="85619"/>
                  </a:lnTo>
                  <a:lnTo>
                    <a:pt x="303225" y="10703"/>
                  </a:lnTo>
                  <a:lnTo>
                    <a:pt x="363869" y="0"/>
                  </a:lnTo>
                  <a:lnTo>
                    <a:pt x="435216" y="57080"/>
                  </a:lnTo>
                  <a:lnTo>
                    <a:pt x="467322" y="185508"/>
                  </a:lnTo>
                  <a:lnTo>
                    <a:pt x="513698" y="288965"/>
                  </a:lnTo>
                  <a:lnTo>
                    <a:pt x="513698" y="335342"/>
                  </a:lnTo>
                  <a:lnTo>
                    <a:pt x="574343" y="478040"/>
                  </a:lnTo>
                  <a:lnTo>
                    <a:pt x="631420" y="481608"/>
                  </a:lnTo>
                  <a:lnTo>
                    <a:pt x="638555" y="545822"/>
                  </a:lnTo>
                  <a:lnTo>
                    <a:pt x="692065" y="631441"/>
                  </a:lnTo>
                  <a:lnTo>
                    <a:pt x="809788" y="642143"/>
                  </a:lnTo>
                  <a:lnTo>
                    <a:pt x="849028" y="695655"/>
                  </a:lnTo>
                  <a:lnTo>
                    <a:pt x="820490" y="720628"/>
                  </a:lnTo>
                  <a:lnTo>
                    <a:pt x="881135" y="781274"/>
                  </a:lnTo>
                  <a:lnTo>
                    <a:pt x="877567" y="874028"/>
                  </a:lnTo>
                  <a:lnTo>
                    <a:pt x="881135" y="941810"/>
                  </a:lnTo>
                  <a:lnTo>
                    <a:pt x="820490" y="1023862"/>
                  </a:lnTo>
                  <a:lnTo>
                    <a:pt x="720604" y="1009592"/>
                  </a:lnTo>
                  <a:lnTo>
                    <a:pt x="656392" y="1077374"/>
                  </a:lnTo>
                  <a:lnTo>
                    <a:pt x="606449" y="1127318"/>
                  </a:lnTo>
                  <a:close/>
                </a:path>
              </a:pathLst>
            </a:custGeom>
            <a:grpFill/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0087C8"/>
                </a:solidFill>
              </a:endParaRPr>
            </a:p>
          </p:txBody>
        </p:sp>
      </p:grpSp>
      <p:sp>
        <p:nvSpPr>
          <p:cNvPr id="49" name="CuadroTexto 48"/>
          <p:cNvSpPr txBox="1"/>
          <p:nvPr/>
        </p:nvSpPr>
        <p:spPr bwMode="gray">
          <a:xfrm>
            <a:off x="6104311" y="1904886"/>
            <a:ext cx="12526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 smtClean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Macro Zona</a:t>
            </a:r>
            <a:endParaRPr lang="es-PE" sz="1600" b="1" dirty="0">
              <a:solidFill>
                <a:schemeClr val="accent5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cxnSp>
        <p:nvCxnSpPr>
          <p:cNvPr id="50" name="Conector recto 49"/>
          <p:cNvCxnSpPr/>
          <p:nvPr/>
        </p:nvCxnSpPr>
        <p:spPr>
          <a:xfrm>
            <a:off x="594703" y="2440403"/>
            <a:ext cx="6884268" cy="2296"/>
          </a:xfrm>
          <a:prstGeom prst="line">
            <a:avLst/>
          </a:prstGeom>
          <a:ln>
            <a:solidFill>
              <a:schemeClr val="tx2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Elipse 50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ángulo 51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sp>
        <p:nvSpPr>
          <p:cNvPr id="53" name="Elipse 52"/>
          <p:cNvSpPr/>
          <p:nvPr/>
        </p:nvSpPr>
        <p:spPr bwMode="gray">
          <a:xfrm>
            <a:off x="726653" y="2093523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Elipse 53"/>
          <p:cNvSpPr/>
          <p:nvPr/>
        </p:nvSpPr>
        <p:spPr bwMode="gray">
          <a:xfrm>
            <a:off x="602899" y="2482410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Elipse 57"/>
          <p:cNvSpPr/>
          <p:nvPr/>
        </p:nvSpPr>
        <p:spPr bwMode="gray">
          <a:xfrm>
            <a:off x="527901" y="5206840"/>
            <a:ext cx="456110" cy="387448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CuadroTexto 54"/>
          <p:cNvSpPr txBox="1"/>
          <p:nvPr/>
        </p:nvSpPr>
        <p:spPr bwMode="gray">
          <a:xfrm>
            <a:off x="6045144" y="4552030"/>
            <a:ext cx="154632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600" b="1" dirty="0" smtClean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Nivel de instrucción</a:t>
            </a:r>
            <a:endParaRPr lang="es-PE" sz="1600" b="1" dirty="0">
              <a:solidFill>
                <a:schemeClr val="accent5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56" name="Freeform 101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5428297" y="4592459"/>
            <a:ext cx="504000" cy="381762"/>
          </a:xfrm>
          <a:custGeom>
            <a:avLst/>
            <a:gdLst>
              <a:gd name="T0" fmla="*/ 0 w 2114"/>
              <a:gd name="T1" fmla="*/ 292 h 1601"/>
              <a:gd name="T2" fmla="*/ 1057 w 2114"/>
              <a:gd name="T3" fmla="*/ 0 h 1601"/>
              <a:gd name="T4" fmla="*/ 2114 w 2114"/>
              <a:gd name="T5" fmla="*/ 292 h 1601"/>
              <a:gd name="T6" fmla="*/ 1057 w 2114"/>
              <a:gd name="T7" fmla="*/ 643 h 1601"/>
              <a:gd name="T8" fmla="*/ 0 w 2114"/>
              <a:gd name="T9" fmla="*/ 292 h 1601"/>
              <a:gd name="T10" fmla="*/ 417 w 2114"/>
              <a:gd name="T11" fmla="*/ 883 h 1601"/>
              <a:gd name="T12" fmla="*/ 507 w 2114"/>
              <a:gd name="T13" fmla="*/ 545 h 1601"/>
              <a:gd name="T14" fmla="*/ 1057 w 2114"/>
              <a:gd name="T15" fmla="*/ 727 h 1601"/>
              <a:gd name="T16" fmla="*/ 1607 w 2114"/>
              <a:gd name="T17" fmla="*/ 545 h 1601"/>
              <a:gd name="T18" fmla="*/ 1697 w 2114"/>
              <a:gd name="T19" fmla="*/ 883 h 1601"/>
              <a:gd name="T20" fmla="*/ 1697 w 2114"/>
              <a:gd name="T21" fmla="*/ 943 h 1601"/>
              <a:gd name="T22" fmla="*/ 1057 w 2114"/>
              <a:gd name="T23" fmla="*/ 1201 h 1601"/>
              <a:gd name="T24" fmla="*/ 417 w 2114"/>
              <a:gd name="T25" fmla="*/ 943 h 1601"/>
              <a:gd name="T26" fmla="*/ 417 w 2114"/>
              <a:gd name="T27" fmla="*/ 883 h 1601"/>
              <a:gd name="T28" fmla="*/ 1057 w 2114"/>
              <a:gd name="T29" fmla="*/ 201 h 1601"/>
              <a:gd name="T30" fmla="*/ 937 w 2114"/>
              <a:gd name="T31" fmla="*/ 281 h 1601"/>
              <a:gd name="T32" fmla="*/ 1057 w 2114"/>
              <a:gd name="T33" fmla="*/ 361 h 1601"/>
              <a:gd name="T34" fmla="*/ 1153 w 2114"/>
              <a:gd name="T35" fmla="*/ 331 h 1601"/>
              <a:gd name="T36" fmla="*/ 1817 w 2114"/>
              <a:gd name="T37" fmla="*/ 397 h 1601"/>
              <a:gd name="T38" fmla="*/ 1857 w 2114"/>
              <a:gd name="T39" fmla="*/ 437 h 1601"/>
              <a:gd name="T40" fmla="*/ 1857 w 2114"/>
              <a:gd name="T41" fmla="*/ 648 h 1601"/>
              <a:gd name="T42" fmla="*/ 1777 w 2114"/>
              <a:gd name="T43" fmla="*/ 761 h 1601"/>
              <a:gd name="T44" fmla="*/ 1835 w 2114"/>
              <a:gd name="T45" fmla="*/ 863 h 1601"/>
              <a:gd name="T46" fmla="*/ 1799 w 2114"/>
              <a:gd name="T47" fmla="*/ 1169 h 1601"/>
              <a:gd name="T48" fmla="*/ 1777 w 2114"/>
              <a:gd name="T49" fmla="*/ 1561 h 1601"/>
              <a:gd name="T50" fmla="*/ 1777 w 2114"/>
              <a:gd name="T51" fmla="*/ 1601 h 1601"/>
              <a:gd name="T52" fmla="*/ 2017 w 2114"/>
              <a:gd name="T53" fmla="*/ 1601 h 1601"/>
              <a:gd name="T54" fmla="*/ 2017 w 2114"/>
              <a:gd name="T55" fmla="*/ 1561 h 1601"/>
              <a:gd name="T56" fmla="*/ 1995 w 2114"/>
              <a:gd name="T57" fmla="*/ 1169 h 1601"/>
              <a:gd name="T58" fmla="*/ 1959 w 2114"/>
              <a:gd name="T59" fmla="*/ 864 h 1601"/>
              <a:gd name="T60" fmla="*/ 2017 w 2114"/>
              <a:gd name="T61" fmla="*/ 761 h 1601"/>
              <a:gd name="T62" fmla="*/ 1937 w 2114"/>
              <a:gd name="T63" fmla="*/ 648 h 1601"/>
              <a:gd name="T64" fmla="*/ 1937 w 2114"/>
              <a:gd name="T65" fmla="*/ 437 h 1601"/>
              <a:gd name="T66" fmla="*/ 1825 w 2114"/>
              <a:gd name="T67" fmla="*/ 318 h 1601"/>
              <a:gd name="T68" fmla="*/ 1170 w 2114"/>
              <a:gd name="T69" fmla="*/ 252 h 1601"/>
              <a:gd name="T70" fmla="*/ 1057 w 2114"/>
              <a:gd name="T71" fmla="*/ 201 h 1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14" h="1601">
                <a:moveTo>
                  <a:pt x="0" y="292"/>
                </a:moveTo>
                <a:cubicBezTo>
                  <a:pt x="1057" y="0"/>
                  <a:pt x="1057" y="0"/>
                  <a:pt x="1057" y="0"/>
                </a:cubicBezTo>
                <a:cubicBezTo>
                  <a:pt x="2114" y="292"/>
                  <a:pt x="2114" y="292"/>
                  <a:pt x="2114" y="292"/>
                </a:cubicBezTo>
                <a:cubicBezTo>
                  <a:pt x="1057" y="643"/>
                  <a:pt x="1057" y="643"/>
                  <a:pt x="1057" y="643"/>
                </a:cubicBezTo>
                <a:lnTo>
                  <a:pt x="0" y="292"/>
                </a:lnTo>
                <a:close/>
                <a:moveTo>
                  <a:pt x="417" y="883"/>
                </a:moveTo>
                <a:cubicBezTo>
                  <a:pt x="417" y="760"/>
                  <a:pt x="445" y="643"/>
                  <a:pt x="507" y="545"/>
                </a:cubicBezTo>
                <a:cubicBezTo>
                  <a:pt x="1057" y="727"/>
                  <a:pt x="1057" y="727"/>
                  <a:pt x="1057" y="727"/>
                </a:cubicBezTo>
                <a:cubicBezTo>
                  <a:pt x="1607" y="545"/>
                  <a:pt x="1607" y="545"/>
                  <a:pt x="1607" y="545"/>
                </a:cubicBezTo>
                <a:cubicBezTo>
                  <a:pt x="1669" y="643"/>
                  <a:pt x="1697" y="760"/>
                  <a:pt x="1697" y="883"/>
                </a:cubicBezTo>
                <a:cubicBezTo>
                  <a:pt x="1697" y="943"/>
                  <a:pt x="1697" y="943"/>
                  <a:pt x="1697" y="943"/>
                </a:cubicBezTo>
                <a:cubicBezTo>
                  <a:pt x="1572" y="1147"/>
                  <a:pt x="1277" y="1201"/>
                  <a:pt x="1057" y="1201"/>
                </a:cubicBezTo>
                <a:cubicBezTo>
                  <a:pt x="837" y="1201"/>
                  <a:pt x="542" y="1147"/>
                  <a:pt x="417" y="943"/>
                </a:cubicBezTo>
                <a:lnTo>
                  <a:pt x="417" y="883"/>
                </a:lnTo>
                <a:close/>
                <a:moveTo>
                  <a:pt x="1057" y="201"/>
                </a:moveTo>
                <a:cubicBezTo>
                  <a:pt x="1009" y="201"/>
                  <a:pt x="937" y="223"/>
                  <a:pt x="937" y="281"/>
                </a:cubicBezTo>
                <a:cubicBezTo>
                  <a:pt x="937" y="339"/>
                  <a:pt x="1009" y="361"/>
                  <a:pt x="1057" y="361"/>
                </a:cubicBezTo>
                <a:cubicBezTo>
                  <a:pt x="1089" y="361"/>
                  <a:pt x="1128" y="353"/>
                  <a:pt x="1153" y="331"/>
                </a:cubicBezTo>
                <a:cubicBezTo>
                  <a:pt x="1817" y="397"/>
                  <a:pt x="1817" y="397"/>
                  <a:pt x="1817" y="397"/>
                </a:cubicBezTo>
                <a:cubicBezTo>
                  <a:pt x="1838" y="399"/>
                  <a:pt x="1857" y="415"/>
                  <a:pt x="1857" y="437"/>
                </a:cubicBezTo>
                <a:cubicBezTo>
                  <a:pt x="1857" y="648"/>
                  <a:pt x="1857" y="648"/>
                  <a:pt x="1857" y="648"/>
                </a:cubicBezTo>
                <a:cubicBezTo>
                  <a:pt x="1809" y="665"/>
                  <a:pt x="1777" y="710"/>
                  <a:pt x="1777" y="761"/>
                </a:cubicBezTo>
                <a:cubicBezTo>
                  <a:pt x="1777" y="803"/>
                  <a:pt x="1799" y="842"/>
                  <a:pt x="1835" y="863"/>
                </a:cubicBezTo>
                <a:cubicBezTo>
                  <a:pt x="1822" y="959"/>
                  <a:pt x="1809" y="1065"/>
                  <a:pt x="1799" y="1169"/>
                </a:cubicBezTo>
                <a:cubicBezTo>
                  <a:pt x="1786" y="1310"/>
                  <a:pt x="1777" y="1449"/>
                  <a:pt x="1777" y="1561"/>
                </a:cubicBezTo>
                <a:cubicBezTo>
                  <a:pt x="1777" y="1601"/>
                  <a:pt x="1777" y="1601"/>
                  <a:pt x="1777" y="1601"/>
                </a:cubicBezTo>
                <a:cubicBezTo>
                  <a:pt x="1857" y="1601"/>
                  <a:pt x="1937" y="1601"/>
                  <a:pt x="2017" y="1601"/>
                </a:cubicBezTo>
                <a:cubicBezTo>
                  <a:pt x="2017" y="1561"/>
                  <a:pt x="2017" y="1561"/>
                  <a:pt x="2017" y="1561"/>
                </a:cubicBezTo>
                <a:cubicBezTo>
                  <a:pt x="2017" y="1449"/>
                  <a:pt x="2008" y="1310"/>
                  <a:pt x="1995" y="1169"/>
                </a:cubicBezTo>
                <a:cubicBezTo>
                  <a:pt x="1985" y="1065"/>
                  <a:pt x="1973" y="960"/>
                  <a:pt x="1959" y="864"/>
                </a:cubicBezTo>
                <a:cubicBezTo>
                  <a:pt x="1995" y="842"/>
                  <a:pt x="2017" y="803"/>
                  <a:pt x="2017" y="761"/>
                </a:cubicBezTo>
                <a:cubicBezTo>
                  <a:pt x="2017" y="710"/>
                  <a:pt x="1985" y="665"/>
                  <a:pt x="1937" y="648"/>
                </a:cubicBezTo>
                <a:cubicBezTo>
                  <a:pt x="1937" y="437"/>
                  <a:pt x="1937" y="437"/>
                  <a:pt x="1937" y="437"/>
                </a:cubicBezTo>
                <a:cubicBezTo>
                  <a:pt x="1937" y="373"/>
                  <a:pt x="1887" y="324"/>
                  <a:pt x="1825" y="318"/>
                </a:cubicBezTo>
                <a:cubicBezTo>
                  <a:pt x="1170" y="252"/>
                  <a:pt x="1170" y="252"/>
                  <a:pt x="1170" y="252"/>
                </a:cubicBezTo>
                <a:cubicBezTo>
                  <a:pt x="1150" y="214"/>
                  <a:pt x="1097" y="201"/>
                  <a:pt x="1057" y="20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7" name="Elipse 56"/>
          <p:cNvSpPr/>
          <p:nvPr/>
        </p:nvSpPr>
        <p:spPr bwMode="gray">
          <a:xfrm>
            <a:off x="527901" y="4843330"/>
            <a:ext cx="463842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Conector recto de flecha 3"/>
          <p:cNvCxnSpPr>
            <a:stCxn id="49" idx="3"/>
          </p:cNvCxnSpPr>
          <p:nvPr/>
        </p:nvCxnSpPr>
        <p:spPr>
          <a:xfrm>
            <a:off x="7357007" y="2027997"/>
            <a:ext cx="901876" cy="9890"/>
          </a:xfrm>
          <a:prstGeom prst="straightConnector1">
            <a:avLst/>
          </a:prstGeom>
          <a:ln w="5715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ítulo 10"/>
          <p:cNvSpPr txBox="1">
            <a:spLocks/>
          </p:cNvSpPr>
          <p:nvPr/>
        </p:nvSpPr>
        <p:spPr>
          <a:xfrm>
            <a:off x="211552" y="146045"/>
            <a:ext cx="9262386" cy="101638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PE" sz="2000" b="1" dirty="0">
                <a:latin typeface="Corbel" panose="020B0503020204020204" pitchFamily="34" charset="0"/>
                <a:cs typeface="Arial" pitchFamily="34" charset="0"/>
              </a:rPr>
              <a:t>Un 10% de los encuestados conoce de alguien o a él/ella </a:t>
            </a:r>
            <a:r>
              <a:rPr lang="es-PE" sz="2000" b="1" dirty="0" smtClean="0">
                <a:latin typeface="Corbel" panose="020B0503020204020204" pitchFamily="34" charset="0"/>
                <a:cs typeface="Arial" pitchFamily="34" charset="0"/>
              </a:rPr>
              <a:t>misma </a:t>
            </a:r>
            <a:r>
              <a:rPr lang="es-PE" sz="2000" b="1" dirty="0">
                <a:latin typeface="Corbel" panose="020B0503020204020204" pitchFamily="34" charset="0"/>
                <a:cs typeface="Arial" pitchFamily="34" charset="0"/>
              </a:rPr>
              <a:t>se le ha pedido o sugerido algún tipo de favor sexual a cambio de resolver un </a:t>
            </a:r>
            <a:r>
              <a:rPr lang="es-PE" sz="2000" b="1" dirty="0" smtClean="0">
                <a:latin typeface="Corbel" panose="020B0503020204020204" pitchFamily="34" charset="0"/>
                <a:cs typeface="Arial" pitchFamily="34" charset="0"/>
              </a:rPr>
              <a:t>problema.</a:t>
            </a:r>
          </a:p>
          <a:p>
            <a:r>
              <a:rPr lang="es-PE" sz="1800" b="1" dirty="0" smtClean="0">
                <a:latin typeface="Corbel" panose="020B0503020204020204" pitchFamily="34" charset="0"/>
                <a:cs typeface="Arial" pitchFamily="34" charset="0"/>
              </a:rPr>
              <a:t>(% que en al menos una de las instituciones a recibido un pedido de favor sexual</a:t>
            </a:r>
            <a:r>
              <a:rPr lang="es-PE" sz="2000" b="1" dirty="0" smtClean="0">
                <a:latin typeface="Corbel" panose="020B0503020204020204" pitchFamily="34" charset="0"/>
                <a:cs typeface="Arial" pitchFamily="34" charset="0"/>
              </a:rPr>
              <a:t>)</a:t>
            </a:r>
            <a:endParaRPr lang="en-US" sz="2000" b="1" dirty="0">
              <a:latin typeface="Corbel" panose="020B0503020204020204" pitchFamily="34" charset="0"/>
            </a:endParaRPr>
          </a:p>
        </p:txBody>
      </p:sp>
      <p:sp>
        <p:nvSpPr>
          <p:cNvPr id="60" name="Textplatzhalter 2"/>
          <p:cNvSpPr txBox="1">
            <a:spLocks/>
          </p:cNvSpPr>
          <p:nvPr/>
        </p:nvSpPr>
        <p:spPr bwMode="gray">
          <a:xfrm>
            <a:off x="8563229" y="1560664"/>
            <a:ext cx="3051383" cy="1016347"/>
          </a:xfrm>
          <a:prstGeom prst="rect">
            <a:avLst/>
          </a:prstGeo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39994" marR="0" indent="-2399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79988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9982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719982" indent="-239994" algn="l" defTabSz="1219170" rtl="0" eaLnBrk="1" latinLnBrk="0" hangingPunct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959976" marR="0" indent="-241294" algn="l" defTabSz="121917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2133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PE" sz="2800" dirty="0" smtClean="0">
                <a:solidFill>
                  <a:srgbClr val="264283"/>
                </a:solidFill>
                <a:latin typeface="Corbel" panose="020B0503020204020204" pitchFamily="34" charset="0"/>
              </a:rPr>
              <a:t>En la sierra norte la cifra llega al 16%</a:t>
            </a:r>
            <a:endParaRPr lang="es-PE" sz="2800" dirty="0">
              <a:solidFill>
                <a:srgbClr val="264283"/>
              </a:solidFill>
              <a:latin typeface="Corbel" panose="020B0503020204020204" pitchFamily="34" charset="0"/>
            </a:endParaRPr>
          </a:p>
        </p:txBody>
      </p:sp>
      <p:sp>
        <p:nvSpPr>
          <p:cNvPr id="61" name="Rectángulo 60"/>
          <p:cNvSpPr/>
          <p:nvPr/>
        </p:nvSpPr>
        <p:spPr>
          <a:xfrm>
            <a:off x="8203218" y="3033165"/>
            <a:ext cx="392659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En los últimos 12 meses, ¿a usted o a alguien a quien usted conoce le han pedido o sugerido algún tipo de favor sexual para resolver algún problema o trámite en relación a…? </a:t>
            </a:r>
            <a:r>
              <a:rPr lang="es-419" dirty="0" smtClean="0">
                <a:latin typeface="Corbel" panose="020B0503020204020204" pitchFamily="34" charset="0"/>
              </a:rPr>
              <a:t>– </a:t>
            </a:r>
            <a:r>
              <a:rPr lang="es-419" b="1" dirty="0" smtClean="0">
                <a:latin typeface="Corbel" panose="020B0503020204020204" pitchFamily="34" charset="0"/>
              </a:rPr>
              <a:t>CON TARJETA</a:t>
            </a:r>
          </a:p>
          <a:p>
            <a:endParaRPr lang="es-419" b="1" dirty="0" smtClean="0">
              <a:latin typeface="Corbel" panose="020B0503020204020204" pitchFamily="34" charset="0"/>
            </a:endParaRPr>
          </a:p>
          <a:p>
            <a:r>
              <a:rPr lang="es-419" b="1" dirty="0" smtClean="0">
                <a:latin typeface="Corbel" panose="020B0503020204020204" pitchFamily="34" charset="0"/>
              </a:rPr>
              <a:t>%  QUE MENCIONA EXPERIENCIA DIRECTA O INDIRECTA DE PEDIDO DE FAVORES SEXUALES</a:t>
            </a:r>
            <a:endParaRPr lang="es-ES" b="1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220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 descr="Resultado de imagen para acoso sexual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5557" y="1491141"/>
            <a:ext cx="2936443" cy="1273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Rectángulo 60"/>
          <p:cNvSpPr/>
          <p:nvPr/>
        </p:nvSpPr>
        <p:spPr>
          <a:xfrm>
            <a:off x="1178560" y="1424174"/>
            <a:ext cx="82225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En los últimos 12 meses, ¿a usted o a alguien a quien usted conoce le han pedido o sugerido algún tipo de favor sexual para resolver algún problema o trámite en relación a…? </a:t>
            </a:r>
            <a:r>
              <a:rPr lang="es-419" sz="1600" dirty="0">
                <a:latin typeface="Corbel" panose="020B0503020204020204" pitchFamily="34" charset="0"/>
              </a:rPr>
              <a:t>– </a:t>
            </a:r>
            <a:r>
              <a:rPr lang="es-419" sz="1600" b="1" dirty="0">
                <a:latin typeface="Corbel" panose="020B0503020204020204" pitchFamily="34" charset="0"/>
              </a:rPr>
              <a:t>CON TARJETA %  QUE MENCIONA EXPERIENCIA DIRECTA O INDIRECTA DE PEDIDO DE FAVORES SEXUALES</a:t>
            </a:r>
            <a:endParaRPr lang="es-ES" sz="1600" b="1" dirty="0">
              <a:latin typeface="Corbel" panose="020B0503020204020204" pitchFamily="34" charset="0"/>
            </a:endParaRPr>
          </a:p>
        </p:txBody>
      </p:sp>
      <p:sp>
        <p:nvSpPr>
          <p:cNvPr id="12" name="5 Título"/>
          <p:cNvSpPr txBox="1">
            <a:spLocks/>
          </p:cNvSpPr>
          <p:nvPr/>
        </p:nvSpPr>
        <p:spPr>
          <a:xfrm>
            <a:off x="239577" y="238323"/>
            <a:ext cx="9240215" cy="432047"/>
          </a:xfrm>
          <a:prstGeom prst="rect">
            <a:avLst/>
          </a:prstGeom>
        </p:spPr>
        <p:txBody>
          <a:bodyPr/>
          <a:lstStyle/>
          <a:p>
            <a:r>
              <a:rPr lang="es-PE" sz="2800" b="1" dirty="0">
                <a:solidFill>
                  <a:srgbClr val="000000"/>
                </a:solidFill>
                <a:latin typeface="Corbel" panose="020B0503020204020204" pitchFamily="34" charset="0"/>
              </a:rPr>
              <a:t>¿En qué instituciones se pidieron favores sexuales en los últimos 12 meses?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xmlns="" id="{58C25749-2813-48C5-9A01-0DAEF1ED8392}"/>
              </a:ext>
            </a:extLst>
          </p:cNvPr>
          <p:cNvGrpSpPr/>
          <p:nvPr/>
        </p:nvGrpSpPr>
        <p:grpSpPr>
          <a:xfrm>
            <a:off x="814499" y="3585901"/>
            <a:ext cx="1314450" cy="2613995"/>
            <a:chOff x="814499" y="3585901"/>
            <a:chExt cx="1314450" cy="2613995"/>
          </a:xfrm>
        </p:grpSpPr>
        <p:sp>
          <p:nvSpPr>
            <p:cNvPr id="19" name="Freeform 101"/>
            <p:cNvSpPr>
              <a:spLocks noChangeAspect="1"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906182" y="3585901"/>
              <a:ext cx="1025658" cy="776899"/>
            </a:xfrm>
            <a:custGeom>
              <a:avLst/>
              <a:gdLst>
                <a:gd name="T0" fmla="*/ 0 w 2114"/>
                <a:gd name="T1" fmla="*/ 292 h 1601"/>
                <a:gd name="T2" fmla="*/ 1057 w 2114"/>
                <a:gd name="T3" fmla="*/ 0 h 1601"/>
                <a:gd name="T4" fmla="*/ 2114 w 2114"/>
                <a:gd name="T5" fmla="*/ 292 h 1601"/>
                <a:gd name="T6" fmla="*/ 1057 w 2114"/>
                <a:gd name="T7" fmla="*/ 643 h 1601"/>
                <a:gd name="T8" fmla="*/ 0 w 2114"/>
                <a:gd name="T9" fmla="*/ 292 h 1601"/>
                <a:gd name="T10" fmla="*/ 417 w 2114"/>
                <a:gd name="T11" fmla="*/ 883 h 1601"/>
                <a:gd name="T12" fmla="*/ 507 w 2114"/>
                <a:gd name="T13" fmla="*/ 545 h 1601"/>
                <a:gd name="T14" fmla="*/ 1057 w 2114"/>
                <a:gd name="T15" fmla="*/ 727 h 1601"/>
                <a:gd name="T16" fmla="*/ 1607 w 2114"/>
                <a:gd name="T17" fmla="*/ 545 h 1601"/>
                <a:gd name="T18" fmla="*/ 1697 w 2114"/>
                <a:gd name="T19" fmla="*/ 883 h 1601"/>
                <a:gd name="T20" fmla="*/ 1697 w 2114"/>
                <a:gd name="T21" fmla="*/ 943 h 1601"/>
                <a:gd name="T22" fmla="*/ 1057 w 2114"/>
                <a:gd name="T23" fmla="*/ 1201 h 1601"/>
                <a:gd name="T24" fmla="*/ 417 w 2114"/>
                <a:gd name="T25" fmla="*/ 943 h 1601"/>
                <a:gd name="T26" fmla="*/ 417 w 2114"/>
                <a:gd name="T27" fmla="*/ 883 h 1601"/>
                <a:gd name="T28" fmla="*/ 1057 w 2114"/>
                <a:gd name="T29" fmla="*/ 201 h 1601"/>
                <a:gd name="T30" fmla="*/ 937 w 2114"/>
                <a:gd name="T31" fmla="*/ 281 h 1601"/>
                <a:gd name="T32" fmla="*/ 1057 w 2114"/>
                <a:gd name="T33" fmla="*/ 361 h 1601"/>
                <a:gd name="T34" fmla="*/ 1153 w 2114"/>
                <a:gd name="T35" fmla="*/ 331 h 1601"/>
                <a:gd name="T36" fmla="*/ 1817 w 2114"/>
                <a:gd name="T37" fmla="*/ 397 h 1601"/>
                <a:gd name="T38" fmla="*/ 1857 w 2114"/>
                <a:gd name="T39" fmla="*/ 437 h 1601"/>
                <a:gd name="T40" fmla="*/ 1857 w 2114"/>
                <a:gd name="T41" fmla="*/ 648 h 1601"/>
                <a:gd name="T42" fmla="*/ 1777 w 2114"/>
                <a:gd name="T43" fmla="*/ 761 h 1601"/>
                <a:gd name="T44" fmla="*/ 1835 w 2114"/>
                <a:gd name="T45" fmla="*/ 863 h 1601"/>
                <a:gd name="T46" fmla="*/ 1799 w 2114"/>
                <a:gd name="T47" fmla="*/ 1169 h 1601"/>
                <a:gd name="T48" fmla="*/ 1777 w 2114"/>
                <a:gd name="T49" fmla="*/ 1561 h 1601"/>
                <a:gd name="T50" fmla="*/ 1777 w 2114"/>
                <a:gd name="T51" fmla="*/ 1601 h 1601"/>
                <a:gd name="T52" fmla="*/ 2017 w 2114"/>
                <a:gd name="T53" fmla="*/ 1601 h 1601"/>
                <a:gd name="T54" fmla="*/ 2017 w 2114"/>
                <a:gd name="T55" fmla="*/ 1561 h 1601"/>
                <a:gd name="T56" fmla="*/ 1995 w 2114"/>
                <a:gd name="T57" fmla="*/ 1169 h 1601"/>
                <a:gd name="T58" fmla="*/ 1959 w 2114"/>
                <a:gd name="T59" fmla="*/ 864 h 1601"/>
                <a:gd name="T60" fmla="*/ 2017 w 2114"/>
                <a:gd name="T61" fmla="*/ 761 h 1601"/>
                <a:gd name="T62" fmla="*/ 1937 w 2114"/>
                <a:gd name="T63" fmla="*/ 648 h 1601"/>
                <a:gd name="T64" fmla="*/ 1937 w 2114"/>
                <a:gd name="T65" fmla="*/ 437 h 1601"/>
                <a:gd name="T66" fmla="*/ 1825 w 2114"/>
                <a:gd name="T67" fmla="*/ 318 h 1601"/>
                <a:gd name="T68" fmla="*/ 1170 w 2114"/>
                <a:gd name="T69" fmla="*/ 252 h 1601"/>
                <a:gd name="T70" fmla="*/ 1057 w 2114"/>
                <a:gd name="T71" fmla="*/ 201 h 1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14" h="1601">
                  <a:moveTo>
                    <a:pt x="0" y="292"/>
                  </a:moveTo>
                  <a:cubicBezTo>
                    <a:pt x="1057" y="0"/>
                    <a:pt x="1057" y="0"/>
                    <a:pt x="1057" y="0"/>
                  </a:cubicBezTo>
                  <a:cubicBezTo>
                    <a:pt x="2114" y="292"/>
                    <a:pt x="2114" y="292"/>
                    <a:pt x="2114" y="292"/>
                  </a:cubicBezTo>
                  <a:cubicBezTo>
                    <a:pt x="1057" y="643"/>
                    <a:pt x="1057" y="643"/>
                    <a:pt x="1057" y="643"/>
                  </a:cubicBezTo>
                  <a:lnTo>
                    <a:pt x="0" y="292"/>
                  </a:lnTo>
                  <a:close/>
                  <a:moveTo>
                    <a:pt x="417" y="883"/>
                  </a:moveTo>
                  <a:cubicBezTo>
                    <a:pt x="417" y="760"/>
                    <a:pt x="445" y="643"/>
                    <a:pt x="507" y="545"/>
                  </a:cubicBezTo>
                  <a:cubicBezTo>
                    <a:pt x="1057" y="727"/>
                    <a:pt x="1057" y="727"/>
                    <a:pt x="1057" y="727"/>
                  </a:cubicBezTo>
                  <a:cubicBezTo>
                    <a:pt x="1607" y="545"/>
                    <a:pt x="1607" y="545"/>
                    <a:pt x="1607" y="545"/>
                  </a:cubicBezTo>
                  <a:cubicBezTo>
                    <a:pt x="1669" y="643"/>
                    <a:pt x="1697" y="760"/>
                    <a:pt x="1697" y="883"/>
                  </a:cubicBezTo>
                  <a:cubicBezTo>
                    <a:pt x="1697" y="943"/>
                    <a:pt x="1697" y="943"/>
                    <a:pt x="1697" y="943"/>
                  </a:cubicBezTo>
                  <a:cubicBezTo>
                    <a:pt x="1572" y="1147"/>
                    <a:pt x="1277" y="1201"/>
                    <a:pt x="1057" y="1201"/>
                  </a:cubicBezTo>
                  <a:cubicBezTo>
                    <a:pt x="837" y="1201"/>
                    <a:pt x="542" y="1147"/>
                    <a:pt x="417" y="943"/>
                  </a:cubicBezTo>
                  <a:lnTo>
                    <a:pt x="417" y="883"/>
                  </a:lnTo>
                  <a:close/>
                  <a:moveTo>
                    <a:pt x="1057" y="201"/>
                  </a:moveTo>
                  <a:cubicBezTo>
                    <a:pt x="1009" y="201"/>
                    <a:pt x="937" y="223"/>
                    <a:pt x="937" y="281"/>
                  </a:cubicBezTo>
                  <a:cubicBezTo>
                    <a:pt x="937" y="339"/>
                    <a:pt x="1009" y="361"/>
                    <a:pt x="1057" y="361"/>
                  </a:cubicBezTo>
                  <a:cubicBezTo>
                    <a:pt x="1089" y="361"/>
                    <a:pt x="1128" y="353"/>
                    <a:pt x="1153" y="331"/>
                  </a:cubicBezTo>
                  <a:cubicBezTo>
                    <a:pt x="1817" y="397"/>
                    <a:pt x="1817" y="397"/>
                    <a:pt x="1817" y="397"/>
                  </a:cubicBezTo>
                  <a:cubicBezTo>
                    <a:pt x="1838" y="399"/>
                    <a:pt x="1857" y="415"/>
                    <a:pt x="1857" y="437"/>
                  </a:cubicBezTo>
                  <a:cubicBezTo>
                    <a:pt x="1857" y="648"/>
                    <a:pt x="1857" y="648"/>
                    <a:pt x="1857" y="648"/>
                  </a:cubicBezTo>
                  <a:cubicBezTo>
                    <a:pt x="1809" y="665"/>
                    <a:pt x="1777" y="710"/>
                    <a:pt x="1777" y="761"/>
                  </a:cubicBezTo>
                  <a:cubicBezTo>
                    <a:pt x="1777" y="803"/>
                    <a:pt x="1799" y="842"/>
                    <a:pt x="1835" y="863"/>
                  </a:cubicBezTo>
                  <a:cubicBezTo>
                    <a:pt x="1822" y="959"/>
                    <a:pt x="1809" y="1065"/>
                    <a:pt x="1799" y="1169"/>
                  </a:cubicBezTo>
                  <a:cubicBezTo>
                    <a:pt x="1786" y="1310"/>
                    <a:pt x="1777" y="1449"/>
                    <a:pt x="1777" y="1561"/>
                  </a:cubicBezTo>
                  <a:cubicBezTo>
                    <a:pt x="1777" y="1601"/>
                    <a:pt x="1777" y="1601"/>
                    <a:pt x="1777" y="1601"/>
                  </a:cubicBezTo>
                  <a:cubicBezTo>
                    <a:pt x="1857" y="1601"/>
                    <a:pt x="1937" y="1601"/>
                    <a:pt x="2017" y="1601"/>
                  </a:cubicBezTo>
                  <a:cubicBezTo>
                    <a:pt x="2017" y="1561"/>
                    <a:pt x="2017" y="1561"/>
                    <a:pt x="2017" y="1561"/>
                  </a:cubicBezTo>
                  <a:cubicBezTo>
                    <a:pt x="2017" y="1449"/>
                    <a:pt x="2008" y="1310"/>
                    <a:pt x="1995" y="1169"/>
                  </a:cubicBezTo>
                  <a:cubicBezTo>
                    <a:pt x="1985" y="1065"/>
                    <a:pt x="1973" y="960"/>
                    <a:pt x="1959" y="864"/>
                  </a:cubicBezTo>
                  <a:cubicBezTo>
                    <a:pt x="1995" y="842"/>
                    <a:pt x="2017" y="803"/>
                    <a:pt x="2017" y="761"/>
                  </a:cubicBezTo>
                  <a:cubicBezTo>
                    <a:pt x="2017" y="710"/>
                    <a:pt x="1985" y="665"/>
                    <a:pt x="1937" y="648"/>
                  </a:cubicBezTo>
                  <a:cubicBezTo>
                    <a:pt x="1937" y="437"/>
                    <a:pt x="1937" y="437"/>
                    <a:pt x="1937" y="437"/>
                  </a:cubicBezTo>
                  <a:cubicBezTo>
                    <a:pt x="1937" y="373"/>
                    <a:pt x="1887" y="324"/>
                    <a:pt x="1825" y="318"/>
                  </a:cubicBezTo>
                  <a:cubicBezTo>
                    <a:pt x="1170" y="252"/>
                    <a:pt x="1170" y="252"/>
                    <a:pt x="1170" y="252"/>
                  </a:cubicBezTo>
                  <a:cubicBezTo>
                    <a:pt x="1150" y="214"/>
                    <a:pt x="1097" y="201"/>
                    <a:pt x="1057" y="20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" name="Rectángulo 1">
              <a:extLst>
                <a:ext uri="{FF2B5EF4-FFF2-40B4-BE49-F238E27FC236}">
                  <a16:creationId xmlns:a16="http://schemas.microsoft.com/office/drawing/2014/main" xmlns="" id="{A121D8CD-F5A0-4CD9-BC82-961B43722C08}"/>
                </a:ext>
              </a:extLst>
            </p:cNvPr>
            <p:cNvSpPr/>
            <p:nvPr/>
          </p:nvSpPr>
          <p:spPr bwMode="gray">
            <a:xfrm>
              <a:off x="936593" y="4856484"/>
              <a:ext cx="1025658" cy="674648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8" name="Imagen 7">
              <a:extLst>
                <a:ext uri="{FF2B5EF4-FFF2-40B4-BE49-F238E27FC236}">
                  <a16:creationId xmlns:a16="http://schemas.microsoft.com/office/drawing/2014/main" xmlns="" id="{09B2F57B-BC5C-45DC-B598-F92BDFF54E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14499" y="5656971"/>
              <a:ext cx="1314450" cy="542925"/>
            </a:xfrm>
            <a:prstGeom prst="rect">
              <a:avLst/>
            </a:prstGeom>
          </p:spPr>
        </p:pic>
        <p:sp>
          <p:nvSpPr>
            <p:cNvPr id="9" name="CuadroTexto 8">
              <a:extLst>
                <a:ext uri="{FF2B5EF4-FFF2-40B4-BE49-F238E27FC236}">
                  <a16:creationId xmlns:a16="http://schemas.microsoft.com/office/drawing/2014/main" xmlns="" id="{1CB77AF0-4494-41F7-8BBC-31990E8FA69D}"/>
                </a:ext>
              </a:extLst>
            </p:cNvPr>
            <p:cNvSpPr txBox="1"/>
            <p:nvPr/>
          </p:nvSpPr>
          <p:spPr bwMode="gray">
            <a:xfrm>
              <a:off x="1304693" y="4552229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4%</a:t>
              </a:r>
            </a:p>
          </p:txBody>
        </p:sp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xmlns="" id="{B0E2D497-CB84-4DD2-98AC-C029889F2B0A}"/>
              </a:ext>
            </a:extLst>
          </p:cNvPr>
          <p:cNvGrpSpPr/>
          <p:nvPr/>
        </p:nvGrpSpPr>
        <p:grpSpPr>
          <a:xfrm>
            <a:off x="2374342" y="3537474"/>
            <a:ext cx="1790700" cy="2580782"/>
            <a:chOff x="2374342" y="3537474"/>
            <a:chExt cx="1790700" cy="2580782"/>
          </a:xfrm>
        </p:grpSpPr>
        <p:sp>
          <p:nvSpPr>
            <p:cNvPr id="32" name="Freeform 26"/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2789050" y="3537474"/>
              <a:ext cx="961285" cy="924309"/>
            </a:xfrm>
            <a:custGeom>
              <a:avLst/>
              <a:gdLst>
                <a:gd name="T0" fmla="*/ 1797 w 2080"/>
                <a:gd name="T1" fmla="*/ 1346 h 2000"/>
                <a:gd name="T2" fmla="*/ 1741 w 2080"/>
                <a:gd name="T3" fmla="*/ 1283 h 2000"/>
                <a:gd name="T4" fmla="*/ 1900 w 2080"/>
                <a:gd name="T5" fmla="*/ 601 h 2000"/>
                <a:gd name="T6" fmla="*/ 958 w 2080"/>
                <a:gd name="T7" fmla="*/ 402 h 2000"/>
                <a:gd name="T8" fmla="*/ 1147 w 2080"/>
                <a:gd name="T9" fmla="*/ 120 h 2000"/>
                <a:gd name="T10" fmla="*/ 894 w 2080"/>
                <a:gd name="T11" fmla="*/ 793 h 2000"/>
                <a:gd name="T12" fmla="*/ 1059 w 2080"/>
                <a:gd name="T13" fmla="*/ 1276 h 2000"/>
                <a:gd name="T14" fmla="*/ 1003 w 2080"/>
                <a:gd name="T15" fmla="*/ 1346 h 2000"/>
                <a:gd name="T16" fmla="*/ 0 w 2080"/>
                <a:gd name="T17" fmla="*/ 1520 h 2000"/>
                <a:gd name="T18" fmla="*/ 1690 w 2080"/>
                <a:gd name="T19" fmla="*/ 1389 h 2000"/>
                <a:gd name="T20" fmla="*/ 2080 w 2080"/>
                <a:gd name="T21" fmla="*/ 1793 h 2000"/>
                <a:gd name="T22" fmla="*/ 720 w 2080"/>
                <a:gd name="T23" fmla="*/ 1793 h 2000"/>
                <a:gd name="T24" fmla="*/ 1026 w 2080"/>
                <a:gd name="T25" fmla="*/ 1422 h 2000"/>
                <a:gd name="T26" fmla="*/ 1137 w 2080"/>
                <a:gd name="T27" fmla="*/ 1360 h 2000"/>
                <a:gd name="T28" fmla="*/ 1058 w 2080"/>
                <a:gd name="T29" fmla="*/ 1054 h 2000"/>
                <a:gd name="T30" fmla="*/ 1094 w 2080"/>
                <a:gd name="T31" fmla="*/ 902 h 2000"/>
                <a:gd name="T32" fmla="*/ 1390 w 2080"/>
                <a:gd name="T33" fmla="*/ 832 h 2000"/>
                <a:gd name="T34" fmla="*/ 1635 w 2080"/>
                <a:gd name="T35" fmla="*/ 960 h 2000"/>
                <a:gd name="T36" fmla="*/ 1812 w 2080"/>
                <a:gd name="T37" fmla="*/ 860 h 2000"/>
                <a:gd name="T38" fmla="*/ 1661 w 2080"/>
                <a:gd name="T39" fmla="*/ 1276 h 2000"/>
                <a:gd name="T40" fmla="*/ 1631 w 2080"/>
                <a:gd name="T41" fmla="*/ 1658 h 2000"/>
                <a:gd name="T42" fmla="*/ 1976 w 2080"/>
                <a:gd name="T43" fmla="*/ 1667 h 2000"/>
                <a:gd name="T44" fmla="*/ 1482 w 2080"/>
                <a:gd name="T45" fmla="*/ 1739 h 2000"/>
                <a:gd name="T46" fmla="*/ 1432 w 2080"/>
                <a:gd name="T47" fmla="*/ 1576 h 2000"/>
                <a:gd name="T48" fmla="*/ 1388 w 2080"/>
                <a:gd name="T49" fmla="*/ 752 h 2000"/>
                <a:gd name="T50" fmla="*/ 1714 w 2080"/>
                <a:gd name="T51" fmla="*/ 752 h 2000"/>
                <a:gd name="T52" fmla="*/ 1190 w 2080"/>
                <a:gd name="T53" fmla="*/ 386 h 2000"/>
                <a:gd name="T54" fmla="*/ 1145 w 2080"/>
                <a:gd name="T55" fmla="*/ 720 h 2000"/>
                <a:gd name="T56" fmla="*/ 1284 w 2080"/>
                <a:gd name="T57" fmla="*/ 880 h 2000"/>
                <a:gd name="T58" fmla="*/ 1515 w 2080"/>
                <a:gd name="T59" fmla="*/ 880 h 2000"/>
                <a:gd name="T60" fmla="*/ 1204 w 2080"/>
                <a:gd name="T61" fmla="*/ 1427 h 2000"/>
                <a:gd name="T62" fmla="*/ 1210 w 2080"/>
                <a:gd name="T63" fmla="*/ 1424 h 2000"/>
                <a:gd name="T64" fmla="*/ 889 w 2080"/>
                <a:gd name="T65" fmla="*/ 1568 h 2000"/>
                <a:gd name="T66" fmla="*/ 1294 w 2080"/>
                <a:gd name="T67" fmla="*/ 1917 h 2000"/>
                <a:gd name="T68" fmla="*/ 1368 w 2080"/>
                <a:gd name="T69" fmla="*/ 1576 h 2000"/>
                <a:gd name="T70" fmla="*/ 1318 w 2080"/>
                <a:gd name="T71" fmla="*/ 1738 h 2000"/>
                <a:gd name="T72" fmla="*/ 1496 w 2080"/>
                <a:gd name="T73" fmla="*/ 1467 h 2000"/>
                <a:gd name="T74" fmla="*/ 0 w 2080"/>
                <a:gd name="T75" fmla="*/ 1680 h 2000"/>
                <a:gd name="T76" fmla="*/ 489 w 2080"/>
                <a:gd name="T77" fmla="*/ 274 h 2000"/>
                <a:gd name="T78" fmla="*/ 682 w 2080"/>
                <a:gd name="T79" fmla="*/ 715 h 2000"/>
                <a:gd name="T80" fmla="*/ 769 w 2080"/>
                <a:gd name="T81" fmla="*/ 411 h 2000"/>
                <a:gd name="T82" fmla="*/ 574 w 2080"/>
                <a:gd name="T83" fmla="*/ 243 h 2000"/>
                <a:gd name="T84" fmla="*/ 680 w 2080"/>
                <a:gd name="T85" fmla="*/ 395 h 2000"/>
                <a:gd name="T86" fmla="*/ 553 w 2080"/>
                <a:gd name="T87" fmla="*/ 334 h 2000"/>
                <a:gd name="T88" fmla="*/ 660 w 2080"/>
                <a:gd name="T89" fmla="*/ 638 h 2000"/>
                <a:gd name="T90" fmla="*/ 256 w 2080"/>
                <a:gd name="T91" fmla="*/ 786 h 2000"/>
                <a:gd name="T92" fmla="*/ 538 w 2080"/>
                <a:gd name="T93" fmla="*/ 711 h 2000"/>
                <a:gd name="T94" fmla="*/ 261 w 2080"/>
                <a:gd name="T95" fmla="*/ 393 h 2000"/>
                <a:gd name="T96" fmla="*/ 176 w 2080"/>
                <a:gd name="T97" fmla="*/ 783 h 2000"/>
                <a:gd name="T98" fmla="*/ 338 w 2080"/>
                <a:gd name="T99" fmla="*/ 634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80" h="2000">
                  <a:moveTo>
                    <a:pt x="2080" y="0"/>
                  </a:moveTo>
                  <a:cubicBezTo>
                    <a:pt x="2080" y="1524"/>
                    <a:pt x="2080" y="1524"/>
                    <a:pt x="2080" y="1524"/>
                  </a:cubicBezTo>
                  <a:cubicBezTo>
                    <a:pt x="2063" y="1499"/>
                    <a:pt x="2044" y="1475"/>
                    <a:pt x="2022" y="1454"/>
                  </a:cubicBezTo>
                  <a:cubicBezTo>
                    <a:pt x="1968" y="1401"/>
                    <a:pt x="1873" y="1368"/>
                    <a:pt x="1797" y="1346"/>
                  </a:cubicBezTo>
                  <a:cubicBezTo>
                    <a:pt x="1770" y="1338"/>
                    <a:pt x="1746" y="1330"/>
                    <a:pt x="1719" y="1314"/>
                  </a:cubicBezTo>
                  <a:cubicBezTo>
                    <a:pt x="1716" y="1312"/>
                    <a:pt x="1711" y="1310"/>
                    <a:pt x="1710" y="1307"/>
                  </a:cubicBezTo>
                  <a:cubicBezTo>
                    <a:pt x="1712" y="1305"/>
                    <a:pt x="1714" y="1303"/>
                    <a:pt x="1716" y="1300"/>
                  </a:cubicBezTo>
                  <a:cubicBezTo>
                    <a:pt x="1725" y="1297"/>
                    <a:pt x="1740" y="1294"/>
                    <a:pt x="1741" y="1283"/>
                  </a:cubicBezTo>
                  <a:cubicBezTo>
                    <a:pt x="1742" y="1278"/>
                    <a:pt x="1742" y="1273"/>
                    <a:pt x="1742" y="1269"/>
                  </a:cubicBezTo>
                  <a:cubicBezTo>
                    <a:pt x="1780" y="1216"/>
                    <a:pt x="1798" y="1157"/>
                    <a:pt x="1813" y="1100"/>
                  </a:cubicBezTo>
                  <a:cubicBezTo>
                    <a:pt x="1880" y="1041"/>
                    <a:pt x="1907" y="949"/>
                    <a:pt x="1894" y="862"/>
                  </a:cubicBezTo>
                  <a:cubicBezTo>
                    <a:pt x="1915" y="764"/>
                    <a:pt x="1916" y="678"/>
                    <a:pt x="1900" y="601"/>
                  </a:cubicBezTo>
                  <a:cubicBezTo>
                    <a:pt x="1852" y="378"/>
                    <a:pt x="1673" y="256"/>
                    <a:pt x="1452" y="242"/>
                  </a:cubicBezTo>
                  <a:cubicBezTo>
                    <a:pt x="1342" y="234"/>
                    <a:pt x="1231" y="257"/>
                    <a:pt x="1155" y="312"/>
                  </a:cubicBezTo>
                  <a:cubicBezTo>
                    <a:pt x="1077" y="330"/>
                    <a:pt x="1008" y="368"/>
                    <a:pt x="960" y="433"/>
                  </a:cubicBezTo>
                  <a:cubicBezTo>
                    <a:pt x="958" y="423"/>
                    <a:pt x="957" y="412"/>
                    <a:pt x="958" y="402"/>
                  </a:cubicBezTo>
                  <a:cubicBezTo>
                    <a:pt x="961" y="330"/>
                    <a:pt x="982" y="281"/>
                    <a:pt x="1013" y="249"/>
                  </a:cubicBezTo>
                  <a:cubicBezTo>
                    <a:pt x="1048" y="212"/>
                    <a:pt x="1096" y="198"/>
                    <a:pt x="1143" y="200"/>
                  </a:cubicBezTo>
                  <a:cubicBezTo>
                    <a:pt x="1165" y="201"/>
                    <a:pt x="1184" y="184"/>
                    <a:pt x="1185" y="162"/>
                  </a:cubicBezTo>
                  <a:cubicBezTo>
                    <a:pt x="1186" y="140"/>
                    <a:pt x="1169" y="122"/>
                    <a:pt x="1147" y="120"/>
                  </a:cubicBezTo>
                  <a:cubicBezTo>
                    <a:pt x="1078" y="117"/>
                    <a:pt x="1008" y="139"/>
                    <a:pt x="955" y="194"/>
                  </a:cubicBezTo>
                  <a:cubicBezTo>
                    <a:pt x="912" y="239"/>
                    <a:pt x="883" y="305"/>
                    <a:pt x="878" y="398"/>
                  </a:cubicBezTo>
                  <a:cubicBezTo>
                    <a:pt x="876" y="441"/>
                    <a:pt x="888" y="485"/>
                    <a:pt x="913" y="520"/>
                  </a:cubicBezTo>
                  <a:cubicBezTo>
                    <a:pt x="882" y="604"/>
                    <a:pt x="880" y="700"/>
                    <a:pt x="894" y="793"/>
                  </a:cubicBezTo>
                  <a:cubicBezTo>
                    <a:pt x="897" y="816"/>
                    <a:pt x="901" y="839"/>
                    <a:pt x="906" y="862"/>
                  </a:cubicBezTo>
                  <a:cubicBezTo>
                    <a:pt x="893" y="949"/>
                    <a:pt x="921" y="1041"/>
                    <a:pt x="987" y="1100"/>
                  </a:cubicBezTo>
                  <a:cubicBezTo>
                    <a:pt x="1002" y="1158"/>
                    <a:pt x="1020" y="1217"/>
                    <a:pt x="1058" y="1269"/>
                  </a:cubicBezTo>
                  <a:cubicBezTo>
                    <a:pt x="1059" y="1276"/>
                    <a:pt x="1059" y="1276"/>
                    <a:pt x="1059" y="1276"/>
                  </a:cubicBezTo>
                  <a:cubicBezTo>
                    <a:pt x="1060" y="1287"/>
                    <a:pt x="1072" y="1293"/>
                    <a:pt x="1081" y="1298"/>
                  </a:cubicBezTo>
                  <a:cubicBezTo>
                    <a:pt x="1084" y="1300"/>
                    <a:pt x="1087" y="1304"/>
                    <a:pt x="1090" y="1307"/>
                  </a:cubicBezTo>
                  <a:cubicBezTo>
                    <a:pt x="1088" y="1310"/>
                    <a:pt x="1081" y="1314"/>
                    <a:pt x="1078" y="1316"/>
                  </a:cubicBezTo>
                  <a:cubicBezTo>
                    <a:pt x="1052" y="1331"/>
                    <a:pt x="1029" y="1338"/>
                    <a:pt x="1003" y="1346"/>
                  </a:cubicBezTo>
                  <a:cubicBezTo>
                    <a:pt x="989" y="1350"/>
                    <a:pt x="974" y="1354"/>
                    <a:pt x="958" y="1360"/>
                  </a:cubicBezTo>
                  <a:cubicBezTo>
                    <a:pt x="240" y="1360"/>
                    <a:pt x="240" y="1360"/>
                    <a:pt x="240" y="1360"/>
                  </a:cubicBezTo>
                  <a:cubicBezTo>
                    <a:pt x="240" y="1520"/>
                    <a:pt x="240" y="1520"/>
                    <a:pt x="240" y="1520"/>
                  </a:cubicBezTo>
                  <a:cubicBezTo>
                    <a:pt x="160" y="1520"/>
                    <a:pt x="80" y="1520"/>
                    <a:pt x="0" y="152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080" y="0"/>
                  </a:lnTo>
                  <a:close/>
                  <a:moveTo>
                    <a:pt x="1668" y="1377"/>
                  </a:moveTo>
                  <a:cubicBezTo>
                    <a:pt x="1677" y="1378"/>
                    <a:pt x="1684" y="1383"/>
                    <a:pt x="1690" y="1389"/>
                  </a:cubicBezTo>
                  <a:cubicBezTo>
                    <a:pt x="1720" y="1406"/>
                    <a:pt x="1746" y="1414"/>
                    <a:pt x="1774" y="1422"/>
                  </a:cubicBezTo>
                  <a:cubicBezTo>
                    <a:pt x="1836" y="1441"/>
                    <a:pt x="1924" y="1470"/>
                    <a:pt x="1967" y="1511"/>
                  </a:cubicBezTo>
                  <a:cubicBezTo>
                    <a:pt x="2003" y="1546"/>
                    <a:pt x="2031" y="1590"/>
                    <a:pt x="2050" y="1638"/>
                  </a:cubicBezTo>
                  <a:cubicBezTo>
                    <a:pt x="2070" y="1688"/>
                    <a:pt x="2080" y="1742"/>
                    <a:pt x="2080" y="1793"/>
                  </a:cubicBezTo>
                  <a:cubicBezTo>
                    <a:pt x="2080" y="1870"/>
                    <a:pt x="1996" y="1918"/>
                    <a:pt x="1880" y="1948"/>
                  </a:cubicBezTo>
                  <a:cubicBezTo>
                    <a:pt x="1731" y="1987"/>
                    <a:pt x="1522" y="2000"/>
                    <a:pt x="1400" y="2000"/>
                  </a:cubicBezTo>
                  <a:cubicBezTo>
                    <a:pt x="1278" y="2000"/>
                    <a:pt x="1069" y="1987"/>
                    <a:pt x="920" y="1948"/>
                  </a:cubicBezTo>
                  <a:cubicBezTo>
                    <a:pt x="804" y="1918"/>
                    <a:pt x="720" y="1870"/>
                    <a:pt x="720" y="1793"/>
                  </a:cubicBezTo>
                  <a:cubicBezTo>
                    <a:pt x="720" y="1742"/>
                    <a:pt x="730" y="1688"/>
                    <a:pt x="750" y="1638"/>
                  </a:cubicBezTo>
                  <a:cubicBezTo>
                    <a:pt x="769" y="1590"/>
                    <a:pt x="797" y="1546"/>
                    <a:pt x="833" y="1511"/>
                  </a:cubicBezTo>
                  <a:cubicBezTo>
                    <a:pt x="868" y="1478"/>
                    <a:pt x="919" y="1459"/>
                    <a:pt x="960" y="1444"/>
                  </a:cubicBezTo>
                  <a:cubicBezTo>
                    <a:pt x="982" y="1436"/>
                    <a:pt x="1003" y="1429"/>
                    <a:pt x="1026" y="1422"/>
                  </a:cubicBezTo>
                  <a:cubicBezTo>
                    <a:pt x="1055" y="1414"/>
                    <a:pt x="1080" y="1406"/>
                    <a:pt x="1111" y="1389"/>
                  </a:cubicBezTo>
                  <a:cubicBezTo>
                    <a:pt x="1116" y="1383"/>
                    <a:pt x="1123" y="1379"/>
                    <a:pt x="1131" y="1377"/>
                  </a:cubicBezTo>
                  <a:cubicBezTo>
                    <a:pt x="1136" y="1374"/>
                    <a:pt x="1136" y="1374"/>
                    <a:pt x="1136" y="1374"/>
                  </a:cubicBezTo>
                  <a:cubicBezTo>
                    <a:pt x="1136" y="1370"/>
                    <a:pt x="1136" y="1365"/>
                    <a:pt x="1137" y="1360"/>
                  </a:cubicBezTo>
                  <a:cubicBezTo>
                    <a:pt x="1143" y="1338"/>
                    <a:pt x="1140" y="1289"/>
                    <a:pt x="1138" y="1270"/>
                  </a:cubicBezTo>
                  <a:cubicBezTo>
                    <a:pt x="1138" y="1259"/>
                    <a:pt x="1137" y="1249"/>
                    <a:pt x="1136" y="1240"/>
                  </a:cubicBezTo>
                  <a:cubicBezTo>
                    <a:pt x="1093" y="1189"/>
                    <a:pt x="1076" y="1123"/>
                    <a:pt x="1059" y="1060"/>
                  </a:cubicBezTo>
                  <a:cubicBezTo>
                    <a:pt x="1058" y="1054"/>
                    <a:pt x="1058" y="1054"/>
                    <a:pt x="1058" y="1054"/>
                  </a:cubicBezTo>
                  <a:cubicBezTo>
                    <a:pt x="995" y="1013"/>
                    <a:pt x="971" y="931"/>
                    <a:pt x="988" y="860"/>
                  </a:cubicBezTo>
                  <a:cubicBezTo>
                    <a:pt x="985" y="851"/>
                    <a:pt x="983" y="842"/>
                    <a:pt x="981" y="832"/>
                  </a:cubicBezTo>
                  <a:cubicBezTo>
                    <a:pt x="1080" y="832"/>
                    <a:pt x="1080" y="832"/>
                    <a:pt x="1080" y="832"/>
                  </a:cubicBezTo>
                  <a:cubicBezTo>
                    <a:pt x="1094" y="902"/>
                    <a:pt x="1094" y="902"/>
                    <a:pt x="1094" y="902"/>
                  </a:cubicBezTo>
                  <a:cubicBezTo>
                    <a:pt x="1100" y="936"/>
                    <a:pt x="1130" y="960"/>
                    <a:pt x="1164" y="960"/>
                  </a:cubicBezTo>
                  <a:cubicBezTo>
                    <a:pt x="1290" y="960"/>
                    <a:pt x="1290" y="960"/>
                    <a:pt x="1290" y="960"/>
                  </a:cubicBezTo>
                  <a:cubicBezTo>
                    <a:pt x="1320" y="960"/>
                    <a:pt x="1346" y="942"/>
                    <a:pt x="1357" y="914"/>
                  </a:cubicBezTo>
                  <a:cubicBezTo>
                    <a:pt x="1390" y="832"/>
                    <a:pt x="1390" y="832"/>
                    <a:pt x="1390" y="832"/>
                  </a:cubicBezTo>
                  <a:cubicBezTo>
                    <a:pt x="1410" y="832"/>
                    <a:pt x="1410" y="832"/>
                    <a:pt x="1410" y="832"/>
                  </a:cubicBezTo>
                  <a:cubicBezTo>
                    <a:pt x="1443" y="914"/>
                    <a:pt x="1443" y="914"/>
                    <a:pt x="1443" y="914"/>
                  </a:cubicBezTo>
                  <a:cubicBezTo>
                    <a:pt x="1454" y="942"/>
                    <a:pt x="1480" y="960"/>
                    <a:pt x="1509" y="960"/>
                  </a:cubicBezTo>
                  <a:cubicBezTo>
                    <a:pt x="1635" y="960"/>
                    <a:pt x="1635" y="960"/>
                    <a:pt x="1635" y="960"/>
                  </a:cubicBezTo>
                  <a:cubicBezTo>
                    <a:pt x="1670" y="960"/>
                    <a:pt x="1699" y="935"/>
                    <a:pt x="1705" y="902"/>
                  </a:cubicBezTo>
                  <a:cubicBezTo>
                    <a:pt x="1719" y="832"/>
                    <a:pt x="1719" y="832"/>
                    <a:pt x="1719" y="832"/>
                  </a:cubicBezTo>
                  <a:cubicBezTo>
                    <a:pt x="1819" y="832"/>
                    <a:pt x="1819" y="832"/>
                    <a:pt x="1819" y="832"/>
                  </a:cubicBezTo>
                  <a:cubicBezTo>
                    <a:pt x="1817" y="841"/>
                    <a:pt x="1815" y="851"/>
                    <a:pt x="1812" y="860"/>
                  </a:cubicBezTo>
                  <a:cubicBezTo>
                    <a:pt x="1829" y="931"/>
                    <a:pt x="1805" y="1012"/>
                    <a:pt x="1742" y="1054"/>
                  </a:cubicBezTo>
                  <a:cubicBezTo>
                    <a:pt x="1740" y="1063"/>
                    <a:pt x="1740" y="1063"/>
                    <a:pt x="1740" y="1063"/>
                  </a:cubicBezTo>
                  <a:cubicBezTo>
                    <a:pt x="1724" y="1124"/>
                    <a:pt x="1708" y="1189"/>
                    <a:pt x="1664" y="1239"/>
                  </a:cubicBezTo>
                  <a:cubicBezTo>
                    <a:pt x="1663" y="1252"/>
                    <a:pt x="1662" y="1264"/>
                    <a:pt x="1661" y="1276"/>
                  </a:cubicBezTo>
                  <a:cubicBezTo>
                    <a:pt x="1658" y="1319"/>
                    <a:pt x="1663" y="1339"/>
                    <a:pt x="1666" y="1375"/>
                  </a:cubicBezTo>
                  <a:lnTo>
                    <a:pt x="1668" y="1377"/>
                  </a:lnTo>
                  <a:close/>
                  <a:moveTo>
                    <a:pt x="1721" y="1490"/>
                  </a:moveTo>
                  <a:cubicBezTo>
                    <a:pt x="1714" y="1543"/>
                    <a:pt x="1675" y="1596"/>
                    <a:pt x="1631" y="1658"/>
                  </a:cubicBezTo>
                  <a:cubicBezTo>
                    <a:pt x="1578" y="1730"/>
                    <a:pt x="1517" y="1815"/>
                    <a:pt x="1507" y="1917"/>
                  </a:cubicBezTo>
                  <a:cubicBezTo>
                    <a:pt x="1619" y="1912"/>
                    <a:pt x="1756" y="1898"/>
                    <a:pt x="1860" y="1871"/>
                  </a:cubicBezTo>
                  <a:cubicBezTo>
                    <a:pt x="1941" y="1850"/>
                    <a:pt x="2000" y="1824"/>
                    <a:pt x="2000" y="1793"/>
                  </a:cubicBezTo>
                  <a:cubicBezTo>
                    <a:pt x="2000" y="1751"/>
                    <a:pt x="1992" y="1708"/>
                    <a:pt x="1976" y="1667"/>
                  </a:cubicBezTo>
                  <a:cubicBezTo>
                    <a:pt x="1961" y="1630"/>
                    <a:pt x="1939" y="1596"/>
                    <a:pt x="1911" y="1568"/>
                  </a:cubicBezTo>
                  <a:cubicBezTo>
                    <a:pt x="1882" y="1540"/>
                    <a:pt x="1797" y="1513"/>
                    <a:pt x="1752" y="1499"/>
                  </a:cubicBezTo>
                  <a:cubicBezTo>
                    <a:pt x="1741" y="1496"/>
                    <a:pt x="1731" y="1493"/>
                    <a:pt x="1721" y="1490"/>
                  </a:cubicBezTo>
                  <a:close/>
                  <a:moveTo>
                    <a:pt x="1482" y="1739"/>
                  </a:moveTo>
                  <a:cubicBezTo>
                    <a:pt x="1524" y="1662"/>
                    <a:pt x="1597" y="1585"/>
                    <a:pt x="1629" y="1512"/>
                  </a:cubicBezTo>
                  <a:cubicBezTo>
                    <a:pt x="1527" y="1640"/>
                    <a:pt x="1527" y="1640"/>
                    <a:pt x="1527" y="1640"/>
                  </a:cubicBezTo>
                  <a:cubicBezTo>
                    <a:pt x="1459" y="1550"/>
                    <a:pt x="1459" y="1550"/>
                    <a:pt x="1459" y="1550"/>
                  </a:cubicBezTo>
                  <a:cubicBezTo>
                    <a:pt x="1449" y="1560"/>
                    <a:pt x="1438" y="1569"/>
                    <a:pt x="1432" y="1576"/>
                  </a:cubicBezTo>
                  <a:cubicBezTo>
                    <a:pt x="1458" y="1627"/>
                    <a:pt x="1473" y="1683"/>
                    <a:pt x="1482" y="1739"/>
                  </a:cubicBezTo>
                  <a:close/>
                  <a:moveTo>
                    <a:pt x="1145" y="720"/>
                  </a:moveTo>
                  <a:cubicBezTo>
                    <a:pt x="1328" y="720"/>
                    <a:pt x="1328" y="720"/>
                    <a:pt x="1328" y="720"/>
                  </a:cubicBezTo>
                  <a:cubicBezTo>
                    <a:pt x="1352" y="720"/>
                    <a:pt x="1374" y="732"/>
                    <a:pt x="1388" y="752"/>
                  </a:cubicBezTo>
                  <a:cubicBezTo>
                    <a:pt x="1412" y="752"/>
                    <a:pt x="1412" y="752"/>
                    <a:pt x="1412" y="752"/>
                  </a:cubicBezTo>
                  <a:cubicBezTo>
                    <a:pt x="1426" y="732"/>
                    <a:pt x="1448" y="720"/>
                    <a:pt x="1472" y="720"/>
                  </a:cubicBezTo>
                  <a:cubicBezTo>
                    <a:pt x="1654" y="720"/>
                    <a:pt x="1654" y="720"/>
                    <a:pt x="1654" y="720"/>
                  </a:cubicBezTo>
                  <a:cubicBezTo>
                    <a:pt x="1678" y="720"/>
                    <a:pt x="1700" y="732"/>
                    <a:pt x="1714" y="752"/>
                  </a:cubicBezTo>
                  <a:cubicBezTo>
                    <a:pt x="1830" y="752"/>
                    <a:pt x="1830" y="752"/>
                    <a:pt x="1830" y="752"/>
                  </a:cubicBezTo>
                  <a:cubicBezTo>
                    <a:pt x="1833" y="703"/>
                    <a:pt x="1830" y="659"/>
                    <a:pt x="1822" y="618"/>
                  </a:cubicBezTo>
                  <a:cubicBezTo>
                    <a:pt x="1781" y="430"/>
                    <a:pt x="1631" y="334"/>
                    <a:pt x="1446" y="321"/>
                  </a:cubicBezTo>
                  <a:cubicBezTo>
                    <a:pt x="1347" y="315"/>
                    <a:pt x="1248" y="336"/>
                    <a:pt x="1190" y="386"/>
                  </a:cubicBezTo>
                  <a:cubicBezTo>
                    <a:pt x="1094" y="403"/>
                    <a:pt x="1023" y="454"/>
                    <a:pt x="988" y="547"/>
                  </a:cubicBezTo>
                  <a:cubicBezTo>
                    <a:pt x="965" y="608"/>
                    <a:pt x="962" y="680"/>
                    <a:pt x="969" y="752"/>
                  </a:cubicBezTo>
                  <a:cubicBezTo>
                    <a:pt x="1085" y="752"/>
                    <a:pt x="1085" y="752"/>
                    <a:pt x="1085" y="752"/>
                  </a:cubicBezTo>
                  <a:cubicBezTo>
                    <a:pt x="1099" y="732"/>
                    <a:pt x="1121" y="720"/>
                    <a:pt x="1145" y="720"/>
                  </a:cubicBezTo>
                  <a:close/>
                  <a:moveTo>
                    <a:pt x="1316" y="800"/>
                  </a:moveTo>
                  <a:cubicBezTo>
                    <a:pt x="1155" y="800"/>
                    <a:pt x="1155" y="800"/>
                    <a:pt x="1155" y="800"/>
                  </a:cubicBezTo>
                  <a:cubicBezTo>
                    <a:pt x="1171" y="880"/>
                    <a:pt x="1171" y="880"/>
                    <a:pt x="1171" y="880"/>
                  </a:cubicBezTo>
                  <a:cubicBezTo>
                    <a:pt x="1284" y="880"/>
                    <a:pt x="1284" y="880"/>
                    <a:pt x="1284" y="880"/>
                  </a:cubicBezTo>
                  <a:lnTo>
                    <a:pt x="1316" y="800"/>
                  </a:lnTo>
                  <a:close/>
                  <a:moveTo>
                    <a:pt x="1644" y="800"/>
                  </a:moveTo>
                  <a:cubicBezTo>
                    <a:pt x="1484" y="800"/>
                    <a:pt x="1484" y="800"/>
                    <a:pt x="1484" y="800"/>
                  </a:cubicBezTo>
                  <a:cubicBezTo>
                    <a:pt x="1515" y="880"/>
                    <a:pt x="1515" y="880"/>
                    <a:pt x="1515" y="880"/>
                  </a:cubicBezTo>
                  <a:cubicBezTo>
                    <a:pt x="1628" y="880"/>
                    <a:pt x="1628" y="880"/>
                    <a:pt x="1628" y="880"/>
                  </a:cubicBezTo>
                  <a:lnTo>
                    <a:pt x="1644" y="800"/>
                  </a:lnTo>
                  <a:close/>
                  <a:moveTo>
                    <a:pt x="1210" y="1424"/>
                  </a:moveTo>
                  <a:cubicBezTo>
                    <a:pt x="1204" y="1427"/>
                    <a:pt x="1204" y="1427"/>
                    <a:pt x="1204" y="1427"/>
                  </a:cubicBezTo>
                  <a:cubicBezTo>
                    <a:pt x="1271" y="1510"/>
                    <a:pt x="1271" y="1510"/>
                    <a:pt x="1271" y="1510"/>
                  </a:cubicBezTo>
                  <a:cubicBezTo>
                    <a:pt x="1304" y="1467"/>
                    <a:pt x="1304" y="1467"/>
                    <a:pt x="1304" y="1467"/>
                  </a:cubicBezTo>
                  <a:cubicBezTo>
                    <a:pt x="1292" y="1464"/>
                    <a:pt x="1280" y="1460"/>
                    <a:pt x="1268" y="1455"/>
                  </a:cubicBezTo>
                  <a:cubicBezTo>
                    <a:pt x="1247" y="1447"/>
                    <a:pt x="1228" y="1436"/>
                    <a:pt x="1210" y="1424"/>
                  </a:cubicBezTo>
                  <a:close/>
                  <a:moveTo>
                    <a:pt x="1080" y="1489"/>
                  </a:moveTo>
                  <a:cubicBezTo>
                    <a:pt x="1069" y="1493"/>
                    <a:pt x="1059" y="1496"/>
                    <a:pt x="1048" y="1499"/>
                  </a:cubicBezTo>
                  <a:cubicBezTo>
                    <a:pt x="1028" y="1505"/>
                    <a:pt x="1007" y="1512"/>
                    <a:pt x="987" y="1519"/>
                  </a:cubicBezTo>
                  <a:cubicBezTo>
                    <a:pt x="953" y="1532"/>
                    <a:pt x="911" y="1547"/>
                    <a:pt x="889" y="1568"/>
                  </a:cubicBezTo>
                  <a:cubicBezTo>
                    <a:pt x="861" y="1596"/>
                    <a:pt x="839" y="1630"/>
                    <a:pt x="824" y="1667"/>
                  </a:cubicBezTo>
                  <a:cubicBezTo>
                    <a:pt x="808" y="1708"/>
                    <a:pt x="800" y="1751"/>
                    <a:pt x="800" y="1793"/>
                  </a:cubicBezTo>
                  <a:cubicBezTo>
                    <a:pt x="800" y="1824"/>
                    <a:pt x="859" y="1850"/>
                    <a:pt x="940" y="1871"/>
                  </a:cubicBezTo>
                  <a:cubicBezTo>
                    <a:pt x="1044" y="1898"/>
                    <a:pt x="1182" y="1912"/>
                    <a:pt x="1294" y="1917"/>
                  </a:cubicBezTo>
                  <a:cubicBezTo>
                    <a:pt x="1284" y="1815"/>
                    <a:pt x="1222" y="1730"/>
                    <a:pt x="1170" y="1658"/>
                  </a:cubicBezTo>
                  <a:cubicBezTo>
                    <a:pt x="1126" y="1596"/>
                    <a:pt x="1086" y="1542"/>
                    <a:pt x="1080" y="1489"/>
                  </a:cubicBezTo>
                  <a:close/>
                  <a:moveTo>
                    <a:pt x="1318" y="1738"/>
                  </a:moveTo>
                  <a:cubicBezTo>
                    <a:pt x="1327" y="1683"/>
                    <a:pt x="1342" y="1626"/>
                    <a:pt x="1368" y="1576"/>
                  </a:cubicBezTo>
                  <a:cubicBezTo>
                    <a:pt x="1342" y="1549"/>
                    <a:pt x="1342" y="1549"/>
                    <a:pt x="1342" y="1549"/>
                  </a:cubicBezTo>
                  <a:cubicBezTo>
                    <a:pt x="1273" y="1640"/>
                    <a:pt x="1273" y="1640"/>
                    <a:pt x="1273" y="1640"/>
                  </a:cubicBezTo>
                  <a:cubicBezTo>
                    <a:pt x="1172" y="1514"/>
                    <a:pt x="1172" y="1514"/>
                    <a:pt x="1172" y="1514"/>
                  </a:cubicBezTo>
                  <a:cubicBezTo>
                    <a:pt x="1205" y="1587"/>
                    <a:pt x="1276" y="1662"/>
                    <a:pt x="1318" y="1738"/>
                  </a:cubicBezTo>
                  <a:close/>
                  <a:moveTo>
                    <a:pt x="1595" y="1428"/>
                  </a:moveTo>
                  <a:cubicBezTo>
                    <a:pt x="1588" y="1425"/>
                    <a:pt x="1588" y="1425"/>
                    <a:pt x="1588" y="1425"/>
                  </a:cubicBezTo>
                  <a:cubicBezTo>
                    <a:pt x="1571" y="1437"/>
                    <a:pt x="1552" y="1447"/>
                    <a:pt x="1532" y="1455"/>
                  </a:cubicBezTo>
                  <a:cubicBezTo>
                    <a:pt x="1520" y="1460"/>
                    <a:pt x="1508" y="1464"/>
                    <a:pt x="1496" y="1467"/>
                  </a:cubicBezTo>
                  <a:cubicBezTo>
                    <a:pt x="1529" y="1510"/>
                    <a:pt x="1529" y="1510"/>
                    <a:pt x="1529" y="1510"/>
                  </a:cubicBezTo>
                  <a:lnTo>
                    <a:pt x="1595" y="1428"/>
                  </a:lnTo>
                  <a:close/>
                  <a:moveTo>
                    <a:pt x="0" y="1600"/>
                  </a:moveTo>
                  <a:cubicBezTo>
                    <a:pt x="0" y="1680"/>
                    <a:pt x="0" y="1680"/>
                    <a:pt x="0" y="1680"/>
                  </a:cubicBezTo>
                  <a:cubicBezTo>
                    <a:pt x="654" y="1680"/>
                    <a:pt x="654" y="1680"/>
                    <a:pt x="654" y="1680"/>
                  </a:cubicBezTo>
                  <a:cubicBezTo>
                    <a:pt x="660" y="1653"/>
                    <a:pt x="669" y="1626"/>
                    <a:pt x="680" y="1600"/>
                  </a:cubicBezTo>
                  <a:lnTo>
                    <a:pt x="0" y="1600"/>
                  </a:lnTo>
                  <a:close/>
                  <a:moveTo>
                    <a:pt x="489" y="274"/>
                  </a:moveTo>
                  <a:cubicBezTo>
                    <a:pt x="471" y="282"/>
                    <a:pt x="461" y="302"/>
                    <a:pt x="467" y="322"/>
                  </a:cubicBezTo>
                  <a:cubicBezTo>
                    <a:pt x="502" y="447"/>
                    <a:pt x="538" y="573"/>
                    <a:pt x="573" y="699"/>
                  </a:cubicBezTo>
                  <a:cubicBezTo>
                    <a:pt x="578" y="719"/>
                    <a:pt x="598" y="733"/>
                    <a:pt x="619" y="729"/>
                  </a:cubicBezTo>
                  <a:cubicBezTo>
                    <a:pt x="641" y="725"/>
                    <a:pt x="662" y="720"/>
                    <a:pt x="682" y="715"/>
                  </a:cubicBezTo>
                  <a:cubicBezTo>
                    <a:pt x="748" y="696"/>
                    <a:pt x="795" y="670"/>
                    <a:pt x="825" y="639"/>
                  </a:cubicBezTo>
                  <a:cubicBezTo>
                    <a:pt x="860" y="603"/>
                    <a:pt x="873" y="562"/>
                    <a:pt x="866" y="520"/>
                  </a:cubicBezTo>
                  <a:cubicBezTo>
                    <a:pt x="865" y="516"/>
                    <a:pt x="864" y="512"/>
                    <a:pt x="862" y="508"/>
                  </a:cubicBezTo>
                  <a:cubicBezTo>
                    <a:pt x="846" y="448"/>
                    <a:pt x="812" y="420"/>
                    <a:pt x="769" y="411"/>
                  </a:cubicBezTo>
                  <a:cubicBezTo>
                    <a:pt x="781" y="384"/>
                    <a:pt x="782" y="352"/>
                    <a:pt x="770" y="311"/>
                  </a:cubicBezTo>
                  <a:cubicBezTo>
                    <a:pt x="768" y="305"/>
                    <a:pt x="766" y="299"/>
                    <a:pt x="764" y="294"/>
                  </a:cubicBezTo>
                  <a:cubicBezTo>
                    <a:pt x="749" y="260"/>
                    <a:pt x="721" y="240"/>
                    <a:pt x="684" y="233"/>
                  </a:cubicBezTo>
                  <a:cubicBezTo>
                    <a:pt x="653" y="227"/>
                    <a:pt x="616" y="231"/>
                    <a:pt x="574" y="243"/>
                  </a:cubicBezTo>
                  <a:cubicBezTo>
                    <a:pt x="548" y="250"/>
                    <a:pt x="519" y="261"/>
                    <a:pt x="489" y="274"/>
                  </a:cubicBezTo>
                  <a:close/>
                  <a:moveTo>
                    <a:pt x="553" y="334"/>
                  </a:moveTo>
                  <a:cubicBezTo>
                    <a:pt x="581" y="434"/>
                    <a:pt x="581" y="434"/>
                    <a:pt x="581" y="434"/>
                  </a:cubicBezTo>
                  <a:cubicBezTo>
                    <a:pt x="625" y="421"/>
                    <a:pt x="660" y="409"/>
                    <a:pt x="680" y="395"/>
                  </a:cubicBezTo>
                  <a:cubicBezTo>
                    <a:pt x="696" y="382"/>
                    <a:pt x="702" y="364"/>
                    <a:pt x="693" y="332"/>
                  </a:cubicBezTo>
                  <a:cubicBezTo>
                    <a:pt x="690" y="320"/>
                    <a:pt x="682" y="314"/>
                    <a:pt x="669" y="312"/>
                  </a:cubicBezTo>
                  <a:cubicBezTo>
                    <a:pt x="651" y="308"/>
                    <a:pt x="626" y="311"/>
                    <a:pt x="596" y="320"/>
                  </a:cubicBezTo>
                  <a:cubicBezTo>
                    <a:pt x="582" y="324"/>
                    <a:pt x="568" y="328"/>
                    <a:pt x="553" y="334"/>
                  </a:cubicBezTo>
                  <a:close/>
                  <a:moveTo>
                    <a:pt x="603" y="511"/>
                  </a:moveTo>
                  <a:cubicBezTo>
                    <a:pt x="694" y="486"/>
                    <a:pt x="770" y="472"/>
                    <a:pt x="786" y="529"/>
                  </a:cubicBezTo>
                  <a:cubicBezTo>
                    <a:pt x="792" y="550"/>
                    <a:pt x="782" y="568"/>
                    <a:pt x="768" y="583"/>
                  </a:cubicBezTo>
                  <a:cubicBezTo>
                    <a:pt x="747" y="604"/>
                    <a:pt x="712" y="624"/>
                    <a:pt x="660" y="638"/>
                  </a:cubicBezTo>
                  <a:cubicBezTo>
                    <a:pt x="654" y="640"/>
                    <a:pt x="647" y="642"/>
                    <a:pt x="640" y="643"/>
                  </a:cubicBezTo>
                  <a:lnTo>
                    <a:pt x="603" y="511"/>
                  </a:lnTo>
                  <a:close/>
                  <a:moveTo>
                    <a:pt x="264" y="873"/>
                  </a:moveTo>
                  <a:cubicBezTo>
                    <a:pt x="259" y="845"/>
                    <a:pt x="256" y="816"/>
                    <a:pt x="256" y="786"/>
                  </a:cubicBezTo>
                  <a:cubicBezTo>
                    <a:pt x="392" y="694"/>
                    <a:pt x="392" y="694"/>
                    <a:pt x="392" y="694"/>
                  </a:cubicBezTo>
                  <a:cubicBezTo>
                    <a:pt x="425" y="727"/>
                    <a:pt x="461" y="757"/>
                    <a:pt x="497" y="779"/>
                  </a:cubicBezTo>
                  <a:cubicBezTo>
                    <a:pt x="516" y="790"/>
                    <a:pt x="540" y="784"/>
                    <a:pt x="552" y="766"/>
                  </a:cubicBezTo>
                  <a:cubicBezTo>
                    <a:pt x="563" y="747"/>
                    <a:pt x="557" y="722"/>
                    <a:pt x="538" y="711"/>
                  </a:cubicBezTo>
                  <a:cubicBezTo>
                    <a:pt x="492" y="682"/>
                    <a:pt x="446" y="638"/>
                    <a:pt x="405" y="590"/>
                  </a:cubicBezTo>
                  <a:cubicBezTo>
                    <a:pt x="355" y="531"/>
                    <a:pt x="314" y="466"/>
                    <a:pt x="291" y="416"/>
                  </a:cubicBezTo>
                  <a:cubicBezTo>
                    <a:pt x="291" y="416"/>
                    <a:pt x="291" y="416"/>
                    <a:pt x="291" y="416"/>
                  </a:cubicBezTo>
                  <a:cubicBezTo>
                    <a:pt x="286" y="404"/>
                    <a:pt x="274" y="395"/>
                    <a:pt x="261" y="393"/>
                  </a:cubicBezTo>
                  <a:cubicBezTo>
                    <a:pt x="239" y="390"/>
                    <a:pt x="219" y="405"/>
                    <a:pt x="215" y="426"/>
                  </a:cubicBezTo>
                  <a:cubicBezTo>
                    <a:pt x="213" y="439"/>
                    <a:pt x="210" y="460"/>
                    <a:pt x="206" y="481"/>
                  </a:cubicBezTo>
                  <a:cubicBezTo>
                    <a:pt x="192" y="564"/>
                    <a:pt x="177" y="659"/>
                    <a:pt x="175" y="753"/>
                  </a:cubicBezTo>
                  <a:cubicBezTo>
                    <a:pt x="172" y="762"/>
                    <a:pt x="172" y="773"/>
                    <a:pt x="176" y="783"/>
                  </a:cubicBezTo>
                  <a:cubicBezTo>
                    <a:pt x="176" y="818"/>
                    <a:pt x="179" y="854"/>
                    <a:pt x="186" y="888"/>
                  </a:cubicBezTo>
                  <a:cubicBezTo>
                    <a:pt x="190" y="909"/>
                    <a:pt x="211" y="923"/>
                    <a:pt x="232" y="919"/>
                  </a:cubicBezTo>
                  <a:cubicBezTo>
                    <a:pt x="254" y="915"/>
                    <a:pt x="268" y="894"/>
                    <a:pt x="264" y="873"/>
                  </a:cubicBezTo>
                  <a:close/>
                  <a:moveTo>
                    <a:pt x="338" y="634"/>
                  </a:moveTo>
                  <a:cubicBezTo>
                    <a:pt x="315" y="606"/>
                    <a:pt x="294" y="578"/>
                    <a:pt x="276" y="550"/>
                  </a:cubicBezTo>
                  <a:cubicBezTo>
                    <a:pt x="269" y="594"/>
                    <a:pt x="262" y="641"/>
                    <a:pt x="258" y="688"/>
                  </a:cubicBezTo>
                  <a:lnTo>
                    <a:pt x="338" y="63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xmlns="" id="{DC3E29C3-2F1A-40A8-99E4-6D79DD764490}"/>
                </a:ext>
              </a:extLst>
            </p:cNvPr>
            <p:cNvSpPr/>
            <p:nvPr/>
          </p:nvSpPr>
          <p:spPr bwMode="gray">
            <a:xfrm>
              <a:off x="2743145" y="4860421"/>
              <a:ext cx="1025658" cy="674648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/>
            </a:p>
          </p:txBody>
        </p:sp>
        <p:pic>
          <p:nvPicPr>
            <p:cNvPr id="10" name="Imagen 9">
              <a:extLst>
                <a:ext uri="{FF2B5EF4-FFF2-40B4-BE49-F238E27FC236}">
                  <a16:creationId xmlns:a16="http://schemas.microsoft.com/office/drawing/2014/main" xmlns="" id="{E794819A-AF5F-4499-B518-F5D3030AF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374342" y="5803931"/>
              <a:ext cx="1790700" cy="314325"/>
            </a:xfrm>
            <a:prstGeom prst="rect">
              <a:avLst/>
            </a:prstGeom>
          </p:spPr>
        </p:pic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xmlns="" id="{CAF53132-5396-417F-8E1F-5EF4D3EFB451}"/>
                </a:ext>
              </a:extLst>
            </p:cNvPr>
            <p:cNvSpPr txBox="1"/>
            <p:nvPr/>
          </p:nvSpPr>
          <p:spPr bwMode="gray">
            <a:xfrm>
              <a:off x="3107696" y="4549312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4%</a:t>
              </a:r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xmlns="" id="{4B04FDE1-4B3B-472B-8E2F-774AB473C81C}"/>
              </a:ext>
            </a:extLst>
          </p:cNvPr>
          <p:cNvGrpSpPr/>
          <p:nvPr/>
        </p:nvGrpSpPr>
        <p:grpSpPr>
          <a:xfrm>
            <a:off x="4308539" y="3486920"/>
            <a:ext cx="1742857" cy="2681304"/>
            <a:chOff x="4308539" y="3486920"/>
            <a:chExt cx="1742857" cy="2681304"/>
          </a:xfrm>
        </p:grpSpPr>
        <p:sp>
          <p:nvSpPr>
            <p:cNvPr id="33" name="Freeform 119"/>
            <p:cNvSpPr>
              <a:spLocks noChangeAspect="1"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4679378" y="3486920"/>
              <a:ext cx="972239" cy="922804"/>
            </a:xfrm>
            <a:custGeom>
              <a:avLst/>
              <a:gdLst>
                <a:gd name="T0" fmla="*/ 1218 w 2098"/>
                <a:gd name="T1" fmla="*/ 1973 h 1991"/>
                <a:gd name="T2" fmla="*/ 1218 w 2098"/>
                <a:gd name="T3" fmla="*/ 1853 h 1991"/>
                <a:gd name="T4" fmla="*/ 1418 w 2098"/>
                <a:gd name="T5" fmla="*/ 1653 h 1991"/>
                <a:gd name="T6" fmla="*/ 1898 w 2098"/>
                <a:gd name="T7" fmla="*/ 1653 h 1991"/>
                <a:gd name="T8" fmla="*/ 2098 w 2098"/>
                <a:gd name="T9" fmla="*/ 1853 h 1991"/>
                <a:gd name="T10" fmla="*/ 2098 w 2098"/>
                <a:gd name="T11" fmla="*/ 1973 h 1991"/>
                <a:gd name="T12" fmla="*/ 1218 w 2098"/>
                <a:gd name="T13" fmla="*/ 1973 h 1991"/>
                <a:gd name="T14" fmla="*/ 1153 w 2098"/>
                <a:gd name="T15" fmla="*/ 1054 h 1991"/>
                <a:gd name="T16" fmla="*/ 1126 w 2098"/>
                <a:gd name="T17" fmla="*/ 1081 h 1991"/>
                <a:gd name="T18" fmla="*/ 926 w 2098"/>
                <a:gd name="T19" fmla="*/ 1241 h 1991"/>
                <a:gd name="T20" fmla="*/ 766 w 2098"/>
                <a:gd name="T21" fmla="*/ 1441 h 1991"/>
                <a:gd name="T22" fmla="*/ 263 w 2098"/>
                <a:gd name="T23" fmla="*/ 1945 h 1991"/>
                <a:gd name="T24" fmla="*/ 96 w 2098"/>
                <a:gd name="T25" fmla="*/ 1947 h 1991"/>
                <a:gd name="T26" fmla="*/ 46 w 2098"/>
                <a:gd name="T27" fmla="*/ 1898 h 1991"/>
                <a:gd name="T28" fmla="*/ 46 w 2098"/>
                <a:gd name="T29" fmla="*/ 1728 h 1991"/>
                <a:gd name="T30" fmla="*/ 550 w 2098"/>
                <a:gd name="T31" fmla="*/ 1225 h 1991"/>
                <a:gd name="T32" fmla="*/ 750 w 2098"/>
                <a:gd name="T33" fmla="*/ 1065 h 1991"/>
                <a:gd name="T34" fmla="*/ 910 w 2098"/>
                <a:gd name="T35" fmla="*/ 865 h 1991"/>
                <a:gd name="T36" fmla="*/ 937 w 2098"/>
                <a:gd name="T37" fmla="*/ 838 h 1991"/>
                <a:gd name="T38" fmla="*/ 959 w 2098"/>
                <a:gd name="T39" fmla="*/ 864 h 1991"/>
                <a:gd name="T40" fmla="*/ 1127 w 2098"/>
                <a:gd name="T41" fmla="*/ 1032 h 1991"/>
                <a:gd name="T42" fmla="*/ 1153 w 2098"/>
                <a:gd name="T43" fmla="*/ 1054 h 1991"/>
                <a:gd name="T44" fmla="*/ 1279 w 2098"/>
                <a:gd name="T45" fmla="*/ 52 h 1991"/>
                <a:gd name="T46" fmla="*/ 1296 w 2098"/>
                <a:gd name="T47" fmla="*/ 70 h 1991"/>
                <a:gd name="T48" fmla="*/ 1332 w 2098"/>
                <a:gd name="T49" fmla="*/ 198 h 1991"/>
                <a:gd name="T50" fmla="*/ 1397 w 2098"/>
                <a:gd name="T51" fmla="*/ 263 h 1991"/>
                <a:gd name="T52" fmla="*/ 1525 w 2098"/>
                <a:gd name="T53" fmla="*/ 299 h 1991"/>
                <a:gd name="T54" fmla="*/ 1609 w 2098"/>
                <a:gd name="T55" fmla="*/ 382 h 1991"/>
                <a:gd name="T56" fmla="*/ 1692 w 2098"/>
                <a:gd name="T57" fmla="*/ 466 h 1991"/>
                <a:gd name="T58" fmla="*/ 1728 w 2098"/>
                <a:gd name="T59" fmla="*/ 594 h 1991"/>
                <a:gd name="T60" fmla="*/ 1793 w 2098"/>
                <a:gd name="T61" fmla="*/ 659 h 1991"/>
                <a:gd name="T62" fmla="*/ 1921 w 2098"/>
                <a:gd name="T63" fmla="*/ 695 h 1991"/>
                <a:gd name="T64" fmla="*/ 1939 w 2098"/>
                <a:gd name="T65" fmla="*/ 712 h 1991"/>
                <a:gd name="T66" fmla="*/ 1940 w 2098"/>
                <a:gd name="T67" fmla="*/ 899 h 1991"/>
                <a:gd name="T68" fmla="*/ 1617 w 2098"/>
                <a:gd name="T69" fmla="*/ 1223 h 1991"/>
                <a:gd name="T70" fmla="*/ 1430 w 2098"/>
                <a:gd name="T71" fmla="*/ 1221 h 1991"/>
                <a:gd name="T72" fmla="*/ 1412 w 2098"/>
                <a:gd name="T73" fmla="*/ 1204 h 1991"/>
                <a:gd name="T74" fmla="*/ 1377 w 2098"/>
                <a:gd name="T75" fmla="*/ 1076 h 1991"/>
                <a:gd name="T76" fmla="*/ 1311 w 2098"/>
                <a:gd name="T77" fmla="*/ 1010 h 1991"/>
                <a:gd name="T78" fmla="*/ 1183 w 2098"/>
                <a:gd name="T79" fmla="*/ 975 h 1991"/>
                <a:gd name="T80" fmla="*/ 1016 w 2098"/>
                <a:gd name="T81" fmla="*/ 808 h 1991"/>
                <a:gd name="T82" fmla="*/ 981 w 2098"/>
                <a:gd name="T83" fmla="*/ 680 h 1991"/>
                <a:gd name="T84" fmla="*/ 915 w 2098"/>
                <a:gd name="T85" fmla="*/ 614 h 1991"/>
                <a:gd name="T86" fmla="*/ 787 w 2098"/>
                <a:gd name="T87" fmla="*/ 579 h 1991"/>
                <a:gd name="T88" fmla="*/ 767 w 2098"/>
                <a:gd name="T89" fmla="*/ 559 h 1991"/>
                <a:gd name="T90" fmla="*/ 768 w 2098"/>
                <a:gd name="T91" fmla="*/ 374 h 1991"/>
                <a:gd name="T92" fmla="*/ 1092 w 2098"/>
                <a:gd name="T93" fmla="*/ 51 h 1991"/>
                <a:gd name="T94" fmla="*/ 1279 w 2098"/>
                <a:gd name="T95" fmla="*/ 52 h 19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98" h="1991">
                  <a:moveTo>
                    <a:pt x="1218" y="1973"/>
                  </a:moveTo>
                  <a:cubicBezTo>
                    <a:pt x="1218" y="1853"/>
                    <a:pt x="1218" y="1853"/>
                    <a:pt x="1218" y="1853"/>
                  </a:cubicBezTo>
                  <a:cubicBezTo>
                    <a:pt x="1218" y="1743"/>
                    <a:pt x="1308" y="1653"/>
                    <a:pt x="1418" y="1653"/>
                  </a:cubicBezTo>
                  <a:cubicBezTo>
                    <a:pt x="1898" y="1653"/>
                    <a:pt x="1898" y="1653"/>
                    <a:pt x="1898" y="1653"/>
                  </a:cubicBezTo>
                  <a:cubicBezTo>
                    <a:pt x="2008" y="1653"/>
                    <a:pt x="2098" y="1743"/>
                    <a:pt x="2098" y="1853"/>
                  </a:cubicBezTo>
                  <a:cubicBezTo>
                    <a:pt x="2098" y="1973"/>
                    <a:pt x="2098" y="1973"/>
                    <a:pt x="2098" y="1973"/>
                  </a:cubicBezTo>
                  <a:cubicBezTo>
                    <a:pt x="2030" y="1973"/>
                    <a:pt x="1286" y="1973"/>
                    <a:pt x="1218" y="1973"/>
                  </a:cubicBezTo>
                  <a:close/>
                  <a:moveTo>
                    <a:pt x="1153" y="1054"/>
                  </a:moveTo>
                  <a:cubicBezTo>
                    <a:pt x="1126" y="1081"/>
                    <a:pt x="1126" y="1081"/>
                    <a:pt x="1126" y="1081"/>
                  </a:cubicBezTo>
                  <a:cubicBezTo>
                    <a:pt x="1063" y="1144"/>
                    <a:pt x="988" y="1179"/>
                    <a:pt x="926" y="1241"/>
                  </a:cubicBezTo>
                  <a:cubicBezTo>
                    <a:pt x="866" y="1301"/>
                    <a:pt x="827" y="1380"/>
                    <a:pt x="766" y="1441"/>
                  </a:cubicBezTo>
                  <a:cubicBezTo>
                    <a:pt x="263" y="1945"/>
                    <a:pt x="263" y="1945"/>
                    <a:pt x="263" y="1945"/>
                  </a:cubicBezTo>
                  <a:cubicBezTo>
                    <a:pt x="217" y="1990"/>
                    <a:pt x="143" y="1991"/>
                    <a:pt x="96" y="1947"/>
                  </a:cubicBezTo>
                  <a:cubicBezTo>
                    <a:pt x="78" y="1933"/>
                    <a:pt x="62" y="1914"/>
                    <a:pt x="46" y="1898"/>
                  </a:cubicBezTo>
                  <a:cubicBezTo>
                    <a:pt x="0" y="1851"/>
                    <a:pt x="0" y="1775"/>
                    <a:pt x="46" y="1728"/>
                  </a:cubicBezTo>
                  <a:cubicBezTo>
                    <a:pt x="550" y="1225"/>
                    <a:pt x="550" y="1225"/>
                    <a:pt x="550" y="1225"/>
                  </a:cubicBezTo>
                  <a:cubicBezTo>
                    <a:pt x="611" y="1164"/>
                    <a:pt x="690" y="1125"/>
                    <a:pt x="750" y="1065"/>
                  </a:cubicBezTo>
                  <a:cubicBezTo>
                    <a:pt x="812" y="1003"/>
                    <a:pt x="847" y="928"/>
                    <a:pt x="910" y="865"/>
                  </a:cubicBezTo>
                  <a:cubicBezTo>
                    <a:pt x="937" y="838"/>
                    <a:pt x="937" y="838"/>
                    <a:pt x="937" y="838"/>
                  </a:cubicBezTo>
                  <a:cubicBezTo>
                    <a:pt x="943" y="847"/>
                    <a:pt x="951" y="856"/>
                    <a:pt x="959" y="864"/>
                  </a:cubicBezTo>
                  <a:cubicBezTo>
                    <a:pt x="1127" y="1032"/>
                    <a:pt x="1127" y="1032"/>
                    <a:pt x="1127" y="1032"/>
                  </a:cubicBezTo>
                  <a:cubicBezTo>
                    <a:pt x="1135" y="1040"/>
                    <a:pt x="1144" y="1047"/>
                    <a:pt x="1153" y="1054"/>
                  </a:cubicBezTo>
                  <a:close/>
                  <a:moveTo>
                    <a:pt x="1279" y="52"/>
                  </a:moveTo>
                  <a:cubicBezTo>
                    <a:pt x="1296" y="70"/>
                    <a:pt x="1296" y="70"/>
                    <a:pt x="1296" y="70"/>
                  </a:cubicBezTo>
                  <a:cubicBezTo>
                    <a:pt x="1330" y="104"/>
                    <a:pt x="1344" y="151"/>
                    <a:pt x="1332" y="198"/>
                  </a:cubicBezTo>
                  <a:cubicBezTo>
                    <a:pt x="1321" y="237"/>
                    <a:pt x="1358" y="274"/>
                    <a:pt x="1397" y="263"/>
                  </a:cubicBezTo>
                  <a:cubicBezTo>
                    <a:pt x="1444" y="251"/>
                    <a:pt x="1491" y="265"/>
                    <a:pt x="1525" y="299"/>
                  </a:cubicBezTo>
                  <a:cubicBezTo>
                    <a:pt x="1609" y="382"/>
                    <a:pt x="1609" y="382"/>
                    <a:pt x="1609" y="382"/>
                  </a:cubicBezTo>
                  <a:cubicBezTo>
                    <a:pt x="1692" y="466"/>
                    <a:pt x="1692" y="466"/>
                    <a:pt x="1692" y="466"/>
                  </a:cubicBezTo>
                  <a:cubicBezTo>
                    <a:pt x="1726" y="500"/>
                    <a:pt x="1740" y="547"/>
                    <a:pt x="1728" y="594"/>
                  </a:cubicBezTo>
                  <a:cubicBezTo>
                    <a:pt x="1717" y="633"/>
                    <a:pt x="1755" y="669"/>
                    <a:pt x="1793" y="659"/>
                  </a:cubicBezTo>
                  <a:cubicBezTo>
                    <a:pt x="1840" y="647"/>
                    <a:pt x="1887" y="661"/>
                    <a:pt x="1921" y="695"/>
                  </a:cubicBezTo>
                  <a:cubicBezTo>
                    <a:pt x="1939" y="712"/>
                    <a:pt x="1939" y="712"/>
                    <a:pt x="1939" y="712"/>
                  </a:cubicBezTo>
                  <a:cubicBezTo>
                    <a:pt x="1990" y="763"/>
                    <a:pt x="1991" y="848"/>
                    <a:pt x="1940" y="899"/>
                  </a:cubicBezTo>
                  <a:cubicBezTo>
                    <a:pt x="1617" y="1223"/>
                    <a:pt x="1617" y="1223"/>
                    <a:pt x="1617" y="1223"/>
                  </a:cubicBezTo>
                  <a:cubicBezTo>
                    <a:pt x="1565" y="1274"/>
                    <a:pt x="1480" y="1273"/>
                    <a:pt x="1430" y="1221"/>
                  </a:cubicBezTo>
                  <a:cubicBezTo>
                    <a:pt x="1412" y="1204"/>
                    <a:pt x="1412" y="1204"/>
                    <a:pt x="1412" y="1204"/>
                  </a:cubicBezTo>
                  <a:cubicBezTo>
                    <a:pt x="1378" y="1170"/>
                    <a:pt x="1365" y="1123"/>
                    <a:pt x="1377" y="1076"/>
                  </a:cubicBezTo>
                  <a:cubicBezTo>
                    <a:pt x="1387" y="1037"/>
                    <a:pt x="1350" y="1000"/>
                    <a:pt x="1311" y="1010"/>
                  </a:cubicBezTo>
                  <a:cubicBezTo>
                    <a:pt x="1264" y="1022"/>
                    <a:pt x="1217" y="1009"/>
                    <a:pt x="1183" y="975"/>
                  </a:cubicBezTo>
                  <a:cubicBezTo>
                    <a:pt x="1016" y="808"/>
                    <a:pt x="1016" y="808"/>
                    <a:pt x="1016" y="808"/>
                  </a:cubicBezTo>
                  <a:cubicBezTo>
                    <a:pt x="982" y="774"/>
                    <a:pt x="969" y="727"/>
                    <a:pt x="981" y="680"/>
                  </a:cubicBezTo>
                  <a:cubicBezTo>
                    <a:pt x="991" y="641"/>
                    <a:pt x="954" y="604"/>
                    <a:pt x="915" y="614"/>
                  </a:cubicBezTo>
                  <a:cubicBezTo>
                    <a:pt x="868" y="626"/>
                    <a:pt x="821" y="613"/>
                    <a:pt x="787" y="579"/>
                  </a:cubicBezTo>
                  <a:cubicBezTo>
                    <a:pt x="781" y="573"/>
                    <a:pt x="773" y="566"/>
                    <a:pt x="767" y="559"/>
                  </a:cubicBezTo>
                  <a:cubicBezTo>
                    <a:pt x="718" y="508"/>
                    <a:pt x="718" y="425"/>
                    <a:pt x="768" y="374"/>
                  </a:cubicBezTo>
                  <a:cubicBezTo>
                    <a:pt x="1092" y="51"/>
                    <a:pt x="1092" y="51"/>
                    <a:pt x="1092" y="51"/>
                  </a:cubicBezTo>
                  <a:cubicBezTo>
                    <a:pt x="1143" y="0"/>
                    <a:pt x="1228" y="1"/>
                    <a:pt x="1279" y="52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" name="Rectángulo 2">
              <a:extLst>
                <a:ext uri="{FF2B5EF4-FFF2-40B4-BE49-F238E27FC236}">
                  <a16:creationId xmlns:a16="http://schemas.microsoft.com/office/drawing/2014/main" xmlns="" id="{17454F79-BE3E-486F-9CF0-9EF15CB53F4B}"/>
                </a:ext>
              </a:extLst>
            </p:cNvPr>
            <p:cNvSpPr/>
            <p:nvPr/>
          </p:nvSpPr>
          <p:spPr bwMode="gray">
            <a:xfrm>
              <a:off x="4649109" y="4856484"/>
              <a:ext cx="1025658" cy="674648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:a16="http://schemas.microsoft.com/office/drawing/2014/main" xmlns="" id="{163CBF4B-D4D7-4D37-9EA9-A5D7C725202B}"/>
                </a:ext>
              </a:extLst>
            </p:cNvPr>
            <p:cNvSpPr txBox="1"/>
            <p:nvPr/>
          </p:nvSpPr>
          <p:spPr bwMode="gray">
            <a:xfrm>
              <a:off x="4993278" y="4549312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4%</a:t>
              </a:r>
            </a:p>
          </p:txBody>
        </p:sp>
        <p:pic>
          <p:nvPicPr>
            <p:cNvPr id="30" name="chart">
              <a:extLst>
                <a:ext uri="{FF2B5EF4-FFF2-40B4-BE49-F238E27FC236}">
                  <a16:creationId xmlns:a16="http://schemas.microsoft.com/office/drawing/2014/main" xmlns="" id="{F55DE3EF-952C-4A20-97B7-A4E7E69D44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308539" y="5682510"/>
              <a:ext cx="1742857" cy="485714"/>
            </a:xfrm>
            <a:prstGeom prst="rect">
              <a:avLst/>
            </a:prstGeom>
          </p:spPr>
        </p:pic>
      </p:grpSp>
      <p:grpSp>
        <p:nvGrpSpPr>
          <p:cNvPr id="15" name="Grupo 14">
            <a:extLst>
              <a:ext uri="{FF2B5EF4-FFF2-40B4-BE49-F238E27FC236}">
                <a16:creationId xmlns:a16="http://schemas.microsoft.com/office/drawing/2014/main" xmlns="" id="{5007D087-7F19-4117-834C-9ECDE210C990}"/>
              </a:ext>
            </a:extLst>
          </p:cNvPr>
          <p:cNvGrpSpPr/>
          <p:nvPr/>
        </p:nvGrpSpPr>
        <p:grpSpPr>
          <a:xfrm>
            <a:off x="6341175" y="3486920"/>
            <a:ext cx="1228571" cy="2495340"/>
            <a:chOff x="6341175" y="3486920"/>
            <a:chExt cx="1228571" cy="2495340"/>
          </a:xfrm>
        </p:grpSpPr>
        <p:sp>
          <p:nvSpPr>
            <p:cNvPr id="29" name="Freeform 62"/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6428333" y="3486920"/>
              <a:ext cx="1025315" cy="974863"/>
            </a:xfrm>
            <a:custGeom>
              <a:avLst/>
              <a:gdLst>
                <a:gd name="T0" fmla="*/ 94 w 2108"/>
                <a:gd name="T1" fmla="*/ 1684 h 2004"/>
                <a:gd name="T2" fmla="*/ 2014 w 2108"/>
                <a:gd name="T3" fmla="*/ 1764 h 2004"/>
                <a:gd name="T4" fmla="*/ 2094 w 2108"/>
                <a:gd name="T5" fmla="*/ 2004 h 2004"/>
                <a:gd name="T6" fmla="*/ 14 w 2108"/>
                <a:gd name="T7" fmla="*/ 1764 h 2004"/>
                <a:gd name="T8" fmla="*/ 1054 w 2108"/>
                <a:gd name="T9" fmla="*/ 0 h 2004"/>
                <a:gd name="T10" fmla="*/ 2038 w 2108"/>
                <a:gd name="T11" fmla="*/ 604 h 2004"/>
                <a:gd name="T12" fmla="*/ 1934 w 2108"/>
                <a:gd name="T13" fmla="*/ 724 h 2004"/>
                <a:gd name="T14" fmla="*/ 174 w 2108"/>
                <a:gd name="T15" fmla="*/ 604 h 2004"/>
                <a:gd name="T16" fmla="*/ 0 w 2108"/>
                <a:gd name="T17" fmla="*/ 464 h 2004"/>
                <a:gd name="T18" fmla="*/ 1054 w 2108"/>
                <a:gd name="T19" fmla="*/ 267 h 2004"/>
                <a:gd name="T20" fmla="*/ 560 w 2108"/>
                <a:gd name="T21" fmla="*/ 484 h 2004"/>
                <a:gd name="T22" fmla="*/ 1054 w 2108"/>
                <a:gd name="T23" fmla="*/ 180 h 2004"/>
                <a:gd name="T24" fmla="*/ 334 w 2108"/>
                <a:gd name="T25" fmla="*/ 564 h 2004"/>
                <a:gd name="T26" fmla="*/ 1774 w 2108"/>
                <a:gd name="T27" fmla="*/ 496 h 2004"/>
                <a:gd name="T28" fmla="*/ 1854 w 2108"/>
                <a:gd name="T29" fmla="*/ 804 h 2004"/>
                <a:gd name="T30" fmla="*/ 1814 w 2108"/>
                <a:gd name="T31" fmla="*/ 1604 h 2004"/>
                <a:gd name="T32" fmla="*/ 1419 w 2108"/>
                <a:gd name="T33" fmla="*/ 1318 h 2004"/>
                <a:gd name="T34" fmla="*/ 1374 w 2108"/>
                <a:gd name="T35" fmla="*/ 804 h 2004"/>
                <a:gd name="T36" fmla="*/ 734 w 2108"/>
                <a:gd name="T37" fmla="*/ 804 h 2004"/>
                <a:gd name="T38" fmla="*/ 694 w 2108"/>
                <a:gd name="T39" fmla="*/ 1604 h 2004"/>
                <a:gd name="T40" fmla="*/ 299 w 2108"/>
                <a:gd name="T41" fmla="*/ 1318 h 2004"/>
                <a:gd name="T42" fmla="*/ 254 w 2108"/>
                <a:gd name="T43" fmla="*/ 804 h 2004"/>
                <a:gd name="T44" fmla="*/ 900 w 2108"/>
                <a:gd name="T45" fmla="*/ 1106 h 2004"/>
                <a:gd name="T46" fmla="*/ 974 w 2108"/>
                <a:gd name="T47" fmla="*/ 1284 h 2004"/>
                <a:gd name="T48" fmla="*/ 1208 w 2108"/>
                <a:gd name="T49" fmla="*/ 1302 h 2004"/>
                <a:gd name="T50" fmla="*/ 1134 w 2108"/>
                <a:gd name="T51" fmla="*/ 1124 h 2004"/>
                <a:gd name="T52" fmla="*/ 900 w 2108"/>
                <a:gd name="T53" fmla="*/ 1106 h 2004"/>
                <a:gd name="T54" fmla="*/ 1294 w 2108"/>
                <a:gd name="T55" fmla="*/ 1444 h 2004"/>
                <a:gd name="T56" fmla="*/ 974 w 2108"/>
                <a:gd name="T57" fmla="*/ 1604 h 2004"/>
                <a:gd name="T58" fmla="*/ 814 w 2108"/>
                <a:gd name="T59" fmla="*/ 1429 h 2004"/>
                <a:gd name="T60" fmla="*/ 894 w 2108"/>
                <a:gd name="T61" fmla="*/ 1444 h 2004"/>
                <a:gd name="T62" fmla="*/ 1134 w 2108"/>
                <a:gd name="T63" fmla="*/ 1524 h 2004"/>
                <a:gd name="T64" fmla="*/ 1134 w 2108"/>
                <a:gd name="T65" fmla="*/ 1364 h 2004"/>
                <a:gd name="T66" fmla="*/ 790 w 2108"/>
                <a:gd name="T67" fmla="*/ 1180 h 2004"/>
                <a:gd name="T68" fmla="*/ 814 w 2108"/>
                <a:gd name="T69" fmla="*/ 964 h 2004"/>
                <a:gd name="T70" fmla="*/ 1134 w 2108"/>
                <a:gd name="T71" fmla="*/ 804 h 2004"/>
                <a:gd name="T72" fmla="*/ 1294 w 2108"/>
                <a:gd name="T73" fmla="*/ 979 h 2004"/>
                <a:gd name="T74" fmla="*/ 1214 w 2108"/>
                <a:gd name="T75" fmla="*/ 964 h 2004"/>
                <a:gd name="T76" fmla="*/ 974 w 2108"/>
                <a:gd name="T77" fmla="*/ 884 h 2004"/>
                <a:gd name="T78" fmla="*/ 917 w 2108"/>
                <a:gd name="T79" fmla="*/ 1021 h 2004"/>
                <a:gd name="T80" fmla="*/ 1134 w 2108"/>
                <a:gd name="T81" fmla="*/ 1044 h 2004"/>
                <a:gd name="T82" fmla="*/ 1267 w 2108"/>
                <a:gd name="T83" fmla="*/ 1355 h 2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08" h="2004">
                  <a:moveTo>
                    <a:pt x="94" y="1764"/>
                  </a:moveTo>
                  <a:cubicBezTo>
                    <a:pt x="94" y="1684"/>
                    <a:pt x="94" y="1684"/>
                    <a:pt x="94" y="1684"/>
                  </a:cubicBezTo>
                  <a:cubicBezTo>
                    <a:pt x="2014" y="1684"/>
                    <a:pt x="2014" y="1684"/>
                    <a:pt x="2014" y="1684"/>
                  </a:cubicBezTo>
                  <a:cubicBezTo>
                    <a:pt x="2014" y="1764"/>
                    <a:pt x="2014" y="1764"/>
                    <a:pt x="2014" y="1764"/>
                  </a:cubicBezTo>
                  <a:cubicBezTo>
                    <a:pt x="2094" y="1764"/>
                    <a:pt x="2094" y="1764"/>
                    <a:pt x="2094" y="1764"/>
                  </a:cubicBezTo>
                  <a:cubicBezTo>
                    <a:pt x="2094" y="1844"/>
                    <a:pt x="2094" y="1924"/>
                    <a:pt x="2094" y="2004"/>
                  </a:cubicBezTo>
                  <a:cubicBezTo>
                    <a:pt x="14" y="2004"/>
                    <a:pt x="14" y="2004"/>
                    <a:pt x="14" y="2004"/>
                  </a:cubicBezTo>
                  <a:cubicBezTo>
                    <a:pt x="14" y="1764"/>
                    <a:pt x="14" y="1764"/>
                    <a:pt x="14" y="1764"/>
                  </a:cubicBezTo>
                  <a:lnTo>
                    <a:pt x="94" y="1764"/>
                  </a:lnTo>
                  <a:close/>
                  <a:moveTo>
                    <a:pt x="1054" y="0"/>
                  </a:moveTo>
                  <a:cubicBezTo>
                    <a:pt x="2108" y="464"/>
                    <a:pt x="2108" y="464"/>
                    <a:pt x="2108" y="464"/>
                  </a:cubicBezTo>
                  <a:cubicBezTo>
                    <a:pt x="2085" y="511"/>
                    <a:pt x="2062" y="558"/>
                    <a:pt x="2038" y="604"/>
                  </a:cubicBezTo>
                  <a:cubicBezTo>
                    <a:pt x="1934" y="604"/>
                    <a:pt x="1934" y="604"/>
                    <a:pt x="1934" y="604"/>
                  </a:cubicBezTo>
                  <a:cubicBezTo>
                    <a:pt x="1934" y="724"/>
                    <a:pt x="1934" y="724"/>
                    <a:pt x="1934" y="724"/>
                  </a:cubicBezTo>
                  <a:cubicBezTo>
                    <a:pt x="174" y="724"/>
                    <a:pt x="174" y="724"/>
                    <a:pt x="174" y="724"/>
                  </a:cubicBezTo>
                  <a:cubicBezTo>
                    <a:pt x="174" y="604"/>
                    <a:pt x="174" y="604"/>
                    <a:pt x="174" y="604"/>
                  </a:cubicBezTo>
                  <a:cubicBezTo>
                    <a:pt x="70" y="604"/>
                    <a:pt x="70" y="604"/>
                    <a:pt x="70" y="604"/>
                  </a:cubicBezTo>
                  <a:cubicBezTo>
                    <a:pt x="0" y="464"/>
                    <a:pt x="0" y="464"/>
                    <a:pt x="0" y="464"/>
                  </a:cubicBezTo>
                  <a:lnTo>
                    <a:pt x="1054" y="0"/>
                  </a:lnTo>
                  <a:close/>
                  <a:moveTo>
                    <a:pt x="1054" y="267"/>
                  </a:moveTo>
                  <a:cubicBezTo>
                    <a:pt x="1548" y="484"/>
                    <a:pt x="1548" y="484"/>
                    <a:pt x="1548" y="484"/>
                  </a:cubicBezTo>
                  <a:cubicBezTo>
                    <a:pt x="560" y="484"/>
                    <a:pt x="560" y="484"/>
                    <a:pt x="560" y="484"/>
                  </a:cubicBezTo>
                  <a:lnTo>
                    <a:pt x="1054" y="267"/>
                  </a:lnTo>
                  <a:close/>
                  <a:moveTo>
                    <a:pt x="1054" y="180"/>
                  </a:moveTo>
                  <a:cubicBezTo>
                    <a:pt x="334" y="496"/>
                    <a:pt x="334" y="496"/>
                    <a:pt x="334" y="496"/>
                  </a:cubicBezTo>
                  <a:cubicBezTo>
                    <a:pt x="334" y="519"/>
                    <a:pt x="334" y="541"/>
                    <a:pt x="334" y="564"/>
                  </a:cubicBezTo>
                  <a:cubicBezTo>
                    <a:pt x="1774" y="564"/>
                    <a:pt x="1774" y="564"/>
                    <a:pt x="1774" y="564"/>
                  </a:cubicBezTo>
                  <a:cubicBezTo>
                    <a:pt x="1774" y="541"/>
                    <a:pt x="1774" y="519"/>
                    <a:pt x="1774" y="496"/>
                  </a:cubicBezTo>
                  <a:lnTo>
                    <a:pt x="1054" y="180"/>
                  </a:lnTo>
                  <a:close/>
                  <a:moveTo>
                    <a:pt x="1854" y="804"/>
                  </a:moveTo>
                  <a:cubicBezTo>
                    <a:pt x="1854" y="832"/>
                    <a:pt x="1854" y="900"/>
                    <a:pt x="1779" y="919"/>
                  </a:cubicBezTo>
                  <a:cubicBezTo>
                    <a:pt x="1808" y="1147"/>
                    <a:pt x="1813" y="1395"/>
                    <a:pt x="1814" y="1604"/>
                  </a:cubicBezTo>
                  <a:cubicBezTo>
                    <a:pt x="1414" y="1604"/>
                    <a:pt x="1414" y="1604"/>
                    <a:pt x="1414" y="1604"/>
                  </a:cubicBezTo>
                  <a:cubicBezTo>
                    <a:pt x="1414" y="1516"/>
                    <a:pt x="1416" y="1419"/>
                    <a:pt x="1419" y="1318"/>
                  </a:cubicBezTo>
                  <a:cubicBezTo>
                    <a:pt x="1424" y="1185"/>
                    <a:pt x="1432" y="1048"/>
                    <a:pt x="1449" y="918"/>
                  </a:cubicBezTo>
                  <a:cubicBezTo>
                    <a:pt x="1394" y="902"/>
                    <a:pt x="1374" y="858"/>
                    <a:pt x="1374" y="804"/>
                  </a:cubicBezTo>
                  <a:lnTo>
                    <a:pt x="1854" y="804"/>
                  </a:lnTo>
                  <a:close/>
                  <a:moveTo>
                    <a:pt x="734" y="804"/>
                  </a:moveTo>
                  <a:cubicBezTo>
                    <a:pt x="734" y="832"/>
                    <a:pt x="734" y="900"/>
                    <a:pt x="659" y="919"/>
                  </a:cubicBezTo>
                  <a:cubicBezTo>
                    <a:pt x="688" y="1147"/>
                    <a:pt x="693" y="1395"/>
                    <a:pt x="694" y="1604"/>
                  </a:cubicBezTo>
                  <a:cubicBezTo>
                    <a:pt x="294" y="1604"/>
                    <a:pt x="294" y="1604"/>
                    <a:pt x="294" y="1604"/>
                  </a:cubicBezTo>
                  <a:cubicBezTo>
                    <a:pt x="294" y="1516"/>
                    <a:pt x="296" y="1419"/>
                    <a:pt x="299" y="1318"/>
                  </a:cubicBezTo>
                  <a:cubicBezTo>
                    <a:pt x="304" y="1185"/>
                    <a:pt x="312" y="1048"/>
                    <a:pt x="329" y="918"/>
                  </a:cubicBezTo>
                  <a:cubicBezTo>
                    <a:pt x="274" y="902"/>
                    <a:pt x="254" y="858"/>
                    <a:pt x="254" y="804"/>
                  </a:cubicBezTo>
                  <a:lnTo>
                    <a:pt x="734" y="804"/>
                  </a:lnTo>
                  <a:close/>
                  <a:moveTo>
                    <a:pt x="900" y="1106"/>
                  </a:moveTo>
                  <a:cubicBezTo>
                    <a:pt x="881" y="1126"/>
                    <a:pt x="870" y="1152"/>
                    <a:pt x="870" y="1180"/>
                  </a:cubicBezTo>
                  <a:cubicBezTo>
                    <a:pt x="870" y="1237"/>
                    <a:pt x="916" y="1284"/>
                    <a:pt x="974" y="1284"/>
                  </a:cubicBezTo>
                  <a:cubicBezTo>
                    <a:pt x="1134" y="1284"/>
                    <a:pt x="1134" y="1284"/>
                    <a:pt x="1134" y="1284"/>
                  </a:cubicBezTo>
                  <a:cubicBezTo>
                    <a:pt x="1160" y="1284"/>
                    <a:pt x="1186" y="1290"/>
                    <a:pt x="1208" y="1302"/>
                  </a:cubicBezTo>
                  <a:cubicBezTo>
                    <a:pt x="1227" y="1282"/>
                    <a:pt x="1238" y="1256"/>
                    <a:pt x="1238" y="1228"/>
                  </a:cubicBezTo>
                  <a:cubicBezTo>
                    <a:pt x="1238" y="1171"/>
                    <a:pt x="1192" y="1124"/>
                    <a:pt x="1134" y="1124"/>
                  </a:cubicBezTo>
                  <a:cubicBezTo>
                    <a:pt x="974" y="1124"/>
                    <a:pt x="974" y="1124"/>
                    <a:pt x="974" y="1124"/>
                  </a:cubicBezTo>
                  <a:cubicBezTo>
                    <a:pt x="948" y="1124"/>
                    <a:pt x="922" y="1118"/>
                    <a:pt x="900" y="1106"/>
                  </a:cubicBezTo>
                  <a:close/>
                  <a:moveTo>
                    <a:pt x="1267" y="1355"/>
                  </a:moveTo>
                  <a:cubicBezTo>
                    <a:pt x="1284" y="1380"/>
                    <a:pt x="1294" y="1411"/>
                    <a:pt x="1294" y="1444"/>
                  </a:cubicBezTo>
                  <a:cubicBezTo>
                    <a:pt x="1294" y="1532"/>
                    <a:pt x="1222" y="1604"/>
                    <a:pt x="1134" y="1604"/>
                  </a:cubicBezTo>
                  <a:cubicBezTo>
                    <a:pt x="974" y="1604"/>
                    <a:pt x="974" y="1604"/>
                    <a:pt x="974" y="1604"/>
                  </a:cubicBezTo>
                  <a:cubicBezTo>
                    <a:pt x="886" y="1604"/>
                    <a:pt x="814" y="1532"/>
                    <a:pt x="814" y="1444"/>
                  </a:cubicBezTo>
                  <a:cubicBezTo>
                    <a:pt x="814" y="1429"/>
                    <a:pt x="814" y="1429"/>
                    <a:pt x="814" y="1429"/>
                  </a:cubicBezTo>
                  <a:cubicBezTo>
                    <a:pt x="894" y="1429"/>
                    <a:pt x="894" y="1429"/>
                    <a:pt x="894" y="1429"/>
                  </a:cubicBezTo>
                  <a:cubicBezTo>
                    <a:pt x="894" y="1444"/>
                    <a:pt x="894" y="1444"/>
                    <a:pt x="894" y="1444"/>
                  </a:cubicBezTo>
                  <a:cubicBezTo>
                    <a:pt x="894" y="1488"/>
                    <a:pt x="930" y="1524"/>
                    <a:pt x="974" y="1524"/>
                  </a:cubicBezTo>
                  <a:cubicBezTo>
                    <a:pt x="1134" y="1524"/>
                    <a:pt x="1134" y="1524"/>
                    <a:pt x="1134" y="1524"/>
                  </a:cubicBezTo>
                  <a:cubicBezTo>
                    <a:pt x="1178" y="1524"/>
                    <a:pt x="1214" y="1488"/>
                    <a:pt x="1214" y="1444"/>
                  </a:cubicBezTo>
                  <a:cubicBezTo>
                    <a:pt x="1214" y="1399"/>
                    <a:pt x="1178" y="1364"/>
                    <a:pt x="1134" y="1364"/>
                  </a:cubicBezTo>
                  <a:cubicBezTo>
                    <a:pt x="974" y="1364"/>
                    <a:pt x="974" y="1364"/>
                    <a:pt x="974" y="1364"/>
                  </a:cubicBezTo>
                  <a:cubicBezTo>
                    <a:pt x="873" y="1364"/>
                    <a:pt x="790" y="1280"/>
                    <a:pt x="790" y="1180"/>
                  </a:cubicBezTo>
                  <a:cubicBezTo>
                    <a:pt x="790" y="1132"/>
                    <a:pt x="808" y="1087"/>
                    <a:pt x="841" y="1053"/>
                  </a:cubicBezTo>
                  <a:cubicBezTo>
                    <a:pt x="824" y="1028"/>
                    <a:pt x="814" y="997"/>
                    <a:pt x="814" y="964"/>
                  </a:cubicBezTo>
                  <a:cubicBezTo>
                    <a:pt x="814" y="876"/>
                    <a:pt x="886" y="804"/>
                    <a:pt x="974" y="804"/>
                  </a:cubicBezTo>
                  <a:cubicBezTo>
                    <a:pt x="1134" y="804"/>
                    <a:pt x="1134" y="804"/>
                    <a:pt x="1134" y="804"/>
                  </a:cubicBezTo>
                  <a:cubicBezTo>
                    <a:pt x="1222" y="804"/>
                    <a:pt x="1294" y="876"/>
                    <a:pt x="1294" y="964"/>
                  </a:cubicBezTo>
                  <a:cubicBezTo>
                    <a:pt x="1294" y="979"/>
                    <a:pt x="1294" y="979"/>
                    <a:pt x="1294" y="979"/>
                  </a:cubicBezTo>
                  <a:cubicBezTo>
                    <a:pt x="1214" y="979"/>
                    <a:pt x="1214" y="979"/>
                    <a:pt x="1214" y="979"/>
                  </a:cubicBezTo>
                  <a:cubicBezTo>
                    <a:pt x="1214" y="964"/>
                    <a:pt x="1214" y="964"/>
                    <a:pt x="1214" y="964"/>
                  </a:cubicBezTo>
                  <a:cubicBezTo>
                    <a:pt x="1214" y="920"/>
                    <a:pt x="1178" y="884"/>
                    <a:pt x="1134" y="884"/>
                  </a:cubicBezTo>
                  <a:cubicBezTo>
                    <a:pt x="974" y="884"/>
                    <a:pt x="974" y="884"/>
                    <a:pt x="974" y="884"/>
                  </a:cubicBezTo>
                  <a:cubicBezTo>
                    <a:pt x="930" y="884"/>
                    <a:pt x="894" y="920"/>
                    <a:pt x="894" y="964"/>
                  </a:cubicBezTo>
                  <a:cubicBezTo>
                    <a:pt x="894" y="986"/>
                    <a:pt x="903" y="1006"/>
                    <a:pt x="917" y="1021"/>
                  </a:cubicBezTo>
                  <a:cubicBezTo>
                    <a:pt x="932" y="1035"/>
                    <a:pt x="952" y="1044"/>
                    <a:pt x="974" y="1044"/>
                  </a:cubicBezTo>
                  <a:cubicBezTo>
                    <a:pt x="1134" y="1044"/>
                    <a:pt x="1134" y="1044"/>
                    <a:pt x="1134" y="1044"/>
                  </a:cubicBezTo>
                  <a:cubicBezTo>
                    <a:pt x="1235" y="1044"/>
                    <a:pt x="1318" y="1128"/>
                    <a:pt x="1318" y="1228"/>
                  </a:cubicBezTo>
                  <a:cubicBezTo>
                    <a:pt x="1318" y="1276"/>
                    <a:pt x="1300" y="1321"/>
                    <a:pt x="1267" y="135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" name="Rectángulo 3">
              <a:extLst>
                <a:ext uri="{FF2B5EF4-FFF2-40B4-BE49-F238E27FC236}">
                  <a16:creationId xmlns:a16="http://schemas.microsoft.com/office/drawing/2014/main" xmlns="" id="{5ECCFDE1-6193-48F0-8E70-7322FBFD5285}"/>
                </a:ext>
              </a:extLst>
            </p:cNvPr>
            <p:cNvSpPr/>
            <p:nvPr/>
          </p:nvSpPr>
          <p:spPr bwMode="gray">
            <a:xfrm>
              <a:off x="6394880" y="4985334"/>
              <a:ext cx="1025315" cy="56102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CuadroTexto 23">
              <a:extLst>
                <a:ext uri="{FF2B5EF4-FFF2-40B4-BE49-F238E27FC236}">
                  <a16:creationId xmlns:a16="http://schemas.microsoft.com/office/drawing/2014/main" xmlns="" id="{261CD585-C6B9-4043-83C2-27A61BE5AF3D}"/>
                </a:ext>
              </a:extLst>
            </p:cNvPr>
            <p:cNvSpPr txBox="1"/>
            <p:nvPr/>
          </p:nvSpPr>
          <p:spPr bwMode="gray">
            <a:xfrm>
              <a:off x="6717251" y="4604682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3%</a:t>
              </a:r>
            </a:p>
          </p:txBody>
        </p:sp>
        <p:pic>
          <p:nvPicPr>
            <p:cNvPr id="34" name="chart">
              <a:extLst>
                <a:ext uri="{FF2B5EF4-FFF2-40B4-BE49-F238E27FC236}">
                  <a16:creationId xmlns:a16="http://schemas.microsoft.com/office/drawing/2014/main" xmlns="" id="{F940983A-6722-4C42-81B1-99CF17437B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341175" y="5744165"/>
              <a:ext cx="1228571" cy="238095"/>
            </a:xfrm>
            <a:prstGeom prst="rect">
              <a:avLst/>
            </a:prstGeom>
          </p:spPr>
        </p:pic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xmlns="" id="{984C0975-D5D4-421C-B307-21FA87A69915}"/>
              </a:ext>
            </a:extLst>
          </p:cNvPr>
          <p:cNvGrpSpPr/>
          <p:nvPr/>
        </p:nvGrpSpPr>
        <p:grpSpPr>
          <a:xfrm>
            <a:off x="8159759" y="3496192"/>
            <a:ext cx="1084647" cy="2500354"/>
            <a:chOff x="8159759" y="3496192"/>
            <a:chExt cx="1084647" cy="2500354"/>
          </a:xfrm>
        </p:grpSpPr>
        <p:sp>
          <p:nvSpPr>
            <p:cNvPr id="28" name="Freeform 26"/>
            <p:cNvSpPr>
              <a:spLocks noChangeAspect="1" noEditPoints="1"/>
            </p:cNvSpPr>
            <p:nvPr>
              <p:custDataLst>
                <p:tags r:id="rId2"/>
              </p:custDataLst>
            </p:nvPr>
          </p:nvSpPr>
          <p:spPr bwMode="auto">
            <a:xfrm>
              <a:off x="8297491" y="3496192"/>
              <a:ext cx="752785" cy="965591"/>
            </a:xfrm>
            <a:custGeom>
              <a:avLst/>
              <a:gdLst>
                <a:gd name="T0" fmla="*/ 1322 w 1680"/>
                <a:gd name="T1" fmla="*/ 548 h 2155"/>
                <a:gd name="T2" fmla="*/ 349 w 1680"/>
                <a:gd name="T3" fmla="*/ 547 h 2155"/>
                <a:gd name="T4" fmla="*/ 408 w 1680"/>
                <a:gd name="T5" fmla="*/ 602 h 2155"/>
                <a:gd name="T6" fmla="*/ 1263 w 1680"/>
                <a:gd name="T7" fmla="*/ 601 h 2155"/>
                <a:gd name="T8" fmla="*/ 1116 w 1680"/>
                <a:gd name="T9" fmla="*/ 1762 h 2155"/>
                <a:gd name="T10" fmla="*/ 1217 w 1680"/>
                <a:gd name="T11" fmla="*/ 2038 h 2155"/>
                <a:gd name="T12" fmla="*/ 1254 w 1680"/>
                <a:gd name="T13" fmla="*/ 2038 h 2155"/>
                <a:gd name="T14" fmla="*/ 1355 w 1680"/>
                <a:gd name="T15" fmla="*/ 1762 h 2155"/>
                <a:gd name="T16" fmla="*/ 756 w 1680"/>
                <a:gd name="T17" fmla="*/ 182 h 2155"/>
                <a:gd name="T18" fmla="*/ 817 w 1680"/>
                <a:gd name="T19" fmla="*/ 348 h 2155"/>
                <a:gd name="T20" fmla="*/ 854 w 1680"/>
                <a:gd name="T21" fmla="*/ 348 h 2155"/>
                <a:gd name="T22" fmla="*/ 916 w 1680"/>
                <a:gd name="T23" fmla="*/ 182 h 2155"/>
                <a:gd name="T24" fmla="*/ 876 w 1680"/>
                <a:gd name="T25" fmla="*/ 2075 h 2155"/>
                <a:gd name="T26" fmla="*/ 989 w 1680"/>
                <a:gd name="T27" fmla="*/ 1716 h 2155"/>
                <a:gd name="T28" fmla="*/ 1109 w 1680"/>
                <a:gd name="T29" fmla="*/ 1489 h 2155"/>
                <a:gd name="T30" fmla="*/ 936 w 1680"/>
                <a:gd name="T31" fmla="*/ 1524 h 2155"/>
                <a:gd name="T32" fmla="*/ 682 w 1680"/>
                <a:gd name="T33" fmla="*/ 1597 h 2155"/>
                <a:gd name="T34" fmla="*/ 494 w 1680"/>
                <a:gd name="T35" fmla="*/ 1532 h 2155"/>
                <a:gd name="T36" fmla="*/ 796 w 1680"/>
                <a:gd name="T37" fmla="*/ 1580 h 2155"/>
                <a:gd name="T38" fmla="*/ 876 w 1680"/>
                <a:gd name="T39" fmla="*/ 2075 h 2155"/>
                <a:gd name="T40" fmla="*/ 236 w 1680"/>
                <a:gd name="T41" fmla="*/ 491 h 2155"/>
                <a:gd name="T42" fmla="*/ 334 w 1680"/>
                <a:gd name="T43" fmla="*/ 345 h 2155"/>
                <a:gd name="T44" fmla="*/ 808 w 1680"/>
                <a:gd name="T45" fmla="*/ 31 h 2155"/>
                <a:gd name="T46" fmla="*/ 866 w 1680"/>
                <a:gd name="T47" fmla="*/ 31 h 2155"/>
                <a:gd name="T48" fmla="*/ 1423 w 1680"/>
                <a:gd name="T49" fmla="*/ 460 h 2155"/>
                <a:gd name="T50" fmla="*/ 1436 w 1680"/>
                <a:gd name="T51" fmla="*/ 491 h 2155"/>
                <a:gd name="T52" fmla="*/ 1346 w 1680"/>
                <a:gd name="T53" fmla="*/ 640 h 2155"/>
                <a:gd name="T54" fmla="*/ 1262 w 1680"/>
                <a:gd name="T55" fmla="*/ 731 h 2155"/>
                <a:gd name="T56" fmla="*/ 1002 w 1680"/>
                <a:gd name="T57" fmla="*/ 724 h 2155"/>
                <a:gd name="T58" fmla="*/ 669 w 1680"/>
                <a:gd name="T59" fmla="*/ 724 h 2155"/>
                <a:gd name="T60" fmla="*/ 412 w 1680"/>
                <a:gd name="T61" fmla="*/ 731 h 2155"/>
                <a:gd name="T62" fmla="*/ 265 w 1680"/>
                <a:gd name="T63" fmla="*/ 567 h 2155"/>
                <a:gd name="T64" fmla="*/ 1324 w 1680"/>
                <a:gd name="T65" fmla="*/ 803 h 2155"/>
                <a:gd name="T66" fmla="*/ 1238 w 1680"/>
                <a:gd name="T67" fmla="*/ 1043 h 2155"/>
                <a:gd name="T68" fmla="*/ 1164 w 1680"/>
                <a:gd name="T69" fmla="*/ 1431 h 2155"/>
                <a:gd name="T70" fmla="*/ 1547 w 1680"/>
                <a:gd name="T71" fmla="*/ 1597 h 2155"/>
                <a:gd name="T72" fmla="*/ 1504 w 1680"/>
                <a:gd name="T73" fmla="*/ 2064 h 2155"/>
                <a:gd name="T74" fmla="*/ 840 w 1680"/>
                <a:gd name="T75" fmla="*/ 2155 h 2155"/>
                <a:gd name="T76" fmla="*/ 175 w 1680"/>
                <a:gd name="T77" fmla="*/ 2064 h 2155"/>
                <a:gd name="T78" fmla="*/ 132 w 1680"/>
                <a:gd name="T79" fmla="*/ 1597 h 2155"/>
                <a:gd name="T80" fmla="*/ 514 w 1680"/>
                <a:gd name="T81" fmla="*/ 1431 h 2155"/>
                <a:gd name="T82" fmla="*/ 438 w 1680"/>
                <a:gd name="T83" fmla="*/ 1029 h 2155"/>
                <a:gd name="T84" fmla="*/ 352 w 1680"/>
                <a:gd name="T85" fmla="*/ 789 h 2155"/>
                <a:gd name="T86" fmla="*/ 491 w 1680"/>
                <a:gd name="T87" fmla="*/ 826 h 2155"/>
                <a:gd name="T88" fmla="*/ 836 w 1680"/>
                <a:gd name="T89" fmla="*/ 783 h 2155"/>
                <a:gd name="T90" fmla="*/ 1180 w 1680"/>
                <a:gd name="T91" fmla="*/ 826 h 2155"/>
                <a:gd name="T92" fmla="*/ 1328 w 1680"/>
                <a:gd name="T93" fmla="*/ 784 h 2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80" h="2155">
                  <a:moveTo>
                    <a:pt x="1271" y="608"/>
                  </a:moveTo>
                  <a:cubicBezTo>
                    <a:pt x="1282" y="586"/>
                    <a:pt x="1306" y="568"/>
                    <a:pt x="1322" y="548"/>
                  </a:cubicBezTo>
                  <a:cubicBezTo>
                    <a:pt x="1217" y="425"/>
                    <a:pt x="989" y="391"/>
                    <a:pt x="836" y="391"/>
                  </a:cubicBezTo>
                  <a:cubicBezTo>
                    <a:pt x="680" y="391"/>
                    <a:pt x="459" y="424"/>
                    <a:pt x="349" y="547"/>
                  </a:cubicBezTo>
                  <a:cubicBezTo>
                    <a:pt x="366" y="568"/>
                    <a:pt x="388" y="585"/>
                    <a:pt x="400" y="608"/>
                  </a:cubicBezTo>
                  <a:cubicBezTo>
                    <a:pt x="403" y="606"/>
                    <a:pt x="406" y="604"/>
                    <a:pt x="408" y="602"/>
                  </a:cubicBezTo>
                  <a:cubicBezTo>
                    <a:pt x="511" y="495"/>
                    <a:pt x="695" y="471"/>
                    <a:pt x="836" y="471"/>
                  </a:cubicBezTo>
                  <a:cubicBezTo>
                    <a:pt x="976" y="471"/>
                    <a:pt x="1160" y="495"/>
                    <a:pt x="1263" y="601"/>
                  </a:cubicBezTo>
                  <a:cubicBezTo>
                    <a:pt x="1266" y="604"/>
                    <a:pt x="1268" y="606"/>
                    <a:pt x="1271" y="608"/>
                  </a:cubicBezTo>
                  <a:close/>
                  <a:moveTo>
                    <a:pt x="1116" y="1762"/>
                  </a:moveTo>
                  <a:cubicBezTo>
                    <a:pt x="1116" y="1874"/>
                    <a:pt x="1116" y="1874"/>
                    <a:pt x="1116" y="1874"/>
                  </a:cubicBezTo>
                  <a:cubicBezTo>
                    <a:pt x="1116" y="1945"/>
                    <a:pt x="1154" y="2005"/>
                    <a:pt x="1217" y="2038"/>
                  </a:cubicBezTo>
                  <a:cubicBezTo>
                    <a:pt x="1235" y="2047"/>
                    <a:pt x="1235" y="2047"/>
                    <a:pt x="1235" y="2047"/>
                  </a:cubicBezTo>
                  <a:cubicBezTo>
                    <a:pt x="1254" y="2038"/>
                    <a:pt x="1254" y="2038"/>
                    <a:pt x="1254" y="2038"/>
                  </a:cubicBezTo>
                  <a:cubicBezTo>
                    <a:pt x="1317" y="2005"/>
                    <a:pt x="1355" y="1945"/>
                    <a:pt x="1355" y="1874"/>
                  </a:cubicBezTo>
                  <a:cubicBezTo>
                    <a:pt x="1355" y="1762"/>
                    <a:pt x="1355" y="1762"/>
                    <a:pt x="1355" y="1762"/>
                  </a:cubicBezTo>
                  <a:cubicBezTo>
                    <a:pt x="1275" y="1762"/>
                    <a:pt x="1195" y="1762"/>
                    <a:pt x="1116" y="1762"/>
                  </a:cubicBezTo>
                  <a:close/>
                  <a:moveTo>
                    <a:pt x="756" y="182"/>
                  </a:moveTo>
                  <a:cubicBezTo>
                    <a:pt x="756" y="248"/>
                    <a:pt x="756" y="248"/>
                    <a:pt x="756" y="248"/>
                  </a:cubicBezTo>
                  <a:cubicBezTo>
                    <a:pt x="756" y="291"/>
                    <a:pt x="779" y="328"/>
                    <a:pt x="817" y="348"/>
                  </a:cubicBezTo>
                  <a:cubicBezTo>
                    <a:pt x="836" y="357"/>
                    <a:pt x="836" y="357"/>
                    <a:pt x="836" y="357"/>
                  </a:cubicBezTo>
                  <a:cubicBezTo>
                    <a:pt x="854" y="348"/>
                    <a:pt x="854" y="348"/>
                    <a:pt x="854" y="348"/>
                  </a:cubicBezTo>
                  <a:cubicBezTo>
                    <a:pt x="892" y="328"/>
                    <a:pt x="916" y="291"/>
                    <a:pt x="916" y="248"/>
                  </a:cubicBezTo>
                  <a:cubicBezTo>
                    <a:pt x="916" y="182"/>
                    <a:pt x="916" y="182"/>
                    <a:pt x="916" y="182"/>
                  </a:cubicBezTo>
                  <a:cubicBezTo>
                    <a:pt x="862" y="182"/>
                    <a:pt x="809" y="182"/>
                    <a:pt x="756" y="182"/>
                  </a:cubicBezTo>
                  <a:close/>
                  <a:moveTo>
                    <a:pt x="876" y="2075"/>
                  </a:moveTo>
                  <a:cubicBezTo>
                    <a:pt x="876" y="1575"/>
                    <a:pt x="876" y="1575"/>
                    <a:pt x="876" y="1575"/>
                  </a:cubicBezTo>
                  <a:cubicBezTo>
                    <a:pt x="989" y="1716"/>
                    <a:pt x="989" y="1716"/>
                    <a:pt x="989" y="1716"/>
                  </a:cubicBezTo>
                  <a:cubicBezTo>
                    <a:pt x="1181" y="1530"/>
                    <a:pt x="1181" y="1530"/>
                    <a:pt x="1181" y="1530"/>
                  </a:cubicBezTo>
                  <a:cubicBezTo>
                    <a:pt x="1159" y="1521"/>
                    <a:pt x="1128" y="1505"/>
                    <a:pt x="1109" y="1489"/>
                  </a:cubicBezTo>
                  <a:cubicBezTo>
                    <a:pt x="996" y="1598"/>
                    <a:pt x="996" y="1598"/>
                    <a:pt x="996" y="1598"/>
                  </a:cubicBezTo>
                  <a:cubicBezTo>
                    <a:pt x="936" y="1524"/>
                    <a:pt x="936" y="1524"/>
                    <a:pt x="936" y="1524"/>
                  </a:cubicBezTo>
                  <a:cubicBezTo>
                    <a:pt x="872" y="1538"/>
                    <a:pt x="803" y="1538"/>
                    <a:pt x="739" y="1523"/>
                  </a:cubicBezTo>
                  <a:cubicBezTo>
                    <a:pt x="682" y="1597"/>
                    <a:pt x="682" y="1597"/>
                    <a:pt x="682" y="1597"/>
                  </a:cubicBezTo>
                  <a:cubicBezTo>
                    <a:pt x="568" y="1491"/>
                    <a:pt x="568" y="1491"/>
                    <a:pt x="568" y="1491"/>
                  </a:cubicBezTo>
                  <a:cubicBezTo>
                    <a:pt x="548" y="1507"/>
                    <a:pt x="517" y="1522"/>
                    <a:pt x="494" y="1532"/>
                  </a:cubicBezTo>
                  <a:cubicBezTo>
                    <a:pt x="692" y="1716"/>
                    <a:pt x="692" y="1716"/>
                    <a:pt x="692" y="1716"/>
                  </a:cubicBezTo>
                  <a:cubicBezTo>
                    <a:pt x="796" y="1580"/>
                    <a:pt x="796" y="1580"/>
                    <a:pt x="796" y="1580"/>
                  </a:cubicBezTo>
                  <a:cubicBezTo>
                    <a:pt x="796" y="2075"/>
                    <a:pt x="796" y="2075"/>
                    <a:pt x="796" y="2075"/>
                  </a:cubicBezTo>
                  <a:cubicBezTo>
                    <a:pt x="822" y="2075"/>
                    <a:pt x="849" y="2075"/>
                    <a:pt x="876" y="2075"/>
                  </a:cubicBezTo>
                  <a:close/>
                  <a:moveTo>
                    <a:pt x="265" y="567"/>
                  </a:moveTo>
                  <a:cubicBezTo>
                    <a:pt x="248" y="542"/>
                    <a:pt x="236" y="515"/>
                    <a:pt x="236" y="491"/>
                  </a:cubicBezTo>
                  <a:cubicBezTo>
                    <a:pt x="236" y="474"/>
                    <a:pt x="236" y="474"/>
                    <a:pt x="236" y="474"/>
                  </a:cubicBezTo>
                  <a:cubicBezTo>
                    <a:pt x="277" y="434"/>
                    <a:pt x="308" y="397"/>
                    <a:pt x="334" y="345"/>
                  </a:cubicBezTo>
                  <a:cubicBezTo>
                    <a:pt x="365" y="283"/>
                    <a:pt x="373" y="233"/>
                    <a:pt x="382" y="167"/>
                  </a:cubicBezTo>
                  <a:cubicBezTo>
                    <a:pt x="549" y="187"/>
                    <a:pt x="688" y="158"/>
                    <a:pt x="808" y="31"/>
                  </a:cubicBezTo>
                  <a:cubicBezTo>
                    <a:pt x="836" y="0"/>
                    <a:pt x="836" y="0"/>
                    <a:pt x="836" y="0"/>
                  </a:cubicBezTo>
                  <a:cubicBezTo>
                    <a:pt x="866" y="31"/>
                    <a:pt x="866" y="31"/>
                    <a:pt x="866" y="31"/>
                  </a:cubicBezTo>
                  <a:cubicBezTo>
                    <a:pt x="985" y="158"/>
                    <a:pt x="1125" y="187"/>
                    <a:pt x="1291" y="167"/>
                  </a:cubicBezTo>
                  <a:cubicBezTo>
                    <a:pt x="1307" y="287"/>
                    <a:pt x="1335" y="374"/>
                    <a:pt x="1423" y="460"/>
                  </a:cubicBezTo>
                  <a:cubicBezTo>
                    <a:pt x="1435" y="472"/>
                    <a:pt x="1435" y="472"/>
                    <a:pt x="1435" y="472"/>
                  </a:cubicBezTo>
                  <a:cubicBezTo>
                    <a:pt x="1436" y="491"/>
                    <a:pt x="1436" y="491"/>
                    <a:pt x="1436" y="491"/>
                  </a:cubicBezTo>
                  <a:cubicBezTo>
                    <a:pt x="1436" y="519"/>
                    <a:pt x="1422" y="548"/>
                    <a:pt x="1401" y="577"/>
                  </a:cubicBezTo>
                  <a:cubicBezTo>
                    <a:pt x="1386" y="598"/>
                    <a:pt x="1366" y="619"/>
                    <a:pt x="1346" y="640"/>
                  </a:cubicBezTo>
                  <a:cubicBezTo>
                    <a:pt x="1346" y="641"/>
                    <a:pt x="1343" y="643"/>
                    <a:pt x="1342" y="644"/>
                  </a:cubicBezTo>
                  <a:cubicBezTo>
                    <a:pt x="1317" y="692"/>
                    <a:pt x="1289" y="718"/>
                    <a:pt x="1262" y="731"/>
                  </a:cubicBezTo>
                  <a:cubicBezTo>
                    <a:pt x="1231" y="746"/>
                    <a:pt x="1205" y="746"/>
                    <a:pt x="1180" y="746"/>
                  </a:cubicBezTo>
                  <a:cubicBezTo>
                    <a:pt x="1119" y="746"/>
                    <a:pt x="1061" y="735"/>
                    <a:pt x="1002" y="724"/>
                  </a:cubicBezTo>
                  <a:cubicBezTo>
                    <a:pt x="948" y="714"/>
                    <a:pt x="892" y="703"/>
                    <a:pt x="836" y="703"/>
                  </a:cubicBezTo>
                  <a:cubicBezTo>
                    <a:pt x="779" y="703"/>
                    <a:pt x="724" y="714"/>
                    <a:pt x="669" y="724"/>
                  </a:cubicBezTo>
                  <a:cubicBezTo>
                    <a:pt x="610" y="735"/>
                    <a:pt x="552" y="746"/>
                    <a:pt x="491" y="746"/>
                  </a:cubicBezTo>
                  <a:cubicBezTo>
                    <a:pt x="469" y="746"/>
                    <a:pt x="443" y="746"/>
                    <a:pt x="412" y="731"/>
                  </a:cubicBezTo>
                  <a:cubicBezTo>
                    <a:pt x="374" y="713"/>
                    <a:pt x="349" y="681"/>
                    <a:pt x="329" y="644"/>
                  </a:cubicBezTo>
                  <a:cubicBezTo>
                    <a:pt x="312" y="627"/>
                    <a:pt x="285" y="597"/>
                    <a:pt x="265" y="567"/>
                  </a:cubicBezTo>
                  <a:close/>
                  <a:moveTo>
                    <a:pt x="1328" y="784"/>
                  </a:moveTo>
                  <a:cubicBezTo>
                    <a:pt x="1327" y="791"/>
                    <a:pt x="1326" y="797"/>
                    <a:pt x="1324" y="803"/>
                  </a:cubicBezTo>
                  <a:cubicBezTo>
                    <a:pt x="1344" y="887"/>
                    <a:pt x="1316" y="982"/>
                    <a:pt x="1242" y="1029"/>
                  </a:cubicBezTo>
                  <a:cubicBezTo>
                    <a:pt x="1240" y="1035"/>
                    <a:pt x="1239" y="1039"/>
                    <a:pt x="1238" y="1043"/>
                  </a:cubicBezTo>
                  <a:cubicBezTo>
                    <a:pt x="1219" y="1116"/>
                    <a:pt x="1199" y="1193"/>
                    <a:pt x="1147" y="1253"/>
                  </a:cubicBezTo>
                  <a:cubicBezTo>
                    <a:pt x="1146" y="1300"/>
                    <a:pt x="1126" y="1407"/>
                    <a:pt x="1164" y="1431"/>
                  </a:cubicBezTo>
                  <a:cubicBezTo>
                    <a:pt x="1195" y="1447"/>
                    <a:pt x="1216" y="1457"/>
                    <a:pt x="1249" y="1471"/>
                  </a:cubicBezTo>
                  <a:cubicBezTo>
                    <a:pt x="1333" y="1499"/>
                    <a:pt x="1487" y="1539"/>
                    <a:pt x="1547" y="1597"/>
                  </a:cubicBezTo>
                  <a:cubicBezTo>
                    <a:pt x="1634" y="1682"/>
                    <a:pt x="1680" y="1813"/>
                    <a:pt x="1680" y="1931"/>
                  </a:cubicBezTo>
                  <a:cubicBezTo>
                    <a:pt x="1680" y="1989"/>
                    <a:pt x="1608" y="2032"/>
                    <a:pt x="1504" y="2064"/>
                  </a:cubicBezTo>
                  <a:cubicBezTo>
                    <a:pt x="1476" y="2075"/>
                    <a:pt x="1444" y="2085"/>
                    <a:pt x="1411" y="2094"/>
                  </a:cubicBezTo>
                  <a:cubicBezTo>
                    <a:pt x="1233" y="2141"/>
                    <a:pt x="985" y="2155"/>
                    <a:pt x="840" y="2155"/>
                  </a:cubicBezTo>
                  <a:cubicBezTo>
                    <a:pt x="694" y="2155"/>
                    <a:pt x="446" y="2141"/>
                    <a:pt x="268" y="2094"/>
                  </a:cubicBezTo>
                  <a:cubicBezTo>
                    <a:pt x="235" y="2085"/>
                    <a:pt x="204" y="2075"/>
                    <a:pt x="175" y="2064"/>
                  </a:cubicBezTo>
                  <a:cubicBezTo>
                    <a:pt x="72" y="2032"/>
                    <a:pt x="0" y="1989"/>
                    <a:pt x="0" y="1931"/>
                  </a:cubicBezTo>
                  <a:cubicBezTo>
                    <a:pt x="0" y="1813"/>
                    <a:pt x="45" y="1682"/>
                    <a:pt x="132" y="1597"/>
                  </a:cubicBezTo>
                  <a:cubicBezTo>
                    <a:pt x="183" y="1547"/>
                    <a:pt x="322" y="1503"/>
                    <a:pt x="395" y="1481"/>
                  </a:cubicBezTo>
                  <a:cubicBezTo>
                    <a:pt x="444" y="1467"/>
                    <a:pt x="470" y="1457"/>
                    <a:pt x="514" y="1431"/>
                  </a:cubicBezTo>
                  <a:cubicBezTo>
                    <a:pt x="553" y="1409"/>
                    <a:pt x="535" y="1301"/>
                    <a:pt x="533" y="1253"/>
                  </a:cubicBezTo>
                  <a:cubicBezTo>
                    <a:pt x="478" y="1191"/>
                    <a:pt x="458" y="1108"/>
                    <a:pt x="438" y="1029"/>
                  </a:cubicBezTo>
                  <a:cubicBezTo>
                    <a:pt x="364" y="983"/>
                    <a:pt x="336" y="886"/>
                    <a:pt x="355" y="803"/>
                  </a:cubicBezTo>
                  <a:cubicBezTo>
                    <a:pt x="354" y="799"/>
                    <a:pt x="353" y="794"/>
                    <a:pt x="352" y="789"/>
                  </a:cubicBezTo>
                  <a:cubicBezTo>
                    <a:pt x="360" y="795"/>
                    <a:pt x="368" y="799"/>
                    <a:pt x="378" y="804"/>
                  </a:cubicBezTo>
                  <a:cubicBezTo>
                    <a:pt x="416" y="822"/>
                    <a:pt x="450" y="826"/>
                    <a:pt x="491" y="826"/>
                  </a:cubicBezTo>
                  <a:cubicBezTo>
                    <a:pt x="557" y="826"/>
                    <a:pt x="620" y="815"/>
                    <a:pt x="684" y="803"/>
                  </a:cubicBezTo>
                  <a:cubicBezTo>
                    <a:pt x="734" y="793"/>
                    <a:pt x="785" y="783"/>
                    <a:pt x="836" y="783"/>
                  </a:cubicBezTo>
                  <a:cubicBezTo>
                    <a:pt x="886" y="783"/>
                    <a:pt x="938" y="793"/>
                    <a:pt x="988" y="803"/>
                  </a:cubicBezTo>
                  <a:cubicBezTo>
                    <a:pt x="1052" y="815"/>
                    <a:pt x="1114" y="826"/>
                    <a:pt x="1180" y="826"/>
                  </a:cubicBezTo>
                  <a:cubicBezTo>
                    <a:pt x="1223" y="826"/>
                    <a:pt x="1258" y="823"/>
                    <a:pt x="1297" y="803"/>
                  </a:cubicBezTo>
                  <a:cubicBezTo>
                    <a:pt x="1308" y="798"/>
                    <a:pt x="1318" y="791"/>
                    <a:pt x="1328" y="78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xmlns="" id="{E5CF8CF7-4D4D-4A1A-88E0-E7912F2729DD}"/>
                </a:ext>
              </a:extLst>
            </p:cNvPr>
            <p:cNvSpPr/>
            <p:nvPr/>
          </p:nvSpPr>
          <p:spPr bwMode="gray">
            <a:xfrm>
              <a:off x="8159759" y="4996485"/>
              <a:ext cx="1084647" cy="540094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CuadroTexto 24">
              <a:extLst>
                <a:ext uri="{FF2B5EF4-FFF2-40B4-BE49-F238E27FC236}">
                  <a16:creationId xmlns:a16="http://schemas.microsoft.com/office/drawing/2014/main" xmlns="" id="{7A8A3EAB-1CE0-406A-A45D-A84C96ED5B1A}"/>
                </a:ext>
              </a:extLst>
            </p:cNvPr>
            <p:cNvSpPr txBox="1"/>
            <p:nvPr/>
          </p:nvSpPr>
          <p:spPr bwMode="gray">
            <a:xfrm>
              <a:off x="8553804" y="4601538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3%</a:t>
              </a:r>
            </a:p>
          </p:txBody>
        </p:sp>
        <p:pic>
          <p:nvPicPr>
            <p:cNvPr id="35" name="chart">
              <a:extLst>
                <a:ext uri="{FF2B5EF4-FFF2-40B4-BE49-F238E27FC236}">
                  <a16:creationId xmlns:a16="http://schemas.microsoft.com/office/drawing/2014/main" xmlns="" id="{0F41F94F-0D2D-4E9A-8882-F9FFBE3C4D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8268934" y="5729879"/>
              <a:ext cx="895238" cy="266667"/>
            </a:xfrm>
            <a:prstGeom prst="rect">
              <a:avLst/>
            </a:prstGeom>
          </p:spPr>
        </p:pic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xmlns="" id="{A16A8785-2CAF-4370-916B-3C748CF5777A}"/>
              </a:ext>
            </a:extLst>
          </p:cNvPr>
          <p:cNvGrpSpPr/>
          <p:nvPr/>
        </p:nvGrpSpPr>
        <p:grpSpPr>
          <a:xfrm>
            <a:off x="9968168" y="3512973"/>
            <a:ext cx="1173523" cy="2478811"/>
            <a:chOff x="9968168" y="3512973"/>
            <a:chExt cx="1173523" cy="2478811"/>
          </a:xfrm>
        </p:grpSpPr>
        <p:sp>
          <p:nvSpPr>
            <p:cNvPr id="31" name="Freeform 42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9979319" y="3512973"/>
              <a:ext cx="1082263" cy="970306"/>
            </a:xfrm>
            <a:custGeom>
              <a:avLst/>
              <a:gdLst>
                <a:gd name="T0" fmla="*/ 0 w 5481"/>
                <a:gd name="T1" fmla="*/ 4725 h 4914"/>
                <a:gd name="T2" fmla="*/ 284 w 5481"/>
                <a:gd name="T3" fmla="*/ 4725 h 4914"/>
                <a:gd name="T4" fmla="*/ 284 w 5481"/>
                <a:gd name="T5" fmla="*/ 1134 h 4914"/>
                <a:gd name="T6" fmla="*/ 1040 w 5481"/>
                <a:gd name="T7" fmla="*/ 1134 h 4914"/>
                <a:gd name="T8" fmla="*/ 1040 w 5481"/>
                <a:gd name="T9" fmla="*/ 4725 h 4914"/>
                <a:gd name="T10" fmla="*/ 1229 w 5481"/>
                <a:gd name="T11" fmla="*/ 4725 h 4914"/>
                <a:gd name="T12" fmla="*/ 1229 w 5481"/>
                <a:gd name="T13" fmla="*/ 0 h 4914"/>
                <a:gd name="T14" fmla="*/ 4252 w 5481"/>
                <a:gd name="T15" fmla="*/ 0 h 4914"/>
                <a:gd name="T16" fmla="*/ 4252 w 5481"/>
                <a:gd name="T17" fmla="*/ 4725 h 4914"/>
                <a:gd name="T18" fmla="*/ 4441 w 5481"/>
                <a:gd name="T19" fmla="*/ 4725 h 4914"/>
                <a:gd name="T20" fmla="*/ 4441 w 5481"/>
                <a:gd name="T21" fmla="*/ 1134 h 4914"/>
                <a:gd name="T22" fmla="*/ 5197 w 5481"/>
                <a:gd name="T23" fmla="*/ 1134 h 4914"/>
                <a:gd name="T24" fmla="*/ 5197 w 5481"/>
                <a:gd name="T25" fmla="*/ 4725 h 4914"/>
                <a:gd name="T26" fmla="*/ 5481 w 5481"/>
                <a:gd name="T27" fmla="*/ 4725 h 4914"/>
                <a:gd name="T28" fmla="*/ 5481 w 5481"/>
                <a:gd name="T29" fmla="*/ 4914 h 4914"/>
                <a:gd name="T30" fmla="*/ 3213 w 5481"/>
                <a:gd name="T31" fmla="*/ 4914 h 4914"/>
                <a:gd name="T32" fmla="*/ 3213 w 5481"/>
                <a:gd name="T33" fmla="*/ 3496 h 4914"/>
                <a:gd name="T34" fmla="*/ 2268 w 5481"/>
                <a:gd name="T35" fmla="*/ 3496 h 4914"/>
                <a:gd name="T36" fmla="*/ 2268 w 5481"/>
                <a:gd name="T37" fmla="*/ 4914 h 4914"/>
                <a:gd name="T38" fmla="*/ 0 w 5481"/>
                <a:gd name="T39" fmla="*/ 4914 h 4914"/>
                <a:gd name="T40" fmla="*/ 0 w 5481"/>
                <a:gd name="T41" fmla="*/ 4725 h 4914"/>
                <a:gd name="T42" fmla="*/ 1985 w 5481"/>
                <a:gd name="T43" fmla="*/ 1701 h 4914"/>
                <a:gd name="T44" fmla="*/ 2552 w 5481"/>
                <a:gd name="T45" fmla="*/ 1701 h 4914"/>
                <a:gd name="T46" fmla="*/ 2552 w 5481"/>
                <a:gd name="T47" fmla="*/ 2268 h 4914"/>
                <a:gd name="T48" fmla="*/ 2929 w 5481"/>
                <a:gd name="T49" fmla="*/ 2268 h 4914"/>
                <a:gd name="T50" fmla="*/ 2929 w 5481"/>
                <a:gd name="T51" fmla="*/ 1701 h 4914"/>
                <a:gd name="T52" fmla="*/ 3496 w 5481"/>
                <a:gd name="T53" fmla="*/ 1701 h 4914"/>
                <a:gd name="T54" fmla="*/ 3496 w 5481"/>
                <a:gd name="T55" fmla="*/ 1323 h 4914"/>
                <a:gd name="T56" fmla="*/ 2929 w 5481"/>
                <a:gd name="T57" fmla="*/ 1323 h 4914"/>
                <a:gd name="T58" fmla="*/ 2929 w 5481"/>
                <a:gd name="T59" fmla="*/ 756 h 4914"/>
                <a:gd name="T60" fmla="*/ 2552 w 5481"/>
                <a:gd name="T61" fmla="*/ 756 h 4914"/>
                <a:gd name="T62" fmla="*/ 2552 w 5481"/>
                <a:gd name="T63" fmla="*/ 1323 h 4914"/>
                <a:gd name="T64" fmla="*/ 1985 w 5481"/>
                <a:gd name="T65" fmla="*/ 1323 h 4914"/>
                <a:gd name="T66" fmla="*/ 1985 w 5481"/>
                <a:gd name="T67" fmla="*/ 1701 h 4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481" h="4914">
                  <a:moveTo>
                    <a:pt x="0" y="4725"/>
                  </a:moveTo>
                  <a:lnTo>
                    <a:pt x="284" y="4725"/>
                  </a:lnTo>
                  <a:lnTo>
                    <a:pt x="284" y="1134"/>
                  </a:lnTo>
                  <a:lnTo>
                    <a:pt x="1040" y="1134"/>
                  </a:lnTo>
                  <a:lnTo>
                    <a:pt x="1040" y="4725"/>
                  </a:lnTo>
                  <a:lnTo>
                    <a:pt x="1229" y="4725"/>
                  </a:lnTo>
                  <a:lnTo>
                    <a:pt x="1229" y="0"/>
                  </a:lnTo>
                  <a:lnTo>
                    <a:pt x="4252" y="0"/>
                  </a:lnTo>
                  <a:lnTo>
                    <a:pt x="4252" y="4725"/>
                  </a:lnTo>
                  <a:lnTo>
                    <a:pt x="4441" y="4725"/>
                  </a:lnTo>
                  <a:lnTo>
                    <a:pt x="4441" y="1134"/>
                  </a:lnTo>
                  <a:lnTo>
                    <a:pt x="5197" y="1134"/>
                  </a:lnTo>
                  <a:lnTo>
                    <a:pt x="5197" y="4725"/>
                  </a:lnTo>
                  <a:lnTo>
                    <a:pt x="5481" y="4725"/>
                  </a:lnTo>
                  <a:lnTo>
                    <a:pt x="5481" y="4914"/>
                  </a:lnTo>
                  <a:lnTo>
                    <a:pt x="3213" y="4914"/>
                  </a:lnTo>
                  <a:lnTo>
                    <a:pt x="3213" y="3496"/>
                  </a:lnTo>
                  <a:lnTo>
                    <a:pt x="2268" y="3496"/>
                  </a:lnTo>
                  <a:lnTo>
                    <a:pt x="2268" y="4914"/>
                  </a:lnTo>
                  <a:lnTo>
                    <a:pt x="0" y="4914"/>
                  </a:lnTo>
                  <a:lnTo>
                    <a:pt x="0" y="4725"/>
                  </a:lnTo>
                  <a:close/>
                  <a:moveTo>
                    <a:pt x="1985" y="1701"/>
                  </a:moveTo>
                  <a:lnTo>
                    <a:pt x="2552" y="1701"/>
                  </a:lnTo>
                  <a:lnTo>
                    <a:pt x="2552" y="2268"/>
                  </a:lnTo>
                  <a:lnTo>
                    <a:pt x="2929" y="2268"/>
                  </a:lnTo>
                  <a:lnTo>
                    <a:pt x="2929" y="1701"/>
                  </a:lnTo>
                  <a:lnTo>
                    <a:pt x="3496" y="1701"/>
                  </a:lnTo>
                  <a:lnTo>
                    <a:pt x="3496" y="1323"/>
                  </a:lnTo>
                  <a:lnTo>
                    <a:pt x="2929" y="1323"/>
                  </a:lnTo>
                  <a:lnTo>
                    <a:pt x="2929" y="756"/>
                  </a:lnTo>
                  <a:lnTo>
                    <a:pt x="2552" y="756"/>
                  </a:lnTo>
                  <a:lnTo>
                    <a:pt x="2552" y="1323"/>
                  </a:lnTo>
                  <a:lnTo>
                    <a:pt x="1985" y="1323"/>
                  </a:lnTo>
                  <a:lnTo>
                    <a:pt x="1985" y="1701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/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xmlns="" id="{ED33C10A-921E-4D3B-8146-904E49C802F0}"/>
                </a:ext>
              </a:extLst>
            </p:cNvPr>
            <p:cNvSpPr/>
            <p:nvPr/>
          </p:nvSpPr>
          <p:spPr bwMode="gray">
            <a:xfrm>
              <a:off x="9968168" y="5018787"/>
              <a:ext cx="1082263" cy="528943"/>
            </a:xfrm>
            <a:prstGeom prst="rect">
              <a:avLst/>
            </a:prstGeom>
            <a:solidFill>
              <a:schemeClr val="tx2"/>
            </a:solidFill>
            <a:ln>
              <a:solidFill>
                <a:srgbClr val="BCB4B0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PE" sz="1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CuadroTexto 25">
              <a:extLst>
                <a:ext uri="{FF2B5EF4-FFF2-40B4-BE49-F238E27FC236}">
                  <a16:creationId xmlns:a16="http://schemas.microsoft.com/office/drawing/2014/main" xmlns="" id="{F322ADEF-5594-42B2-8D38-D487505D10AC}"/>
                </a:ext>
              </a:extLst>
            </p:cNvPr>
            <p:cNvSpPr txBox="1"/>
            <p:nvPr/>
          </p:nvSpPr>
          <p:spPr bwMode="gray">
            <a:xfrm>
              <a:off x="10361021" y="4601537"/>
              <a:ext cx="296556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PE" sz="1600" b="1" dirty="0">
                  <a:latin typeface="Arial" pitchFamily="34" charset="0"/>
                  <a:cs typeface="Arial" pitchFamily="34" charset="0"/>
                </a:rPr>
                <a:t>3%</a:t>
              </a:r>
            </a:p>
          </p:txBody>
        </p:sp>
        <p:pic>
          <p:nvPicPr>
            <p:cNvPr id="36" name="chart">
              <a:extLst>
                <a:ext uri="{FF2B5EF4-FFF2-40B4-BE49-F238E27FC236}">
                  <a16:creationId xmlns:a16="http://schemas.microsoft.com/office/drawing/2014/main" xmlns="" id="{EBAA4D0B-540B-4878-9F9A-B047713511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9998834" y="5734641"/>
              <a:ext cx="1142857" cy="2571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4847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475502" y="288588"/>
            <a:ext cx="8873213" cy="556612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Denuncias vinculadas a favores sexuales: 58% no denuncia</a:t>
            </a:r>
          </a:p>
        </p:txBody>
      </p:sp>
      <p:sp>
        <p:nvSpPr>
          <p:cNvPr id="2" name="Rectángulo 1"/>
          <p:cNvSpPr/>
          <p:nvPr/>
        </p:nvSpPr>
        <p:spPr>
          <a:xfrm>
            <a:off x="6436217" y="884714"/>
            <a:ext cx="50897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sz="1600" dirty="0">
                <a:latin typeface="Corbel" panose="020B0503020204020204" pitchFamily="34" charset="0"/>
              </a:rPr>
              <a:t>¿Por qué no lo denunció?  </a:t>
            </a:r>
            <a:r>
              <a:rPr lang="es-ES" sz="1600" dirty="0" smtClean="0">
                <a:latin typeface="Corbel" panose="020B0503020204020204" pitchFamily="34" charset="0"/>
              </a:rPr>
              <a:t>–</a:t>
            </a:r>
            <a:r>
              <a:rPr lang="es-419" sz="1600" b="1" dirty="0" smtClean="0">
                <a:latin typeface="Corbel" panose="020B0503020204020204" pitchFamily="34" charset="0"/>
              </a:rPr>
              <a:t>ESPONTÁNEA. MÚLTIPLE</a:t>
            </a:r>
            <a:endParaRPr lang="es-PE" sz="1600" b="1" dirty="0">
              <a:latin typeface="Corbel" panose="020B0503020204020204" pitchFamily="34" charset="0"/>
            </a:endParaRPr>
          </a:p>
        </p:txBody>
      </p:sp>
      <p:sp>
        <p:nvSpPr>
          <p:cNvPr id="6" name="Rectángulo 5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6900767" y="6475426"/>
            <a:ext cx="529123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Base: Total de entrevistados que no denunciaron el pedido de favores sexuales 114)</a:t>
            </a:r>
            <a:endParaRPr lang="es-PE" sz="1100" dirty="0"/>
          </a:p>
        </p:txBody>
      </p:sp>
      <p:sp>
        <p:nvSpPr>
          <p:cNvPr id="12" name="38 Elipse"/>
          <p:cNvSpPr/>
          <p:nvPr/>
        </p:nvSpPr>
        <p:spPr bwMode="gray">
          <a:xfrm>
            <a:off x="5368382" y="1231427"/>
            <a:ext cx="972000" cy="9000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27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42%</a:t>
            </a:r>
          </a:p>
        </p:txBody>
      </p:sp>
      <p:sp>
        <p:nvSpPr>
          <p:cNvPr id="13" name="39 Elipse"/>
          <p:cNvSpPr/>
          <p:nvPr/>
        </p:nvSpPr>
        <p:spPr bwMode="gray">
          <a:xfrm>
            <a:off x="5431382" y="2287877"/>
            <a:ext cx="846000" cy="719467"/>
          </a:xfrm>
          <a:prstGeom prst="ellipse">
            <a:avLst/>
          </a:prstGeom>
          <a:solidFill>
            <a:schemeClr val="accent1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20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34%</a:t>
            </a:r>
          </a:p>
        </p:txBody>
      </p:sp>
      <p:sp>
        <p:nvSpPr>
          <p:cNvPr id="14" name="40 Elipse"/>
          <p:cNvSpPr/>
          <p:nvPr/>
        </p:nvSpPr>
        <p:spPr bwMode="gray">
          <a:xfrm>
            <a:off x="5457573" y="3128528"/>
            <a:ext cx="761843" cy="648073"/>
          </a:xfrm>
          <a:prstGeom prst="ellipse">
            <a:avLst/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20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15%</a:t>
            </a:r>
          </a:p>
        </p:txBody>
      </p:sp>
      <p:sp>
        <p:nvSpPr>
          <p:cNvPr id="15" name="43 Rectángulo"/>
          <p:cNvSpPr/>
          <p:nvPr/>
        </p:nvSpPr>
        <p:spPr>
          <a:xfrm>
            <a:off x="6563736" y="1296979"/>
            <a:ext cx="481598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dirty="0">
                <a:solidFill>
                  <a:schemeClr val="tx2"/>
                </a:solidFill>
                <a:latin typeface="Corbel" panose="020B0503020204020204" pitchFamily="34" charset="0"/>
              </a:rPr>
              <a:t>Porque no sirve de nada/ las autoridades no hacen caso</a:t>
            </a:r>
            <a:endParaRPr lang="es-PE" sz="2800" b="1" dirty="0">
              <a:solidFill>
                <a:schemeClr val="tx2"/>
              </a:solidFill>
              <a:latin typeface="Corbel" panose="020B0503020204020204" pitchFamily="34" charset="0"/>
            </a:endParaRPr>
          </a:p>
        </p:txBody>
      </p:sp>
      <p:sp>
        <p:nvSpPr>
          <p:cNvPr id="16" name="44 Rectángulo"/>
          <p:cNvSpPr/>
          <p:nvPr/>
        </p:nvSpPr>
        <p:spPr>
          <a:xfrm>
            <a:off x="6601364" y="5549260"/>
            <a:ext cx="43633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PE" dirty="0">
                <a:solidFill>
                  <a:schemeClr val="accent1">
                    <a:lumMod val="75000"/>
                  </a:schemeClr>
                </a:solidFill>
                <a:latin typeface="Corbel" panose="020B0503020204020204" pitchFamily="34" charset="0"/>
              </a:rPr>
              <a:t>Porque obtuvo un beneficio</a:t>
            </a:r>
          </a:p>
        </p:txBody>
      </p:sp>
      <p:sp>
        <p:nvSpPr>
          <p:cNvPr id="17" name="45 Rectángulo"/>
          <p:cNvSpPr/>
          <p:nvPr/>
        </p:nvSpPr>
        <p:spPr>
          <a:xfrm>
            <a:off x="6601364" y="4793701"/>
            <a:ext cx="44357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PE" dirty="0">
                <a:solidFill>
                  <a:schemeClr val="accent5"/>
                </a:solidFill>
                <a:latin typeface="Corbel" panose="020B0503020204020204" pitchFamily="34" charset="0"/>
              </a:rPr>
              <a:t>Porque no tengo tiempo</a:t>
            </a:r>
          </a:p>
        </p:txBody>
      </p:sp>
      <p:sp>
        <p:nvSpPr>
          <p:cNvPr id="19" name="46 Rectángulo"/>
          <p:cNvSpPr/>
          <p:nvPr/>
        </p:nvSpPr>
        <p:spPr>
          <a:xfrm>
            <a:off x="6601364" y="2438987"/>
            <a:ext cx="41629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s-PE" sz="2400" dirty="0">
                <a:solidFill>
                  <a:schemeClr val="accent1"/>
                </a:solidFill>
                <a:latin typeface="Corbel" panose="020B0503020204020204" pitchFamily="34" charset="0"/>
              </a:rPr>
              <a:t>Por temor a represalias</a:t>
            </a:r>
          </a:p>
        </p:txBody>
      </p:sp>
      <p:sp>
        <p:nvSpPr>
          <p:cNvPr id="20" name="47 Rectángulo"/>
          <p:cNvSpPr/>
          <p:nvPr/>
        </p:nvSpPr>
        <p:spPr>
          <a:xfrm>
            <a:off x="6601363" y="4118097"/>
            <a:ext cx="53079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Corbel" panose="020B0503020204020204" pitchFamily="34" charset="0"/>
                <a:cs typeface="Arial" pitchFamily="34" charset="0"/>
              </a:rPr>
              <a:t>Por no saber ante quiénes tendría que denunciar</a:t>
            </a:r>
            <a:endParaRPr lang="es-PE" sz="2000" dirty="0">
              <a:solidFill>
                <a:schemeClr val="tx2">
                  <a:lumMod val="60000"/>
                  <a:lumOff val="40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21" name="41 Elipse"/>
          <p:cNvSpPr/>
          <p:nvPr/>
        </p:nvSpPr>
        <p:spPr bwMode="gray">
          <a:xfrm>
            <a:off x="5584798" y="5446949"/>
            <a:ext cx="539168" cy="507775"/>
          </a:xfrm>
          <a:prstGeom prst="ellipse">
            <a:avLst/>
          </a:prstGeom>
          <a:solidFill>
            <a:schemeClr val="accent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16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9%</a:t>
            </a:r>
          </a:p>
        </p:txBody>
      </p:sp>
      <p:sp>
        <p:nvSpPr>
          <p:cNvPr id="22" name="47 Rectángulo"/>
          <p:cNvSpPr/>
          <p:nvPr/>
        </p:nvSpPr>
        <p:spPr>
          <a:xfrm>
            <a:off x="6601363" y="3233892"/>
            <a:ext cx="50605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000" dirty="0">
                <a:solidFill>
                  <a:schemeClr val="accent5"/>
                </a:solidFill>
                <a:latin typeface="Corbel" panose="020B0503020204020204" pitchFamily="34" charset="0"/>
                <a:cs typeface="Arial" pitchFamily="34" charset="0"/>
              </a:rPr>
              <a:t>Por no saber cómo denunciar estos hechos</a:t>
            </a:r>
            <a:endParaRPr lang="es-PE" sz="2000" dirty="0">
              <a:solidFill>
                <a:schemeClr val="accent5"/>
              </a:solidFill>
              <a:latin typeface="Corbel" panose="020B0503020204020204" pitchFamily="34" charset="0"/>
            </a:endParaRPr>
          </a:p>
        </p:txBody>
      </p:sp>
      <p:sp>
        <p:nvSpPr>
          <p:cNvPr id="23" name="41 Elipse"/>
          <p:cNvSpPr/>
          <p:nvPr/>
        </p:nvSpPr>
        <p:spPr bwMode="gray">
          <a:xfrm>
            <a:off x="5519268" y="4700397"/>
            <a:ext cx="689835" cy="609991"/>
          </a:xfrm>
          <a:prstGeom prst="ellipse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16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13%</a:t>
            </a:r>
          </a:p>
        </p:txBody>
      </p:sp>
      <p:sp>
        <p:nvSpPr>
          <p:cNvPr id="24" name="41 Elipse"/>
          <p:cNvSpPr/>
          <p:nvPr/>
        </p:nvSpPr>
        <p:spPr bwMode="gray">
          <a:xfrm>
            <a:off x="5531772" y="3965667"/>
            <a:ext cx="689835" cy="60999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20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14%</a:t>
            </a:r>
          </a:p>
        </p:txBody>
      </p:sp>
      <p:sp>
        <p:nvSpPr>
          <p:cNvPr id="26" name="Rectángulo 25"/>
          <p:cNvSpPr/>
          <p:nvPr/>
        </p:nvSpPr>
        <p:spPr>
          <a:xfrm>
            <a:off x="496960" y="5879709"/>
            <a:ext cx="330683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Base: Total de entrevistados que </a:t>
            </a:r>
            <a:r>
              <a:rPr lang="es-ES" sz="1100" dirty="0">
                <a:latin typeface="Corbel" panose="020B0503020204020204" pitchFamily="34" charset="0"/>
              </a:rPr>
              <a:t>conocen a alguien que/a él o ella le hayan/han pedido o sugerido algún tipo de favor sexual para resolver algún problema o </a:t>
            </a:r>
            <a:r>
              <a:rPr lang="es-ES" sz="1100" dirty="0" smtClean="0">
                <a:latin typeface="Corbel" panose="020B0503020204020204" pitchFamily="34" charset="0"/>
              </a:rPr>
              <a:t>trámite</a:t>
            </a:r>
            <a:r>
              <a:rPr lang="es-ES" sz="1100" dirty="0">
                <a:latin typeface="Corbel" panose="020B0503020204020204" pitchFamily="34" charset="0"/>
              </a:rPr>
              <a:t> </a:t>
            </a:r>
            <a:r>
              <a:rPr lang="es-ES" sz="1100" dirty="0" smtClean="0">
                <a:latin typeface="Corbel" panose="020B0503020204020204" pitchFamily="34" charset="0"/>
              </a:rPr>
              <a:t>(203)</a:t>
            </a:r>
            <a:endParaRPr lang="es-PE" sz="1100" dirty="0"/>
          </a:p>
        </p:txBody>
      </p:sp>
      <p:sp>
        <p:nvSpPr>
          <p:cNvPr id="27" name="47 Rectángulo"/>
          <p:cNvSpPr/>
          <p:nvPr/>
        </p:nvSpPr>
        <p:spPr>
          <a:xfrm>
            <a:off x="6612898" y="6165217"/>
            <a:ext cx="463556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solidFill>
                  <a:schemeClr val="accent6"/>
                </a:solidFill>
                <a:latin typeface="Corbel" panose="020B0503020204020204" pitchFamily="34" charset="0"/>
              </a:rPr>
              <a:t>Para no perjudicar al funcionario/autoridad/servidor</a:t>
            </a:r>
            <a:endParaRPr lang="es-PE" sz="1600" dirty="0">
              <a:solidFill>
                <a:schemeClr val="accent6"/>
              </a:solidFill>
              <a:latin typeface="Corbel" panose="020B0503020204020204" pitchFamily="34" charset="0"/>
            </a:endParaRPr>
          </a:p>
        </p:txBody>
      </p:sp>
      <p:sp>
        <p:nvSpPr>
          <p:cNvPr id="28" name="41 Elipse"/>
          <p:cNvSpPr/>
          <p:nvPr/>
        </p:nvSpPr>
        <p:spPr bwMode="gray">
          <a:xfrm>
            <a:off x="5607105" y="6134610"/>
            <a:ext cx="539168" cy="507775"/>
          </a:xfrm>
          <a:prstGeom prst="ellipse">
            <a:avLst/>
          </a:prstGeom>
          <a:solidFill>
            <a:schemeClr val="accent6"/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r>
              <a:rPr lang="es-PE" sz="16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2%</a:t>
            </a:r>
          </a:p>
        </p:txBody>
      </p:sp>
      <p:sp>
        <p:nvSpPr>
          <p:cNvPr id="29" name="Rectángulo 28"/>
          <p:cNvSpPr/>
          <p:nvPr/>
        </p:nvSpPr>
        <p:spPr>
          <a:xfrm>
            <a:off x="591133" y="1053991"/>
            <a:ext cx="38140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Cuando le pidieron o sugirieron favores sexuales, ¿usted hizo una denuncia?</a:t>
            </a:r>
            <a:r>
              <a:rPr lang="es-419" sz="1600" dirty="0" smtClean="0">
                <a:latin typeface="Corbel" panose="020B0503020204020204" pitchFamily="34" charset="0"/>
              </a:rPr>
              <a:t>– </a:t>
            </a:r>
            <a:r>
              <a:rPr lang="es-419" sz="1600" b="1" dirty="0" smtClean="0">
                <a:latin typeface="Corbel" panose="020B0503020204020204" pitchFamily="34" charset="0"/>
              </a:rPr>
              <a:t>CON TARJETA</a:t>
            </a:r>
            <a:endParaRPr lang="es-ES" sz="1600" b="1" dirty="0">
              <a:latin typeface="Corbel" panose="020B0503020204020204" pitchFamily="34" charset="0"/>
            </a:endParaRPr>
          </a:p>
        </p:txBody>
      </p:sp>
      <p:graphicFrame>
        <p:nvGraphicFramePr>
          <p:cNvPr id="30" name="Objekt 5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652697"/>
              </p:ext>
            </p:extLst>
          </p:nvPr>
        </p:nvGraphicFramePr>
        <p:xfrm>
          <a:off x="-950390" y="1984486"/>
          <a:ext cx="6192654" cy="35647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Abrir llave 7"/>
          <p:cNvSpPr/>
          <p:nvPr/>
        </p:nvSpPr>
        <p:spPr>
          <a:xfrm>
            <a:off x="3835789" y="1296979"/>
            <a:ext cx="1198124" cy="5345406"/>
          </a:xfrm>
          <a:prstGeom prst="leftBrac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952856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rgbClr val="008442"/>
          </a:solidFill>
        </p:spPr>
        <p:txBody>
          <a:bodyPr/>
          <a:lstStyle/>
          <a:p>
            <a:pPr>
              <a:spcAft>
                <a:spcPts val="400"/>
              </a:spcAft>
            </a:pPr>
            <a:r>
              <a:rPr lang="es-419" sz="4400" dirty="0" smtClean="0">
                <a:latin typeface="Corbel" panose="020B0503020204020204" pitchFamily="34" charset="0"/>
              </a:rPr>
              <a:t>Corrupción en las instituciones</a:t>
            </a:r>
            <a:endParaRPr lang="es-PE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5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chemeClr val="accent5"/>
          </a:solidFill>
        </p:spPr>
        <p:txBody>
          <a:bodyPr/>
          <a:lstStyle/>
          <a:p>
            <a:r>
              <a:rPr lang="es-ES" sz="4400" dirty="0" smtClean="0">
                <a:latin typeface="Corbel" panose="020B0503020204020204" pitchFamily="34" charset="0"/>
              </a:rPr>
              <a:t>Objetivos y metodología</a:t>
            </a:r>
            <a:endParaRPr lang="es-ES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723292" y="6340308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52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335360" y="416478"/>
            <a:ext cx="8951515" cy="708266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PE" b="1" dirty="0" smtClean="0">
                <a:latin typeface="Corbel" panose="020B0503020204020204" pitchFamily="34" charset="0"/>
              </a:rPr>
              <a:t>Las instituciones percibidas como más corruptas: el Congreso lidera el ranking, seguido del Poder Judicial y los partidos políticos.</a:t>
            </a:r>
          </a:p>
        </p:txBody>
      </p:sp>
      <p:graphicFrame>
        <p:nvGraphicFramePr>
          <p:cNvPr id="12" name="31 Gráfico"/>
          <p:cNvGraphicFramePr/>
          <p:nvPr>
            <p:extLst>
              <p:ext uri="{D42A27DB-BD31-4B8C-83A1-F6EECF244321}">
                <p14:modId xmlns:p14="http://schemas.microsoft.com/office/powerpoint/2010/main" val="30234178"/>
              </p:ext>
            </p:extLst>
          </p:nvPr>
        </p:nvGraphicFramePr>
        <p:xfrm>
          <a:off x="491320" y="1501993"/>
          <a:ext cx="11241334" cy="4552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Rectángulo 2"/>
          <p:cNvSpPr/>
          <p:nvPr/>
        </p:nvSpPr>
        <p:spPr>
          <a:xfrm>
            <a:off x="386123" y="1638820"/>
            <a:ext cx="114517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Según lo que usted conoce, ¿cuáles son las tres instituciones más corruptas de nuestro país? </a:t>
            </a:r>
            <a:r>
              <a:rPr lang="es-ES" dirty="0" smtClean="0">
                <a:latin typeface="Corbel" panose="020B0503020204020204" pitchFamily="34" charset="0"/>
              </a:rPr>
              <a:t>- </a:t>
            </a:r>
            <a:r>
              <a:rPr lang="es-419" b="1" dirty="0">
                <a:latin typeface="Corbel" panose="020B0503020204020204" pitchFamily="34" charset="0"/>
              </a:rPr>
              <a:t>CON </a:t>
            </a:r>
            <a:r>
              <a:rPr lang="es-419" b="1" dirty="0" smtClean="0">
                <a:latin typeface="Corbel" panose="020B0503020204020204" pitchFamily="34" charset="0"/>
              </a:rPr>
              <a:t>TARJETA, MÚLTIPLE MEDICIÓN COMPARATIVA-</a:t>
            </a:r>
            <a:endParaRPr lang="es-419" b="1" dirty="0">
              <a:latin typeface="Corbel" panose="020B0503020204020204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6014434" y="6568225"/>
            <a:ext cx="59357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1100" dirty="0" smtClean="0">
                <a:latin typeface="Corbel" panose="020B0503020204020204" pitchFamily="34" charset="0"/>
              </a:rPr>
              <a:t>*Menciones incorporadas en 2019. **En 2015, era Humala, en 2017 PPK</a:t>
            </a:r>
            <a:endParaRPr lang="es-PE" sz="1100" dirty="0"/>
          </a:p>
        </p:txBody>
      </p:sp>
      <p:sp>
        <p:nvSpPr>
          <p:cNvPr id="9" name="Elipse 8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</p:spTree>
    <p:extLst>
      <p:ext uri="{BB962C8B-B14F-4D97-AF65-F5344CB8AC3E}">
        <p14:creationId xmlns:p14="http://schemas.microsoft.com/office/powerpoint/2010/main" val="291258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371079" y="170255"/>
            <a:ext cx="8904896" cy="942107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PE" sz="2000" b="1" dirty="0" smtClean="0">
                <a:latin typeface="Corbel" panose="020B0503020204020204" pitchFamily="34" charset="0"/>
              </a:rPr>
              <a:t>Las instituciones percibidas como más corruptas del país: por macro zona</a:t>
            </a:r>
          </a:p>
          <a:p>
            <a:r>
              <a:rPr lang="es-PE" sz="2000" b="1" dirty="0" smtClean="0">
                <a:latin typeface="Corbel" panose="020B0503020204020204" pitchFamily="34" charset="0"/>
              </a:rPr>
              <a:t>Congreso y políticos son peor vistos en la costa, mientras que en sierra y selva son más criticadas las autoridades regionales o municipales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71079" y="1256783"/>
            <a:ext cx="112391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Según lo que usted conoce, ¿cuáles son las tres instituciones más corruptas de nuestro país? </a:t>
            </a:r>
            <a:r>
              <a:rPr lang="es-ES" sz="1600" dirty="0" smtClean="0">
                <a:latin typeface="Corbel" panose="020B0503020204020204" pitchFamily="34" charset="0"/>
              </a:rPr>
              <a:t>- </a:t>
            </a:r>
            <a:r>
              <a:rPr lang="es-419" sz="1600" b="1" dirty="0">
                <a:latin typeface="Corbel" panose="020B0503020204020204" pitchFamily="34" charset="0"/>
              </a:rPr>
              <a:t>CON </a:t>
            </a:r>
            <a:r>
              <a:rPr lang="es-419" sz="1600" b="1" dirty="0" smtClean="0">
                <a:latin typeface="Corbel" panose="020B0503020204020204" pitchFamily="34" charset="0"/>
              </a:rPr>
              <a:t>TARJETA, MÚLTIPLE</a:t>
            </a:r>
            <a:endParaRPr lang="es-419" sz="1600" b="1" dirty="0">
              <a:latin typeface="Corbel" panose="020B0503020204020204" pitchFamily="34" charset="0"/>
            </a:endParaRPr>
          </a:p>
          <a:p>
            <a:r>
              <a:rPr lang="es-419" sz="1600" b="1" dirty="0" smtClean="0">
                <a:latin typeface="Corbel" panose="020B0503020204020204" pitchFamily="34" charset="0"/>
              </a:rPr>
              <a:t>MEDICIÓN COMPARATIVA-</a:t>
            </a:r>
            <a:endParaRPr lang="es-419" sz="1600" b="1" dirty="0">
              <a:latin typeface="Corbel" panose="020B0503020204020204" pitchFamily="34" charset="0"/>
            </a:endParaRPr>
          </a:p>
        </p:txBody>
      </p:sp>
      <p:sp>
        <p:nvSpPr>
          <p:cNvPr id="9" name="Elipse 8"/>
          <p:cNvSpPr/>
          <p:nvPr/>
        </p:nvSpPr>
        <p:spPr bwMode="gray">
          <a:xfrm>
            <a:off x="1311233" y="6529588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graphicFrame>
        <p:nvGraphicFramePr>
          <p:cNvPr id="15" name="Tab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433629"/>
              </p:ext>
            </p:extLst>
          </p:nvPr>
        </p:nvGraphicFramePr>
        <p:xfrm>
          <a:off x="4231423" y="1627385"/>
          <a:ext cx="6736993" cy="47021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990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7045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69907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5683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1046"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600" b="1" i="0" u="none" strike="noStrike" dirty="0" smtClean="0">
                        <a:solidFill>
                          <a:schemeClr val="bg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000" b="1" i="0" u="none" strike="noStrike" dirty="0" smtClean="0">
                          <a:solidFill>
                            <a:schemeClr val="bg1"/>
                          </a:solidFill>
                          <a:latin typeface="Corbel" panose="020B0503020204020204" pitchFamily="34" charset="0"/>
                        </a:rPr>
                        <a:t>Macro</a:t>
                      </a:r>
                      <a:r>
                        <a:rPr lang="es-PE" sz="2000" b="1" i="0" u="none" strike="noStrike" baseline="0" dirty="0" smtClean="0">
                          <a:solidFill>
                            <a:schemeClr val="bg1"/>
                          </a:solidFill>
                          <a:latin typeface="Corbel" panose="020B0503020204020204" pitchFamily="34" charset="0"/>
                        </a:rPr>
                        <a:t> z0na</a:t>
                      </a:r>
                      <a:endParaRPr lang="es-PE" sz="2000" b="1" i="0" u="none" strike="noStrike" dirty="0" smtClean="0">
                        <a:solidFill>
                          <a:schemeClr val="bg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800" b="1" i="0" u="none" strike="noStrike" dirty="0" smtClean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60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s-PE" sz="16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Arial" panose="020B0604020202020204" pitchFamily="34" charset="0"/>
                        </a:rPr>
                        <a:t>Costa</a:t>
                      </a:r>
                    </a:p>
                  </a:txBody>
                  <a:tcPr marL="5372" marR="5372" marT="537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Sierra</a:t>
                      </a:r>
                      <a:endParaRPr lang="es-PE" sz="16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Selva </a:t>
                      </a:r>
                      <a:endParaRPr lang="es-PE" sz="16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2921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0361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2921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3894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2921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2921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8815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77529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77529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7529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77529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77529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77529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77529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77529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graphicFrame>
        <p:nvGraphicFramePr>
          <p:cNvPr id="16" name="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7487918"/>
              </p:ext>
            </p:extLst>
          </p:nvPr>
        </p:nvGraphicFramePr>
        <p:xfrm>
          <a:off x="1004552" y="2216800"/>
          <a:ext cx="3200881" cy="4080962"/>
        </p:xfrm>
        <a:graphic>
          <a:graphicData uri="http://schemas.openxmlformats.org/drawingml/2006/table">
            <a:tbl>
              <a:tblPr/>
              <a:tblGrid>
                <a:gridCol w="32008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ongreso de la Repúblic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oder Judici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artidos político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6053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olicía Nacion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Fiscalía de la Na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Municipalidad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Gobiernos regiona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Gobierno de Vizcarr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Empresas privad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8705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Medios de comunica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E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ontraloría General de la Repúblic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rocuraduría anticorrup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Defensoría del Puebl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Movimientos regionale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697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ONG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7059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rgbClr val="008442"/>
          </a:solidFill>
        </p:spPr>
        <p:txBody>
          <a:bodyPr/>
          <a:lstStyle/>
          <a:p>
            <a:pPr>
              <a:spcAft>
                <a:spcPts val="400"/>
              </a:spcAft>
            </a:pPr>
            <a:r>
              <a:rPr lang="es-419" sz="4400" dirty="0" smtClean="0">
                <a:latin typeface="Corbel" panose="020B0503020204020204" pitchFamily="34" charset="0"/>
              </a:rPr>
              <a:t>Caso Lava Jato</a:t>
            </a:r>
            <a:endParaRPr lang="es-PE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6723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142177" y="261932"/>
            <a:ext cx="9299959" cy="708266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PE" dirty="0" smtClean="0">
                <a:latin typeface="Corbel" panose="020B0503020204020204" pitchFamily="34" charset="0"/>
              </a:rPr>
              <a:t>Responsabilidad compartida en caso Lava Jato: 74% considera que es tanto de los políticos como de las empresas implicadas 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71079" y="1191752"/>
            <a:ext cx="115558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Ahora quisiera hacerle algunas preguntas sobre el caso Odebrecht o Lava Jato, investigación de casos de corrupción que lleva adelante un equipo de fiscales liderados por Rafael Vela, quienes actualmente investigan coimas pagadas por la empresa constructora Odebrecht a varios políticos peruanos. En su opinión, ¿quiénes son los principales responsables de casos de corrupción como este? </a:t>
            </a:r>
            <a:r>
              <a:rPr lang="es-419" b="1" dirty="0" smtClean="0">
                <a:latin typeface="Corbel" panose="020B0503020204020204" pitchFamily="34" charset="0"/>
              </a:rPr>
              <a:t>CON TARJETA</a:t>
            </a:r>
            <a:endParaRPr lang="es-419" b="1" dirty="0">
              <a:latin typeface="Corbel" panose="020B0503020204020204" pitchFamily="34" charset="0"/>
            </a:endParaRPr>
          </a:p>
        </p:txBody>
      </p:sp>
      <p:sp>
        <p:nvSpPr>
          <p:cNvPr id="9" name="Elipse 8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graphicFrame>
        <p:nvGraphicFramePr>
          <p:cNvPr id="17" name="Objekt 5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418713"/>
              </p:ext>
            </p:extLst>
          </p:nvPr>
        </p:nvGraphicFramePr>
        <p:xfrm>
          <a:off x="1071652" y="2241052"/>
          <a:ext cx="9939784" cy="41661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Elipse 22"/>
          <p:cNvSpPr/>
          <p:nvPr/>
        </p:nvSpPr>
        <p:spPr bwMode="gray">
          <a:xfrm>
            <a:off x="16294786" y="2542429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Elipse 23"/>
          <p:cNvSpPr/>
          <p:nvPr/>
        </p:nvSpPr>
        <p:spPr bwMode="gray">
          <a:xfrm>
            <a:off x="15242273" y="2241052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1355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337456" y="216668"/>
            <a:ext cx="8870937" cy="708266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PE" b="1" dirty="0" smtClean="0">
                <a:latin typeface="Corbel" panose="020B0503020204020204" pitchFamily="34" charset="0"/>
              </a:rPr>
              <a:t>En una escala del 1 al 10, el respaldo al uso de la prisión preventiva como mecanismo de lucha</a:t>
            </a:r>
            <a:r>
              <a:rPr lang="es-PE" b="1" dirty="0">
                <a:latin typeface="Corbel" panose="020B0503020204020204" pitchFamily="34" charset="0"/>
              </a:rPr>
              <a:t> </a:t>
            </a:r>
            <a:r>
              <a:rPr lang="es-PE" b="1" dirty="0" smtClean="0">
                <a:latin typeface="Corbel" panose="020B0503020204020204" pitchFamily="34" charset="0"/>
              </a:rPr>
              <a:t>contra la corrupción tiene 8 en promedio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71079" y="1711432"/>
            <a:ext cx="115558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Las autoridades han determinado que algunos políticos pasen un tiempo en prisión mientras se desarrollan las investigaciones por el caso Odebrecht. Utilizando una escala del 1 al 10, donde 1 representa “muy en desacuerdo” y 10 “muy de acuerdo,” ¿cuán de acuerdo esta Ud. con esta </a:t>
            </a:r>
            <a:r>
              <a:rPr lang="es-ES" sz="1600" dirty="0" smtClean="0">
                <a:latin typeface="Corbel" panose="020B0503020204020204" pitchFamily="34" charset="0"/>
              </a:rPr>
              <a:t>medida?- </a:t>
            </a:r>
            <a:r>
              <a:rPr lang="es-419" sz="1600" b="1" dirty="0" smtClean="0">
                <a:latin typeface="Corbel" panose="020B0503020204020204" pitchFamily="34" charset="0"/>
              </a:rPr>
              <a:t>CON TARJETA- (PROMEDIO DE ESCALA DEL 1 AL 10)</a:t>
            </a:r>
            <a:endParaRPr lang="es-419" sz="1600" b="1" dirty="0">
              <a:latin typeface="Corbel" panose="020B0503020204020204" pitchFamily="34" charset="0"/>
            </a:endParaRPr>
          </a:p>
        </p:txBody>
      </p:sp>
      <p:sp>
        <p:nvSpPr>
          <p:cNvPr id="9" name="Elipse 8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sp>
        <p:nvSpPr>
          <p:cNvPr id="23" name="Elipse 22"/>
          <p:cNvSpPr/>
          <p:nvPr/>
        </p:nvSpPr>
        <p:spPr bwMode="gray">
          <a:xfrm>
            <a:off x="16294786" y="2542429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Elipse 23"/>
          <p:cNvSpPr/>
          <p:nvPr/>
        </p:nvSpPr>
        <p:spPr bwMode="gray">
          <a:xfrm>
            <a:off x="15242273" y="2241052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ángulo 1"/>
          <p:cNvSpPr/>
          <p:nvPr/>
        </p:nvSpPr>
        <p:spPr bwMode="gray">
          <a:xfrm>
            <a:off x="2975019" y="3296992"/>
            <a:ext cx="6233373" cy="94015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CuadroTexto 3"/>
          <p:cNvSpPr txBox="1"/>
          <p:nvPr/>
        </p:nvSpPr>
        <p:spPr bwMode="gray">
          <a:xfrm>
            <a:off x="2356587" y="3520849"/>
            <a:ext cx="22762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3200" dirty="0" smtClean="0"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71" name="CuadroTexto 70"/>
          <p:cNvSpPr txBox="1"/>
          <p:nvPr/>
        </p:nvSpPr>
        <p:spPr bwMode="gray">
          <a:xfrm>
            <a:off x="9599198" y="3606084"/>
            <a:ext cx="455253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3200" dirty="0" smtClean="0">
                <a:latin typeface="Arial" pitchFamily="34" charset="0"/>
                <a:cs typeface="Arial" pitchFamily="34" charset="0"/>
              </a:rPr>
              <a:t>10</a:t>
            </a:r>
          </a:p>
        </p:txBody>
      </p:sp>
      <p:sp>
        <p:nvSpPr>
          <p:cNvPr id="72" name="CuadroTexto 71"/>
          <p:cNvSpPr txBox="1"/>
          <p:nvPr/>
        </p:nvSpPr>
        <p:spPr bwMode="gray">
          <a:xfrm>
            <a:off x="7794009" y="3606083"/>
            <a:ext cx="227626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32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8</a:t>
            </a:r>
          </a:p>
        </p:txBody>
      </p:sp>
      <p:sp>
        <p:nvSpPr>
          <p:cNvPr id="5" name="CuadroTexto 4"/>
          <p:cNvSpPr txBox="1"/>
          <p:nvPr/>
        </p:nvSpPr>
        <p:spPr bwMode="gray">
          <a:xfrm>
            <a:off x="7248186" y="4423538"/>
            <a:ext cx="131927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24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Promedio</a:t>
            </a:r>
          </a:p>
        </p:txBody>
      </p:sp>
      <p:sp>
        <p:nvSpPr>
          <p:cNvPr id="6" name="Rectángulo 5"/>
          <p:cNvSpPr/>
          <p:nvPr/>
        </p:nvSpPr>
        <p:spPr>
          <a:xfrm>
            <a:off x="210732" y="3561913"/>
            <a:ext cx="20890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 smtClean="0">
                <a:latin typeface="Corbel" panose="020B0503020204020204" pitchFamily="34" charset="0"/>
              </a:rPr>
              <a:t>muy </a:t>
            </a:r>
            <a:r>
              <a:rPr lang="es-ES" dirty="0">
                <a:latin typeface="Corbel" panose="020B0503020204020204" pitchFamily="34" charset="0"/>
              </a:rPr>
              <a:t>en </a:t>
            </a:r>
            <a:r>
              <a:rPr lang="es-ES" dirty="0" smtClean="0">
                <a:latin typeface="Corbel" panose="020B0503020204020204" pitchFamily="34" charset="0"/>
              </a:rPr>
              <a:t>desacuerdo </a:t>
            </a:r>
            <a:endParaRPr lang="es-PE" dirty="0"/>
          </a:p>
        </p:txBody>
      </p:sp>
      <p:sp>
        <p:nvSpPr>
          <p:cNvPr id="73" name="Rectángulo 72"/>
          <p:cNvSpPr/>
          <p:nvPr/>
        </p:nvSpPr>
        <p:spPr>
          <a:xfrm>
            <a:off x="10168094" y="3667638"/>
            <a:ext cx="17588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dirty="0" smtClean="0">
                <a:latin typeface="Corbel" panose="020B0503020204020204" pitchFamily="34" charset="0"/>
              </a:rPr>
              <a:t>muy de acuerdo 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499003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rgbClr val="008442"/>
          </a:solidFill>
        </p:spPr>
        <p:txBody>
          <a:bodyPr/>
          <a:lstStyle/>
          <a:p>
            <a:pPr>
              <a:spcAft>
                <a:spcPts val="400"/>
              </a:spcAft>
            </a:pPr>
            <a:r>
              <a:rPr lang="es-419" sz="4400" dirty="0" smtClean="0">
                <a:latin typeface="Corbel" panose="020B0503020204020204" pitchFamily="34" charset="0"/>
              </a:rPr>
              <a:t>Tolerancia a la corrupción</a:t>
            </a:r>
            <a:endParaRPr lang="es-PE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3702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0"/>
          <p:cNvSpPr txBox="1">
            <a:spLocks/>
          </p:cNvSpPr>
          <p:nvPr/>
        </p:nvSpPr>
        <p:spPr>
          <a:xfrm>
            <a:off x="371079" y="209546"/>
            <a:ext cx="8953225" cy="1019540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" sz="2800" b="1" dirty="0">
                <a:latin typeface="Corbel" panose="020B0503020204020204" pitchFamily="34" charset="0"/>
              </a:rPr>
              <a:t>Tolerancia a la </a:t>
            </a:r>
            <a:r>
              <a:rPr lang="es-ES" sz="2800" b="1" dirty="0" smtClean="0">
                <a:latin typeface="Corbel" panose="020B0503020204020204" pitchFamily="34" charset="0"/>
              </a:rPr>
              <a:t>corrupción</a:t>
            </a:r>
            <a:r>
              <a:rPr lang="es-ES" sz="2800" b="1" dirty="0">
                <a:latin typeface="Corbel" panose="020B0503020204020204" pitchFamily="34" charset="0"/>
              </a:rPr>
              <a:t>: continúan elevados niveles de tolerancia media</a:t>
            </a:r>
            <a:endParaRPr lang="es-419" sz="2800" b="1" dirty="0">
              <a:latin typeface="Corbel" panose="020B0503020204020204" pitchFamily="34" charset="0"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2263789" y="1212285"/>
            <a:ext cx="71338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¿Qué tan de acuerdo o en desacuerdo está con…? - </a:t>
            </a:r>
            <a:r>
              <a:rPr lang="es-419" b="1" dirty="0">
                <a:latin typeface="Corbel" panose="020B0503020204020204" pitchFamily="34" charset="0"/>
              </a:rPr>
              <a:t>CON TARJETA</a:t>
            </a:r>
          </a:p>
        </p:txBody>
      </p:sp>
      <p:graphicFrame>
        <p:nvGraphicFramePr>
          <p:cNvPr id="7" name="Tabla 14">
            <a:extLst>
              <a:ext uri="{FF2B5EF4-FFF2-40B4-BE49-F238E27FC236}">
                <a16:creationId xmlns:a16="http://schemas.microsoft.com/office/drawing/2014/main" xmlns="" id="{4A7F1BBA-BC23-4504-9A6E-5DE63DA1DB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7150347"/>
              </p:ext>
            </p:extLst>
          </p:nvPr>
        </p:nvGraphicFramePr>
        <p:xfrm>
          <a:off x="3074974" y="1859596"/>
          <a:ext cx="6322632" cy="4913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86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3874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052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91353">
                <a:tc>
                  <a:txBody>
                    <a:bodyPr/>
                    <a:lstStyle/>
                    <a:p>
                      <a:endParaRPr lang="es-PE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PE" sz="19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PE" sz="19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8" name="CuadroTexto 15">
            <a:extLst>
              <a:ext uri="{FF2B5EF4-FFF2-40B4-BE49-F238E27FC236}">
                <a16:creationId xmlns:a16="http://schemas.microsoft.com/office/drawing/2014/main" xmlns="" id="{BA6B090C-36B4-4716-A1AA-31BA090346FF}"/>
              </a:ext>
            </a:extLst>
          </p:cNvPr>
          <p:cNvSpPr txBox="1"/>
          <p:nvPr/>
        </p:nvSpPr>
        <p:spPr>
          <a:xfrm>
            <a:off x="3177419" y="1891893"/>
            <a:ext cx="566057" cy="461659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algn="ctr"/>
            <a:r>
              <a:rPr lang="es-PE" sz="2400" b="1" dirty="0"/>
              <a:t>7</a:t>
            </a:r>
            <a:endParaRPr lang="es-PE" sz="1400" b="1" dirty="0"/>
          </a:p>
        </p:txBody>
      </p:sp>
      <p:sp>
        <p:nvSpPr>
          <p:cNvPr id="9" name="CuadroTexto 17">
            <a:extLst>
              <a:ext uri="{FF2B5EF4-FFF2-40B4-BE49-F238E27FC236}">
                <a16:creationId xmlns:a16="http://schemas.microsoft.com/office/drawing/2014/main" xmlns="" id="{92F81D95-10AA-4FE6-B614-C0A07842DCA4}"/>
              </a:ext>
            </a:extLst>
          </p:cNvPr>
          <p:cNvSpPr txBox="1"/>
          <p:nvPr/>
        </p:nvSpPr>
        <p:spPr>
          <a:xfrm>
            <a:off x="5599269" y="1860236"/>
            <a:ext cx="718457" cy="523214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algn="ctr"/>
            <a:r>
              <a:rPr lang="es-PE" sz="2800" b="1" dirty="0">
                <a:solidFill>
                  <a:schemeClr val="bg1"/>
                </a:solidFill>
              </a:rPr>
              <a:t>65</a:t>
            </a:r>
          </a:p>
        </p:txBody>
      </p:sp>
      <p:sp>
        <p:nvSpPr>
          <p:cNvPr id="10" name="CuadroTexto 18">
            <a:extLst>
              <a:ext uri="{FF2B5EF4-FFF2-40B4-BE49-F238E27FC236}">
                <a16:creationId xmlns:a16="http://schemas.microsoft.com/office/drawing/2014/main" xmlns="" id="{49ED9CBD-F67B-4090-80DC-A2349BC6C62A}"/>
              </a:ext>
            </a:extLst>
          </p:cNvPr>
          <p:cNvSpPr txBox="1"/>
          <p:nvPr/>
        </p:nvSpPr>
        <p:spPr>
          <a:xfrm>
            <a:off x="8537075" y="1841953"/>
            <a:ext cx="962976" cy="523214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algn="ctr"/>
            <a:r>
              <a:rPr lang="es-PE" sz="2800" b="1" dirty="0">
                <a:solidFill>
                  <a:schemeClr val="bg1"/>
                </a:solidFill>
              </a:rPr>
              <a:t>27</a:t>
            </a:r>
          </a:p>
        </p:txBody>
      </p:sp>
      <p:sp>
        <p:nvSpPr>
          <p:cNvPr id="13" name="Rectángulo 21">
            <a:extLst>
              <a:ext uri="{FF2B5EF4-FFF2-40B4-BE49-F238E27FC236}">
                <a16:creationId xmlns:a16="http://schemas.microsoft.com/office/drawing/2014/main" xmlns="" id="{CFFF8AA6-2043-4C77-99EC-CD53871E836B}"/>
              </a:ext>
            </a:extLst>
          </p:cNvPr>
          <p:cNvSpPr/>
          <p:nvPr/>
        </p:nvSpPr>
        <p:spPr>
          <a:xfrm>
            <a:off x="3370689" y="2557508"/>
            <a:ext cx="119739" cy="16328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/>
            <a:endParaRPr lang="es-PE"/>
          </a:p>
        </p:txBody>
      </p:sp>
      <p:sp>
        <p:nvSpPr>
          <p:cNvPr id="14" name="CuadroTexto 22">
            <a:extLst>
              <a:ext uri="{FF2B5EF4-FFF2-40B4-BE49-F238E27FC236}">
                <a16:creationId xmlns:a16="http://schemas.microsoft.com/office/drawing/2014/main" xmlns="" id="{07F9E291-C2E8-4051-9C21-F2DB9A2F8444}"/>
              </a:ext>
            </a:extLst>
          </p:cNvPr>
          <p:cNvSpPr txBox="1"/>
          <p:nvPr/>
        </p:nvSpPr>
        <p:spPr>
          <a:xfrm>
            <a:off x="3446888" y="2507034"/>
            <a:ext cx="1621971" cy="323159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s-PE" sz="1500" dirty="0"/>
              <a:t>Alta tolerancia</a:t>
            </a:r>
          </a:p>
        </p:txBody>
      </p:sp>
      <p:sp>
        <p:nvSpPr>
          <p:cNvPr id="15" name="Rectángulo 24">
            <a:extLst>
              <a:ext uri="{FF2B5EF4-FFF2-40B4-BE49-F238E27FC236}">
                <a16:creationId xmlns:a16="http://schemas.microsoft.com/office/drawing/2014/main" xmlns="" id="{41D7DCCA-3DD4-448F-BFEA-1EBE92A92289}"/>
              </a:ext>
            </a:extLst>
          </p:cNvPr>
          <p:cNvSpPr/>
          <p:nvPr/>
        </p:nvSpPr>
        <p:spPr>
          <a:xfrm>
            <a:off x="5917945" y="2590163"/>
            <a:ext cx="119739" cy="16328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/>
            <a:endParaRPr lang="es-PE"/>
          </a:p>
        </p:txBody>
      </p:sp>
      <p:sp>
        <p:nvSpPr>
          <p:cNvPr id="16" name="CuadroTexto 25">
            <a:extLst>
              <a:ext uri="{FF2B5EF4-FFF2-40B4-BE49-F238E27FC236}">
                <a16:creationId xmlns:a16="http://schemas.microsoft.com/office/drawing/2014/main" xmlns="" id="{B4AF85C7-0624-415C-8D0A-EA534DCBA31E}"/>
              </a:ext>
            </a:extLst>
          </p:cNvPr>
          <p:cNvSpPr txBox="1"/>
          <p:nvPr/>
        </p:nvSpPr>
        <p:spPr>
          <a:xfrm>
            <a:off x="6127704" y="2539687"/>
            <a:ext cx="1621971" cy="323159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s-PE" sz="1500" dirty="0"/>
              <a:t>Tolerancia media</a:t>
            </a:r>
          </a:p>
        </p:txBody>
      </p:sp>
      <p:sp>
        <p:nvSpPr>
          <p:cNvPr id="17" name="Rectángulo 26">
            <a:extLst>
              <a:ext uri="{FF2B5EF4-FFF2-40B4-BE49-F238E27FC236}">
                <a16:creationId xmlns:a16="http://schemas.microsoft.com/office/drawing/2014/main" xmlns="" id="{CBF09489-634B-444F-85D9-A06B5479A507}"/>
              </a:ext>
            </a:extLst>
          </p:cNvPr>
          <p:cNvSpPr/>
          <p:nvPr/>
        </p:nvSpPr>
        <p:spPr>
          <a:xfrm>
            <a:off x="8159764" y="2551662"/>
            <a:ext cx="119739" cy="163286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/>
            <a:endParaRPr lang="es-PE"/>
          </a:p>
        </p:txBody>
      </p:sp>
      <p:sp>
        <p:nvSpPr>
          <p:cNvPr id="18" name="CuadroTexto 27">
            <a:extLst>
              <a:ext uri="{FF2B5EF4-FFF2-40B4-BE49-F238E27FC236}">
                <a16:creationId xmlns:a16="http://schemas.microsoft.com/office/drawing/2014/main" xmlns="" id="{1584192D-3C90-4C80-956F-7A67AFCBDA2B}"/>
              </a:ext>
            </a:extLst>
          </p:cNvPr>
          <p:cNvSpPr txBox="1"/>
          <p:nvPr/>
        </p:nvSpPr>
        <p:spPr>
          <a:xfrm>
            <a:off x="8249784" y="2432155"/>
            <a:ext cx="1621971" cy="323159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s-PE" sz="1500" dirty="0"/>
              <a:t>Rechazo definido</a:t>
            </a:r>
          </a:p>
        </p:txBody>
      </p:sp>
      <p:sp>
        <p:nvSpPr>
          <p:cNvPr id="19" name="CuadroTexto 33">
            <a:extLst>
              <a:ext uri="{FF2B5EF4-FFF2-40B4-BE49-F238E27FC236}">
                <a16:creationId xmlns:a16="http://schemas.microsoft.com/office/drawing/2014/main" xmlns="" id="{019B2E4A-FC02-4A12-A743-031660CE352F}"/>
              </a:ext>
            </a:extLst>
          </p:cNvPr>
          <p:cNvSpPr txBox="1"/>
          <p:nvPr/>
        </p:nvSpPr>
        <p:spPr>
          <a:xfrm>
            <a:off x="1475142" y="1936001"/>
            <a:ext cx="839629" cy="369326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s-PE" b="1" dirty="0"/>
              <a:t>2017</a:t>
            </a:r>
          </a:p>
        </p:txBody>
      </p:sp>
      <p:cxnSp>
        <p:nvCxnSpPr>
          <p:cNvPr id="20" name="Conector recto de flecha 36">
            <a:extLst>
              <a:ext uri="{FF2B5EF4-FFF2-40B4-BE49-F238E27FC236}">
                <a16:creationId xmlns:a16="http://schemas.microsoft.com/office/drawing/2014/main" xmlns="" id="{961AF1B2-F5C3-42AB-A3AF-61BD7EBB737B}"/>
              </a:ext>
            </a:extLst>
          </p:cNvPr>
          <p:cNvCxnSpPr/>
          <p:nvPr/>
        </p:nvCxnSpPr>
        <p:spPr>
          <a:xfrm>
            <a:off x="2565143" y="2168982"/>
            <a:ext cx="370115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Tabla 14">
            <a:extLst>
              <a:ext uri="{FF2B5EF4-FFF2-40B4-BE49-F238E27FC236}">
                <a16:creationId xmlns:a16="http://schemas.microsoft.com/office/drawing/2014/main" xmlns="" id="{58135C50-463C-40A6-AC1B-05615A4F83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1189240"/>
              </p:ext>
            </p:extLst>
          </p:nvPr>
        </p:nvGraphicFramePr>
        <p:xfrm>
          <a:off x="3115614" y="3363276"/>
          <a:ext cx="6322632" cy="4913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863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3874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052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91353">
                <a:tc>
                  <a:txBody>
                    <a:bodyPr/>
                    <a:lstStyle/>
                    <a:p>
                      <a:endParaRPr lang="es-PE" sz="19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PE" sz="19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PE" sz="19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22" name="CuadroTexto 15">
            <a:extLst>
              <a:ext uri="{FF2B5EF4-FFF2-40B4-BE49-F238E27FC236}">
                <a16:creationId xmlns:a16="http://schemas.microsoft.com/office/drawing/2014/main" xmlns="" id="{215D1F9F-7C04-481D-A366-12CCE4DDF179}"/>
              </a:ext>
            </a:extLst>
          </p:cNvPr>
          <p:cNvSpPr txBox="1"/>
          <p:nvPr/>
        </p:nvSpPr>
        <p:spPr>
          <a:xfrm>
            <a:off x="3218059" y="3395573"/>
            <a:ext cx="566057" cy="461659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algn="ctr"/>
            <a:r>
              <a:rPr lang="es-PE" sz="2400" b="1" dirty="0"/>
              <a:t>5</a:t>
            </a:r>
            <a:endParaRPr lang="es-PE" sz="1400" b="1" dirty="0"/>
          </a:p>
        </p:txBody>
      </p:sp>
      <p:sp>
        <p:nvSpPr>
          <p:cNvPr id="23" name="CuadroTexto 17">
            <a:extLst>
              <a:ext uri="{FF2B5EF4-FFF2-40B4-BE49-F238E27FC236}">
                <a16:creationId xmlns:a16="http://schemas.microsoft.com/office/drawing/2014/main" xmlns="" id="{E915DEF4-4AE2-455D-BACF-B643391ED6AE}"/>
              </a:ext>
            </a:extLst>
          </p:cNvPr>
          <p:cNvSpPr txBox="1"/>
          <p:nvPr/>
        </p:nvSpPr>
        <p:spPr>
          <a:xfrm>
            <a:off x="5639909" y="3363916"/>
            <a:ext cx="718457" cy="523214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algn="ctr"/>
            <a:r>
              <a:rPr lang="es-PE" sz="2800" b="1" dirty="0">
                <a:solidFill>
                  <a:schemeClr val="bg1"/>
                </a:solidFill>
              </a:rPr>
              <a:t>68</a:t>
            </a:r>
          </a:p>
        </p:txBody>
      </p:sp>
      <p:sp>
        <p:nvSpPr>
          <p:cNvPr id="24" name="CuadroTexto 18">
            <a:extLst>
              <a:ext uri="{FF2B5EF4-FFF2-40B4-BE49-F238E27FC236}">
                <a16:creationId xmlns:a16="http://schemas.microsoft.com/office/drawing/2014/main" xmlns="" id="{2FDBD62C-12DF-4FD0-A2D6-503A636C211E}"/>
              </a:ext>
            </a:extLst>
          </p:cNvPr>
          <p:cNvSpPr txBox="1"/>
          <p:nvPr/>
        </p:nvSpPr>
        <p:spPr>
          <a:xfrm>
            <a:off x="8577715" y="3345633"/>
            <a:ext cx="819891" cy="523214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pPr algn="ctr"/>
            <a:r>
              <a:rPr lang="es-PE" sz="2800" b="1" dirty="0">
                <a:solidFill>
                  <a:schemeClr val="bg1"/>
                </a:solidFill>
              </a:rPr>
              <a:t>27</a:t>
            </a:r>
          </a:p>
        </p:txBody>
      </p:sp>
      <p:sp>
        <p:nvSpPr>
          <p:cNvPr id="25" name="Rectángulo 21">
            <a:extLst>
              <a:ext uri="{FF2B5EF4-FFF2-40B4-BE49-F238E27FC236}">
                <a16:creationId xmlns:a16="http://schemas.microsoft.com/office/drawing/2014/main" xmlns="" id="{C93C473B-6E42-4683-B2FE-DFFFABB0A29C}"/>
              </a:ext>
            </a:extLst>
          </p:cNvPr>
          <p:cNvSpPr/>
          <p:nvPr/>
        </p:nvSpPr>
        <p:spPr>
          <a:xfrm>
            <a:off x="3411329" y="4061188"/>
            <a:ext cx="119739" cy="16328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/>
            <a:endParaRPr lang="es-PE"/>
          </a:p>
        </p:txBody>
      </p:sp>
      <p:sp>
        <p:nvSpPr>
          <p:cNvPr id="27" name="CuadroTexto 22">
            <a:extLst>
              <a:ext uri="{FF2B5EF4-FFF2-40B4-BE49-F238E27FC236}">
                <a16:creationId xmlns:a16="http://schemas.microsoft.com/office/drawing/2014/main" xmlns="" id="{1710461A-DDF4-4724-A216-D56FF4044E56}"/>
              </a:ext>
            </a:extLst>
          </p:cNvPr>
          <p:cNvSpPr txBox="1"/>
          <p:nvPr/>
        </p:nvSpPr>
        <p:spPr>
          <a:xfrm>
            <a:off x="3487528" y="4010714"/>
            <a:ext cx="1621971" cy="323159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s-PE" sz="1500" dirty="0"/>
              <a:t>Alta tolerancia</a:t>
            </a:r>
          </a:p>
        </p:txBody>
      </p:sp>
      <p:sp>
        <p:nvSpPr>
          <p:cNvPr id="28" name="Rectángulo 24">
            <a:extLst>
              <a:ext uri="{FF2B5EF4-FFF2-40B4-BE49-F238E27FC236}">
                <a16:creationId xmlns:a16="http://schemas.microsoft.com/office/drawing/2014/main" xmlns="" id="{CC73FB6E-7277-406A-90A6-26FC0942EDD0}"/>
              </a:ext>
            </a:extLst>
          </p:cNvPr>
          <p:cNvSpPr/>
          <p:nvPr/>
        </p:nvSpPr>
        <p:spPr>
          <a:xfrm>
            <a:off x="5958585" y="4093843"/>
            <a:ext cx="119739" cy="163286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/>
            <a:endParaRPr lang="es-PE"/>
          </a:p>
        </p:txBody>
      </p:sp>
      <p:sp>
        <p:nvSpPr>
          <p:cNvPr id="29" name="CuadroTexto 25">
            <a:extLst>
              <a:ext uri="{FF2B5EF4-FFF2-40B4-BE49-F238E27FC236}">
                <a16:creationId xmlns:a16="http://schemas.microsoft.com/office/drawing/2014/main" xmlns="" id="{8283FC0A-FCF9-4756-9D74-EC07D1EFC269}"/>
              </a:ext>
            </a:extLst>
          </p:cNvPr>
          <p:cNvSpPr txBox="1"/>
          <p:nvPr/>
        </p:nvSpPr>
        <p:spPr>
          <a:xfrm>
            <a:off x="6217854" y="4010713"/>
            <a:ext cx="1621971" cy="323159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s-PE" sz="1500" dirty="0"/>
              <a:t>Tolerancia media</a:t>
            </a:r>
          </a:p>
        </p:txBody>
      </p:sp>
      <p:sp>
        <p:nvSpPr>
          <p:cNvPr id="30" name="Rectángulo 26">
            <a:extLst>
              <a:ext uri="{FF2B5EF4-FFF2-40B4-BE49-F238E27FC236}">
                <a16:creationId xmlns:a16="http://schemas.microsoft.com/office/drawing/2014/main" xmlns="" id="{43521EF1-DA73-4FFF-B6C4-4E0A561E01A5}"/>
              </a:ext>
            </a:extLst>
          </p:cNvPr>
          <p:cNvSpPr/>
          <p:nvPr/>
        </p:nvSpPr>
        <p:spPr>
          <a:xfrm>
            <a:off x="8200404" y="4055342"/>
            <a:ext cx="119739" cy="163286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7" rIns="91433" bIns="45717" rtlCol="0" anchor="ctr"/>
          <a:lstStyle/>
          <a:p>
            <a:pPr algn="ctr"/>
            <a:endParaRPr lang="es-PE"/>
          </a:p>
        </p:txBody>
      </p:sp>
      <p:sp>
        <p:nvSpPr>
          <p:cNvPr id="31" name="CuadroTexto 27">
            <a:extLst>
              <a:ext uri="{FF2B5EF4-FFF2-40B4-BE49-F238E27FC236}">
                <a16:creationId xmlns:a16="http://schemas.microsoft.com/office/drawing/2014/main" xmlns="" id="{3C9D169E-FCD8-4C6F-AB2E-BFDC15B62DB9}"/>
              </a:ext>
            </a:extLst>
          </p:cNvPr>
          <p:cNvSpPr txBox="1"/>
          <p:nvPr/>
        </p:nvSpPr>
        <p:spPr>
          <a:xfrm>
            <a:off x="8290424" y="3935835"/>
            <a:ext cx="1621971" cy="323159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s-PE" sz="1500" dirty="0"/>
              <a:t>Rechazo definido</a:t>
            </a:r>
          </a:p>
        </p:txBody>
      </p:sp>
      <p:sp>
        <p:nvSpPr>
          <p:cNvPr id="32" name="CuadroTexto 33">
            <a:extLst>
              <a:ext uri="{FF2B5EF4-FFF2-40B4-BE49-F238E27FC236}">
                <a16:creationId xmlns:a16="http://schemas.microsoft.com/office/drawing/2014/main" xmlns="" id="{FA85437A-5295-4AD5-9F7D-FA69A3967CEC}"/>
              </a:ext>
            </a:extLst>
          </p:cNvPr>
          <p:cNvSpPr txBox="1"/>
          <p:nvPr/>
        </p:nvSpPr>
        <p:spPr>
          <a:xfrm>
            <a:off x="1515782" y="3439681"/>
            <a:ext cx="839629" cy="369326"/>
          </a:xfrm>
          <a:prstGeom prst="rect">
            <a:avLst/>
          </a:prstGeom>
          <a:noFill/>
        </p:spPr>
        <p:txBody>
          <a:bodyPr wrap="square" lIns="91433" tIns="45717" rIns="91433" bIns="45717" rtlCol="0">
            <a:spAutoFit/>
          </a:bodyPr>
          <a:lstStyle/>
          <a:p>
            <a:r>
              <a:rPr lang="es-PE" b="1" dirty="0"/>
              <a:t>2019</a:t>
            </a:r>
          </a:p>
        </p:txBody>
      </p:sp>
      <p:cxnSp>
        <p:nvCxnSpPr>
          <p:cNvPr id="33" name="Conector recto de flecha 36">
            <a:extLst>
              <a:ext uri="{FF2B5EF4-FFF2-40B4-BE49-F238E27FC236}">
                <a16:creationId xmlns:a16="http://schemas.microsoft.com/office/drawing/2014/main" xmlns="" id="{A0C50BF0-4141-4BEB-A80F-9810636F06B7}"/>
              </a:ext>
            </a:extLst>
          </p:cNvPr>
          <p:cNvCxnSpPr/>
          <p:nvPr/>
        </p:nvCxnSpPr>
        <p:spPr>
          <a:xfrm>
            <a:off x="2605783" y="3672662"/>
            <a:ext cx="370115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uadroTexto 33">
            <a:extLst>
              <a:ext uri="{FF2B5EF4-FFF2-40B4-BE49-F238E27FC236}">
                <a16:creationId xmlns:a16="http://schemas.microsoft.com/office/drawing/2014/main" xmlns="" id="{D5BD0186-A80E-4BBA-934C-075C4F0A4D7B}"/>
              </a:ext>
            </a:extLst>
          </p:cNvPr>
          <p:cNvSpPr txBox="1"/>
          <p:nvPr/>
        </p:nvSpPr>
        <p:spPr>
          <a:xfrm>
            <a:off x="1653716" y="4561909"/>
            <a:ext cx="9409299" cy="2285269"/>
          </a:xfrm>
          <a:prstGeom prst="rect">
            <a:avLst/>
          </a:prstGeom>
          <a:noFill/>
        </p:spPr>
        <p:txBody>
          <a:bodyPr wrap="square" lIns="68607" tIns="34304" rIns="68607" bIns="34304" rtlCol="0">
            <a:spAutoFit/>
          </a:bodyPr>
          <a:lstStyle/>
          <a:p>
            <a:pPr marL="214398" indent="-214398">
              <a:buFont typeface="Wingdings" panose="05000000000000000000" pitchFamily="2" charset="2"/>
              <a:buChar char="ü"/>
            </a:pPr>
            <a:r>
              <a:rPr lang="es-ES" dirty="0"/>
              <a:t>Pedir un favor sexual a cambio de un trámite o servicio</a:t>
            </a:r>
          </a:p>
          <a:p>
            <a:pPr marL="214398" indent="-214398">
              <a:buFont typeface="Wingdings" panose="05000000000000000000" pitchFamily="2" charset="2"/>
              <a:buChar char="ü"/>
            </a:pPr>
            <a:r>
              <a:rPr lang="es-ES" dirty="0"/>
              <a:t>Que una autoridad elegida coloque a simpatizantes poco calificados en puestos clave</a:t>
            </a:r>
          </a:p>
          <a:p>
            <a:pPr marL="214398" indent="-214398">
              <a:buFont typeface="Wingdings" panose="05000000000000000000" pitchFamily="2" charset="2"/>
              <a:buChar char="ü"/>
            </a:pPr>
            <a:r>
              <a:rPr lang="es-ES" dirty="0"/>
              <a:t>Que un magistrado supremo influya en las decisiones de jueces o fiscales de menor jerarquía para favorecer a sus allegados</a:t>
            </a:r>
          </a:p>
          <a:p>
            <a:pPr marL="214398" indent="-214398">
              <a:buFont typeface="Wingdings" panose="05000000000000000000" pitchFamily="2" charset="2"/>
              <a:buChar char="ü"/>
            </a:pPr>
            <a:r>
              <a:rPr lang="es-ES" dirty="0"/>
              <a:t>Que un parlamentario promueva leyes a favor de quienes financiaron su campaña política</a:t>
            </a:r>
          </a:p>
          <a:p>
            <a:pPr marL="214398" indent="-214398">
              <a:buFont typeface="Wingdings" panose="05000000000000000000" pitchFamily="2" charset="2"/>
              <a:buChar char="ü"/>
            </a:pPr>
            <a:r>
              <a:rPr lang="es-ES" dirty="0"/>
              <a:t>Dar bienes o pagar una “propina” para que le perdonen una multa o para agilizar un trámite o servicio </a:t>
            </a:r>
            <a:r>
              <a:rPr lang="es-ES" dirty="0" smtClean="0"/>
              <a:t>público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72077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0"/>
          <p:cNvSpPr txBox="1">
            <a:spLocks/>
          </p:cNvSpPr>
          <p:nvPr/>
        </p:nvSpPr>
        <p:spPr>
          <a:xfrm>
            <a:off x="371079" y="209546"/>
            <a:ext cx="8953225" cy="1019540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" b="1" dirty="0" smtClean="0">
                <a:latin typeface="Corbel" panose="020B0503020204020204" pitchFamily="34" charset="0"/>
              </a:rPr>
              <a:t>Tolerancia a la corrupción: continúan elevados niveles de tolerancia media</a:t>
            </a:r>
            <a:endParaRPr lang="es-419" b="1" dirty="0">
              <a:latin typeface="Corbel" panose="020B0503020204020204" pitchFamily="34" charset="0"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371079" y="1059809"/>
            <a:ext cx="60032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¿Qué tan de acuerdo o en desacuerdo está con…? </a:t>
            </a:r>
            <a:r>
              <a:rPr lang="es-ES" sz="1600" dirty="0" smtClean="0">
                <a:latin typeface="Corbel" panose="020B0503020204020204" pitchFamily="34" charset="0"/>
              </a:rPr>
              <a:t>- </a:t>
            </a:r>
            <a:r>
              <a:rPr lang="es-419" sz="1600" b="1" dirty="0" smtClean="0">
                <a:latin typeface="Corbel" panose="020B0503020204020204" pitchFamily="34" charset="0"/>
              </a:rPr>
              <a:t>CON TARJETA</a:t>
            </a:r>
            <a:endParaRPr lang="es-419" sz="1600" b="1" dirty="0">
              <a:latin typeface="Corbel" panose="020B0503020204020204" pitchFamily="34" charset="0"/>
            </a:endParaRPr>
          </a:p>
        </p:txBody>
      </p:sp>
      <p:graphicFrame>
        <p:nvGraphicFramePr>
          <p:cNvPr id="26" name="20 Gráfico"/>
          <p:cNvGraphicFramePr/>
          <p:nvPr>
            <p:extLst>
              <p:ext uri="{D42A27DB-BD31-4B8C-83A1-F6EECF244321}">
                <p14:modId xmlns:p14="http://schemas.microsoft.com/office/powerpoint/2010/main" val="130938354"/>
              </p:ext>
            </p:extLst>
          </p:nvPr>
        </p:nvGraphicFramePr>
        <p:xfrm>
          <a:off x="292231" y="1544137"/>
          <a:ext cx="11670383" cy="4869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3170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rgbClr val="008442"/>
          </a:solidFill>
        </p:spPr>
        <p:txBody>
          <a:bodyPr/>
          <a:lstStyle/>
          <a:p>
            <a:pPr>
              <a:spcAft>
                <a:spcPts val="400"/>
              </a:spcAft>
            </a:pPr>
            <a:r>
              <a:rPr lang="es-419" sz="4400" dirty="0" smtClean="0">
                <a:latin typeface="Corbel" panose="020B0503020204020204" pitchFamily="34" charset="0"/>
              </a:rPr>
              <a:t>Lucha contra la corrupción: ¿qué hacer?</a:t>
            </a:r>
            <a:endParaRPr lang="es-PE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549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ontent Placeholder 4"/>
          <p:cNvGraphicFramePr>
            <a:graphicFrameLocks/>
          </p:cNvGraphicFramePr>
          <p:nvPr>
            <p:extLst/>
          </p:nvPr>
        </p:nvGraphicFramePr>
        <p:xfrm>
          <a:off x="-1728518" y="1668838"/>
          <a:ext cx="12572474" cy="4830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18 Tabla"/>
          <p:cNvGraphicFramePr>
            <a:graphicFrameLocks noGrp="1"/>
          </p:cNvGraphicFramePr>
          <p:nvPr>
            <p:extLst/>
          </p:nvPr>
        </p:nvGraphicFramePr>
        <p:xfrm>
          <a:off x="376339" y="1782615"/>
          <a:ext cx="11580297" cy="46457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201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78173">
                  <a:extLst>
                    <a:ext uri="{9D8B030D-6E8A-4147-A177-3AD203B41FA5}">
                      <a16:colId xmlns:a16="http://schemas.microsoft.com/office/drawing/2014/main" xmlns="" val="1857015458"/>
                    </a:ext>
                  </a:extLst>
                </a:gridCol>
                <a:gridCol w="98193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4399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Equipo Especial Lava Jato (Rafael Vela/ Domingo Pérez</a:t>
                      </a:r>
                      <a:r>
                        <a:rPr lang="es-P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)*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0323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Gobierno de </a:t>
                      </a:r>
                      <a:r>
                        <a:rPr lang="es-P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turno</a:t>
                      </a:r>
                      <a:r>
                        <a:rPr lang="es-PE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 </a:t>
                      </a:r>
                      <a:r>
                        <a:rPr lang="es-P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**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0%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6869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rocuraduría </a:t>
                      </a:r>
                      <a:r>
                        <a:rPr lang="es-P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anticorrupción*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7761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Medios de Comunicació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8820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ONGs*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4386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Defensoría del </a:t>
                      </a:r>
                      <a:r>
                        <a:rPr lang="es-P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ueblo*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3899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Fiscalía de la Nació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5%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72955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ontraloría General de la Repúblic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2%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9309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olicía </a:t>
                      </a:r>
                      <a:r>
                        <a:rPr lang="es-P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Nacional*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01192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Movimientos regionale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%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59308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oder Judicia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1%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89352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Empresas privada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4%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9352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Municipalidades*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12919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Gobiernos </a:t>
                      </a:r>
                      <a:r>
                        <a:rPr lang="es-P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regionales*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-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82084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ongreso de la Repúblic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73202">
                <a:tc>
                  <a:txBody>
                    <a:bodyPr/>
                    <a:lstStyle/>
                    <a:p>
                      <a:pPr algn="l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artidos políticos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%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  <p:sp>
        <p:nvSpPr>
          <p:cNvPr id="2" name="Rectángulo 1"/>
          <p:cNvSpPr/>
          <p:nvPr/>
        </p:nvSpPr>
        <p:spPr>
          <a:xfrm>
            <a:off x="376339" y="719182"/>
            <a:ext cx="106339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Según lo que usted conoce, ¿cómo calificaría la gestión de </a:t>
            </a:r>
            <a:r>
              <a:rPr lang="es-ES" sz="1600" b="1" dirty="0">
                <a:latin typeface="Corbel" panose="020B0503020204020204" pitchFamily="34" charset="0"/>
              </a:rPr>
              <a:t>(LEER FILA) </a:t>
            </a:r>
            <a:r>
              <a:rPr lang="es-ES" sz="1600" dirty="0">
                <a:latin typeface="Corbel" panose="020B0503020204020204" pitchFamily="34" charset="0"/>
              </a:rPr>
              <a:t>en la lucha contra la corrupción? </a:t>
            </a:r>
            <a:r>
              <a:rPr lang="es-419" sz="1600" dirty="0" smtClean="0">
                <a:latin typeface="Corbel" panose="020B0503020204020204" pitchFamily="34" charset="0"/>
              </a:rPr>
              <a:t> </a:t>
            </a:r>
          </a:p>
          <a:p>
            <a:r>
              <a:rPr lang="es-419" sz="1600" b="1" dirty="0" smtClean="0">
                <a:latin typeface="Corbel" panose="020B0503020204020204" pitchFamily="34" charset="0"/>
              </a:rPr>
              <a:t>MEDICIÓN COMPARATIVA- CON TARJETA</a:t>
            </a:r>
          </a:p>
          <a:p>
            <a:endParaRPr lang="es-ES" sz="1600" dirty="0"/>
          </a:p>
        </p:txBody>
      </p:sp>
      <p:sp>
        <p:nvSpPr>
          <p:cNvPr id="7" name="Rectángulo 6"/>
          <p:cNvSpPr/>
          <p:nvPr/>
        </p:nvSpPr>
        <p:spPr>
          <a:xfrm>
            <a:off x="376339" y="282816"/>
            <a:ext cx="95134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419" sz="2400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Lucha contra la corrupción a nivel institucional</a:t>
            </a:r>
          </a:p>
        </p:txBody>
      </p:sp>
      <p:sp>
        <p:nvSpPr>
          <p:cNvPr id="17" name="Rectángulo 16"/>
          <p:cNvSpPr/>
          <p:nvPr/>
        </p:nvSpPr>
        <p:spPr>
          <a:xfrm>
            <a:off x="9945619" y="1177935"/>
            <a:ext cx="1879796" cy="26161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r"/>
            <a:r>
              <a:rPr lang="es-PE" sz="1100" b="1" dirty="0" smtClean="0">
                <a:solidFill>
                  <a:schemeClr val="bg1"/>
                </a:solidFill>
                <a:latin typeface="Corbel" panose="020B0503020204020204" pitchFamily="34" charset="0"/>
              </a:rPr>
              <a:t>(% MUY BUENA + BUENA)</a:t>
            </a:r>
            <a:endParaRPr lang="es-PE" sz="1100" b="1" dirty="0">
              <a:solidFill>
                <a:schemeClr val="bg1"/>
              </a:solidFill>
            </a:endParaRPr>
          </a:p>
        </p:txBody>
      </p:sp>
      <p:grpSp>
        <p:nvGrpSpPr>
          <p:cNvPr id="40" name="Grupo 39"/>
          <p:cNvGrpSpPr/>
          <p:nvPr/>
        </p:nvGrpSpPr>
        <p:grpSpPr>
          <a:xfrm>
            <a:off x="5383904" y="1197379"/>
            <a:ext cx="3559995" cy="615554"/>
            <a:chOff x="4864224" y="1204820"/>
            <a:chExt cx="3559995" cy="615554"/>
          </a:xfrm>
        </p:grpSpPr>
        <p:grpSp>
          <p:nvGrpSpPr>
            <p:cNvPr id="19" name="3 Grupo"/>
            <p:cNvGrpSpPr/>
            <p:nvPr/>
          </p:nvGrpSpPr>
          <p:grpSpPr>
            <a:xfrm>
              <a:off x="4870324" y="1218159"/>
              <a:ext cx="1770837" cy="307777"/>
              <a:chOff x="807098" y="6064756"/>
              <a:chExt cx="1744945" cy="200153"/>
            </a:xfrm>
          </p:grpSpPr>
          <p:sp>
            <p:nvSpPr>
              <p:cNvPr id="20" name="13 Rectángulo"/>
              <p:cNvSpPr/>
              <p:nvPr/>
            </p:nvSpPr>
            <p:spPr bwMode="gray">
              <a:xfrm>
                <a:off x="807098" y="6125129"/>
                <a:ext cx="138477" cy="84520"/>
              </a:xfrm>
              <a:prstGeom prst="rect">
                <a:avLst/>
              </a:prstGeom>
              <a:solidFill>
                <a:schemeClr val="tx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s-ES" sz="1400" dirty="0" err="1" smtClean="0">
                  <a:solidFill>
                    <a:schemeClr val="tx1"/>
                  </a:solidFill>
                  <a:latin typeface="Corbel" panose="020B0503020204020204" pitchFamily="34" charset="0"/>
                  <a:cs typeface="Arial" pitchFamily="34" charset="0"/>
                </a:endParaRPr>
              </a:p>
            </p:txBody>
          </p:sp>
          <p:sp>
            <p:nvSpPr>
              <p:cNvPr id="21" name="14 Rectángulo"/>
              <p:cNvSpPr/>
              <p:nvPr/>
            </p:nvSpPr>
            <p:spPr>
              <a:xfrm>
                <a:off x="871070" y="6064756"/>
                <a:ext cx="1680973" cy="20015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400" dirty="0" smtClean="0">
                    <a:latin typeface="Corbel" panose="020B0503020204020204" pitchFamily="34" charset="0"/>
                    <a:cs typeface="Arial" pitchFamily="34" charset="0"/>
                  </a:rPr>
                  <a:t>  Muy buena / buena </a:t>
                </a:r>
                <a:endParaRPr lang="es-ES" sz="1400" dirty="0">
                  <a:latin typeface="Corbel" panose="020B0503020204020204" pitchFamily="34" charset="0"/>
                </a:endParaRPr>
              </a:p>
            </p:txBody>
          </p:sp>
        </p:grpSp>
        <p:grpSp>
          <p:nvGrpSpPr>
            <p:cNvPr id="22" name="4 Grupo"/>
            <p:cNvGrpSpPr/>
            <p:nvPr/>
          </p:nvGrpSpPr>
          <p:grpSpPr>
            <a:xfrm>
              <a:off x="4864224" y="1476346"/>
              <a:ext cx="1562982" cy="307777"/>
              <a:chOff x="2192185" y="6039527"/>
              <a:chExt cx="1540130" cy="200153"/>
            </a:xfrm>
          </p:grpSpPr>
          <p:sp>
            <p:nvSpPr>
              <p:cNvPr id="23" name="11 Rectángulo"/>
              <p:cNvSpPr/>
              <p:nvPr/>
            </p:nvSpPr>
            <p:spPr bwMode="gray">
              <a:xfrm>
                <a:off x="2192185" y="6107253"/>
                <a:ext cx="138477" cy="84520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s-ES" sz="1400" dirty="0" err="1" smtClean="0">
                  <a:solidFill>
                    <a:schemeClr val="tx1"/>
                  </a:solidFill>
                  <a:latin typeface="Corbel" panose="020B0503020204020204" pitchFamily="34" charset="0"/>
                  <a:cs typeface="Arial" pitchFamily="34" charset="0"/>
                </a:endParaRPr>
              </a:p>
            </p:txBody>
          </p:sp>
          <p:sp>
            <p:nvSpPr>
              <p:cNvPr id="24" name="12 Rectángulo"/>
              <p:cNvSpPr/>
              <p:nvPr/>
            </p:nvSpPr>
            <p:spPr>
              <a:xfrm>
                <a:off x="2261424" y="6039527"/>
                <a:ext cx="1470891" cy="20015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400" dirty="0" smtClean="0">
                    <a:latin typeface="Corbel" panose="020B0503020204020204" pitchFamily="34" charset="0"/>
                    <a:cs typeface="Arial" pitchFamily="34" charset="0"/>
                  </a:rPr>
                  <a:t>  Ni buena ni mala</a:t>
                </a:r>
                <a:endParaRPr lang="es-ES" sz="1400" dirty="0">
                  <a:latin typeface="Corbel" panose="020B0503020204020204" pitchFamily="34" charset="0"/>
                </a:endParaRPr>
              </a:p>
            </p:txBody>
          </p:sp>
        </p:grpSp>
        <p:grpSp>
          <p:nvGrpSpPr>
            <p:cNvPr id="25" name="5 Grupo"/>
            <p:cNvGrpSpPr/>
            <p:nvPr/>
          </p:nvGrpSpPr>
          <p:grpSpPr>
            <a:xfrm>
              <a:off x="6963959" y="1204820"/>
              <a:ext cx="1460260" cy="307777"/>
              <a:chOff x="3111355" y="6035541"/>
              <a:chExt cx="1438911" cy="200153"/>
            </a:xfrm>
          </p:grpSpPr>
          <p:sp>
            <p:nvSpPr>
              <p:cNvPr id="26" name="9 Rectángulo"/>
              <p:cNvSpPr/>
              <p:nvPr/>
            </p:nvSpPr>
            <p:spPr bwMode="gray">
              <a:xfrm>
                <a:off x="3111355" y="6107260"/>
                <a:ext cx="138477" cy="84520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s-ES" sz="1400" dirty="0" err="1" smtClean="0">
                  <a:solidFill>
                    <a:schemeClr val="tx1"/>
                  </a:solidFill>
                  <a:latin typeface="Corbel" panose="020B0503020204020204" pitchFamily="34" charset="0"/>
                  <a:cs typeface="Arial" pitchFamily="34" charset="0"/>
                </a:endParaRPr>
              </a:p>
            </p:txBody>
          </p:sp>
          <p:sp>
            <p:nvSpPr>
              <p:cNvPr id="27" name="10 Rectángulo"/>
              <p:cNvSpPr/>
              <p:nvPr/>
            </p:nvSpPr>
            <p:spPr>
              <a:xfrm>
                <a:off x="3137816" y="6035541"/>
                <a:ext cx="1412450" cy="20015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400" dirty="0" smtClean="0">
                    <a:latin typeface="Corbel" panose="020B0503020204020204" pitchFamily="34" charset="0"/>
                    <a:cs typeface="Arial" pitchFamily="34" charset="0"/>
                  </a:rPr>
                  <a:t>  Muy mala/ mala</a:t>
                </a:r>
                <a:endParaRPr lang="es-ES" sz="1400" dirty="0">
                  <a:latin typeface="Corbel" panose="020B0503020204020204" pitchFamily="34" charset="0"/>
                </a:endParaRPr>
              </a:p>
            </p:txBody>
          </p:sp>
        </p:grpSp>
        <p:grpSp>
          <p:nvGrpSpPr>
            <p:cNvPr id="28" name="6 Grupo"/>
            <p:cNvGrpSpPr/>
            <p:nvPr/>
          </p:nvGrpSpPr>
          <p:grpSpPr>
            <a:xfrm>
              <a:off x="6963953" y="1512597"/>
              <a:ext cx="889895" cy="307777"/>
              <a:chOff x="4454715" y="6064762"/>
              <a:chExt cx="876885" cy="200153"/>
            </a:xfrm>
          </p:grpSpPr>
          <p:sp>
            <p:nvSpPr>
              <p:cNvPr id="29" name="7 Rectángulo"/>
              <p:cNvSpPr/>
              <p:nvPr/>
            </p:nvSpPr>
            <p:spPr bwMode="gray">
              <a:xfrm>
                <a:off x="4454715" y="6121115"/>
                <a:ext cx="138477" cy="84520"/>
              </a:xfrm>
              <a:prstGeom prst="rect">
                <a:avLst/>
              </a:prstGeom>
              <a:solidFill>
                <a:schemeClr val="accent6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s-ES" sz="1400" dirty="0" err="1" smtClean="0">
                  <a:solidFill>
                    <a:schemeClr val="tx1"/>
                  </a:solidFill>
                  <a:latin typeface="Corbel" panose="020B0503020204020204" pitchFamily="34" charset="0"/>
                  <a:cs typeface="Arial" pitchFamily="34" charset="0"/>
                </a:endParaRPr>
              </a:p>
            </p:txBody>
          </p:sp>
          <p:sp>
            <p:nvSpPr>
              <p:cNvPr id="30" name="8 Rectángulo"/>
              <p:cNvSpPr/>
              <p:nvPr/>
            </p:nvSpPr>
            <p:spPr>
              <a:xfrm>
                <a:off x="4516227" y="6064762"/>
                <a:ext cx="815373" cy="20015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s-ES" sz="1400" dirty="0" smtClean="0">
                    <a:latin typeface="Corbel" panose="020B0503020204020204" pitchFamily="34" charset="0"/>
                    <a:cs typeface="Arial" pitchFamily="34" charset="0"/>
                  </a:rPr>
                  <a:t>  NS / NP</a:t>
                </a:r>
                <a:endParaRPr lang="es-ES" sz="1400" dirty="0">
                  <a:latin typeface="Corbel" panose="020B0503020204020204" pitchFamily="34" charset="0"/>
                </a:endParaRPr>
              </a:p>
            </p:txBody>
          </p:sp>
        </p:grpSp>
      </p:grpSp>
      <p:sp>
        <p:nvSpPr>
          <p:cNvPr id="4" name="Rectángulo 3"/>
          <p:cNvSpPr/>
          <p:nvPr/>
        </p:nvSpPr>
        <p:spPr>
          <a:xfrm>
            <a:off x="10051447" y="1409510"/>
            <a:ext cx="6546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PE" b="1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2019</a:t>
            </a:r>
            <a:endParaRPr lang="es-PE" b="1" dirty="0">
              <a:solidFill>
                <a:schemeClr val="accent5"/>
              </a:solidFill>
              <a:latin typeface="Corbel" panose="020B0503020204020204" pitchFamily="34" charset="0"/>
            </a:endParaRPr>
          </a:p>
        </p:txBody>
      </p:sp>
      <p:sp>
        <p:nvSpPr>
          <p:cNvPr id="31" name="Rectángulo 30"/>
          <p:cNvSpPr/>
          <p:nvPr/>
        </p:nvSpPr>
        <p:spPr>
          <a:xfrm>
            <a:off x="11045826" y="1409510"/>
            <a:ext cx="6357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PE" b="1" dirty="0" smtClean="0">
                <a:solidFill>
                  <a:schemeClr val="accent5"/>
                </a:solidFill>
                <a:latin typeface="Corbel" panose="020B0503020204020204" pitchFamily="34" charset="0"/>
              </a:rPr>
              <a:t>2017</a:t>
            </a:r>
            <a:endParaRPr lang="es-PE" b="1" dirty="0">
              <a:solidFill>
                <a:schemeClr val="accent5"/>
              </a:solidFill>
              <a:latin typeface="Corbel" panose="020B0503020204020204" pitchFamily="34" charset="0"/>
            </a:endParaRPr>
          </a:p>
        </p:txBody>
      </p:sp>
      <p:sp>
        <p:nvSpPr>
          <p:cNvPr id="35" name="Elipse 34"/>
          <p:cNvSpPr/>
          <p:nvPr/>
        </p:nvSpPr>
        <p:spPr bwMode="gray">
          <a:xfrm>
            <a:off x="10175933" y="2118730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Elipse 35"/>
          <p:cNvSpPr/>
          <p:nvPr/>
        </p:nvSpPr>
        <p:spPr bwMode="gray">
          <a:xfrm>
            <a:off x="11205988" y="2666915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8" name="Conector recto 37"/>
          <p:cNvCxnSpPr/>
          <p:nvPr/>
        </p:nvCxnSpPr>
        <p:spPr>
          <a:xfrm>
            <a:off x="376339" y="3848669"/>
            <a:ext cx="9272628" cy="2761"/>
          </a:xfrm>
          <a:prstGeom prst="line">
            <a:avLst/>
          </a:prstGeom>
          <a:ln>
            <a:solidFill>
              <a:srgbClr val="DC291E"/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uadroTexto 38"/>
          <p:cNvSpPr txBox="1"/>
          <p:nvPr/>
        </p:nvSpPr>
        <p:spPr bwMode="gray">
          <a:xfrm>
            <a:off x="3416657" y="3635986"/>
            <a:ext cx="17164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400" dirty="0" smtClean="0">
                <a:solidFill>
                  <a:srgbClr val="9B1F23"/>
                </a:solidFill>
                <a:latin typeface="Corbel" panose="020B0503020204020204" pitchFamily="34" charset="0"/>
                <a:cs typeface="Arial" pitchFamily="34" charset="0"/>
              </a:rPr>
              <a:t>Promedio: 17%</a:t>
            </a:r>
          </a:p>
        </p:txBody>
      </p:sp>
      <p:sp>
        <p:nvSpPr>
          <p:cNvPr id="42" name="Elipse 41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ángulo 42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sp>
        <p:nvSpPr>
          <p:cNvPr id="32" name="Rectángulo 31"/>
          <p:cNvSpPr/>
          <p:nvPr/>
        </p:nvSpPr>
        <p:spPr>
          <a:xfrm>
            <a:off x="6014434" y="6568225"/>
            <a:ext cx="59357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ES" sz="1100" dirty="0" smtClean="0">
                <a:latin typeface="Corbel" panose="020B0503020204020204" pitchFamily="34" charset="0"/>
              </a:rPr>
              <a:t>*Menciones incorporadas en 2019. **En 2015, era Humala, en 2017 PPK</a:t>
            </a:r>
            <a:endParaRPr lang="es-PE" sz="1100" dirty="0"/>
          </a:p>
        </p:txBody>
      </p:sp>
    </p:spTree>
    <p:extLst>
      <p:ext uri="{BB962C8B-B14F-4D97-AF65-F5344CB8AC3E}">
        <p14:creationId xmlns:p14="http://schemas.microsoft.com/office/powerpoint/2010/main" val="351568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PE" sz="2800" dirty="0" smtClean="0">
                <a:latin typeface="Corbel" panose="020B0503020204020204" pitchFamily="34" charset="0"/>
              </a:rPr>
              <a:t>Objetivo</a:t>
            </a:r>
            <a:endParaRPr lang="es-PE" sz="2800" dirty="0">
              <a:latin typeface="Corbel" panose="020B0503020204020204" pitchFamily="34" charset="0"/>
            </a:endParaRPr>
          </a:p>
        </p:txBody>
      </p:sp>
      <p:sp>
        <p:nvSpPr>
          <p:cNvPr id="9" name="Text Placeholder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4386271" y="2133573"/>
            <a:ext cx="6457740" cy="2375571"/>
          </a:xfrm>
          <a:prstGeom prst="rect">
            <a:avLst/>
          </a:prstGeom>
          <a:noFill/>
          <a:ln w="9525">
            <a:noFill/>
          </a:ln>
        </p:spPr>
        <p:txBody>
          <a:bodyPr vert="horz" lIns="0" tIns="0" rIns="0" bIns="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1" indent="0">
              <a:buClr>
                <a:schemeClr val="tx2"/>
              </a:buClr>
              <a:buNone/>
            </a:pPr>
            <a:r>
              <a:rPr lang="es-ES" sz="2800" b="1" dirty="0">
                <a:solidFill>
                  <a:schemeClr val="tx2"/>
                </a:solidFill>
                <a:latin typeface="Corbel" panose="020B0503020204020204" pitchFamily="34" charset="0"/>
              </a:rPr>
              <a:t>Objetivo de </a:t>
            </a:r>
            <a:r>
              <a:rPr lang="es-ES" sz="2800" b="1" dirty="0" smtClean="0">
                <a:solidFill>
                  <a:schemeClr val="tx2"/>
                </a:solidFill>
                <a:latin typeface="Corbel" panose="020B0503020204020204" pitchFamily="34" charset="0"/>
              </a:rPr>
              <a:t>investigación</a:t>
            </a:r>
            <a:endParaRPr lang="es-ES" sz="2800" b="1" dirty="0">
              <a:solidFill>
                <a:schemeClr val="tx2"/>
              </a:solidFill>
              <a:latin typeface="Corbel" panose="020B0503020204020204" pitchFamily="34" charset="0"/>
            </a:endParaRPr>
          </a:p>
          <a:p>
            <a:pPr marL="380990" indent="-380990"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950360" algn="l"/>
              </a:tabLst>
            </a:pPr>
            <a:r>
              <a:rPr lang="es-PE" sz="2400" dirty="0" smtClean="0">
                <a:latin typeface="Corbel" panose="020B0503020204020204" pitchFamily="34" charset="0"/>
              </a:rPr>
              <a:t>Conocer las percepciones, actitudes y experiencias de los peruanos con relación a la corrupción.</a:t>
            </a:r>
          </a:p>
        </p:txBody>
      </p:sp>
      <p:sp>
        <p:nvSpPr>
          <p:cNvPr id="10" name="Rechteck 12"/>
          <p:cNvSpPr/>
          <p:nvPr>
            <p:custDataLst>
              <p:tags r:id="rId2"/>
            </p:custDataLst>
          </p:nvPr>
        </p:nvSpPr>
        <p:spPr bwMode="gray">
          <a:xfrm flipH="1">
            <a:off x="3898259" y="2140020"/>
            <a:ext cx="156991" cy="2369120"/>
          </a:xfrm>
          <a:custGeom>
            <a:avLst/>
            <a:gdLst>
              <a:gd name="connsiteX0" fmla="*/ 1014569 w 1106009"/>
              <a:gd name="connsiteY0" fmla="*/ 1158355 h 2016125"/>
              <a:gd name="connsiteX1" fmla="*/ 703980 w 1106009"/>
              <a:gd name="connsiteY1" fmla="*/ 2016125 h 2016125"/>
              <a:gd name="connsiteX2" fmla="*/ 143727 w 1106009"/>
              <a:gd name="connsiteY2" fmla="*/ 2016125 h 2016125"/>
              <a:gd name="connsiteX3" fmla="*/ 143727 w 1106009"/>
              <a:gd name="connsiteY3" fmla="*/ 1082513 h 2016125"/>
              <a:gd name="connsiteX4" fmla="*/ 0 w 1106009"/>
              <a:gd name="connsiteY4" fmla="*/ 1007598 h 2016125"/>
              <a:gd name="connsiteX5" fmla="*/ 143727 w 1106009"/>
              <a:gd name="connsiteY5" fmla="*/ 929589 h 2016125"/>
              <a:gd name="connsiteX6" fmla="*/ 143727 w 1106009"/>
              <a:gd name="connsiteY6" fmla="*/ 0 h 2016125"/>
              <a:gd name="connsiteX7" fmla="*/ 682678 w 1106009"/>
              <a:gd name="connsiteY7" fmla="*/ 0 h 2016125"/>
              <a:gd name="connsiteX8" fmla="*/ 1106009 w 1106009"/>
              <a:gd name="connsiteY8" fmla="*/ 1249795 h 2016125"/>
              <a:gd name="connsiteX0" fmla="*/ 1014569 w 1014569"/>
              <a:gd name="connsiteY0" fmla="*/ 1158355 h 2016125"/>
              <a:gd name="connsiteX1" fmla="*/ 703980 w 1014569"/>
              <a:gd name="connsiteY1" fmla="*/ 2016125 h 2016125"/>
              <a:gd name="connsiteX2" fmla="*/ 143727 w 1014569"/>
              <a:gd name="connsiteY2" fmla="*/ 2016125 h 2016125"/>
              <a:gd name="connsiteX3" fmla="*/ 143727 w 1014569"/>
              <a:gd name="connsiteY3" fmla="*/ 1082513 h 2016125"/>
              <a:gd name="connsiteX4" fmla="*/ 0 w 1014569"/>
              <a:gd name="connsiteY4" fmla="*/ 1007598 h 2016125"/>
              <a:gd name="connsiteX5" fmla="*/ 143727 w 1014569"/>
              <a:gd name="connsiteY5" fmla="*/ 929589 h 2016125"/>
              <a:gd name="connsiteX6" fmla="*/ 143727 w 1014569"/>
              <a:gd name="connsiteY6" fmla="*/ 0 h 2016125"/>
              <a:gd name="connsiteX7" fmla="*/ 682678 w 1014569"/>
              <a:gd name="connsiteY7" fmla="*/ 0 h 2016125"/>
              <a:gd name="connsiteX0" fmla="*/ 1014569 w 1014569"/>
              <a:gd name="connsiteY0" fmla="*/ 1158355 h 2016125"/>
              <a:gd name="connsiteX1" fmla="*/ 703980 w 1014569"/>
              <a:gd name="connsiteY1" fmla="*/ 2016125 h 2016125"/>
              <a:gd name="connsiteX2" fmla="*/ 143727 w 1014569"/>
              <a:gd name="connsiteY2" fmla="*/ 2016125 h 2016125"/>
              <a:gd name="connsiteX3" fmla="*/ 143727 w 1014569"/>
              <a:gd name="connsiteY3" fmla="*/ 1082513 h 2016125"/>
              <a:gd name="connsiteX4" fmla="*/ 0 w 1014569"/>
              <a:gd name="connsiteY4" fmla="*/ 1007598 h 2016125"/>
              <a:gd name="connsiteX5" fmla="*/ 143727 w 1014569"/>
              <a:gd name="connsiteY5" fmla="*/ 929589 h 2016125"/>
              <a:gd name="connsiteX6" fmla="*/ 143727 w 1014569"/>
              <a:gd name="connsiteY6" fmla="*/ 0 h 2016125"/>
              <a:gd name="connsiteX0" fmla="*/ 703980 w 703980"/>
              <a:gd name="connsiteY0" fmla="*/ 2016125 h 2016125"/>
              <a:gd name="connsiteX1" fmla="*/ 143727 w 703980"/>
              <a:gd name="connsiteY1" fmla="*/ 2016125 h 2016125"/>
              <a:gd name="connsiteX2" fmla="*/ 143727 w 703980"/>
              <a:gd name="connsiteY2" fmla="*/ 1082513 h 2016125"/>
              <a:gd name="connsiteX3" fmla="*/ 0 w 703980"/>
              <a:gd name="connsiteY3" fmla="*/ 1007598 h 2016125"/>
              <a:gd name="connsiteX4" fmla="*/ 143727 w 703980"/>
              <a:gd name="connsiteY4" fmla="*/ 929589 h 2016125"/>
              <a:gd name="connsiteX5" fmla="*/ 143727 w 703980"/>
              <a:gd name="connsiteY5" fmla="*/ 0 h 2016125"/>
              <a:gd name="connsiteX0" fmla="*/ 143727 w 143727"/>
              <a:gd name="connsiteY0" fmla="*/ 2016125 h 2016125"/>
              <a:gd name="connsiteX1" fmla="*/ 143727 w 143727"/>
              <a:gd name="connsiteY1" fmla="*/ 1082513 h 2016125"/>
              <a:gd name="connsiteX2" fmla="*/ 0 w 143727"/>
              <a:gd name="connsiteY2" fmla="*/ 1007598 h 2016125"/>
              <a:gd name="connsiteX3" fmla="*/ 143727 w 143727"/>
              <a:gd name="connsiteY3" fmla="*/ 929589 h 2016125"/>
              <a:gd name="connsiteX4" fmla="*/ 143727 w 143727"/>
              <a:gd name="connsiteY4" fmla="*/ 0 h 2016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3727" h="2016125">
                <a:moveTo>
                  <a:pt x="143727" y="2016125"/>
                </a:moveTo>
                <a:lnTo>
                  <a:pt x="143727" y="1082513"/>
                </a:lnTo>
                <a:lnTo>
                  <a:pt x="0" y="1007598"/>
                </a:lnTo>
                <a:lnTo>
                  <a:pt x="143727" y="929589"/>
                </a:lnTo>
                <a:lnTo>
                  <a:pt x="143727" y="0"/>
                </a:lnTo>
              </a:path>
            </a:pathLst>
          </a:cu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solidFill>
                <a:schemeClr val="tx1"/>
              </a:solidFill>
            </a:endParaRPr>
          </a:p>
        </p:txBody>
      </p:sp>
      <p:sp>
        <p:nvSpPr>
          <p:cNvPr id="12" name="Rectangle 38"/>
          <p:cNvSpPr/>
          <p:nvPr/>
        </p:nvSpPr>
        <p:spPr bwMode="gray">
          <a:xfrm>
            <a:off x="1181607" y="2131769"/>
            <a:ext cx="2481329" cy="2379171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4" name="Group 105"/>
          <p:cNvGrpSpPr>
            <a:grpSpLocks noChangeAspect="1"/>
          </p:cNvGrpSpPr>
          <p:nvPr/>
        </p:nvGrpSpPr>
        <p:grpSpPr bwMode="auto">
          <a:xfrm>
            <a:off x="1473908" y="2590020"/>
            <a:ext cx="1871624" cy="1462669"/>
            <a:chOff x="2002" y="2278"/>
            <a:chExt cx="465" cy="379"/>
          </a:xfrm>
          <a:solidFill>
            <a:schemeClr val="bg1"/>
          </a:solidFill>
        </p:grpSpPr>
        <p:sp>
          <p:nvSpPr>
            <p:cNvPr id="15" name="Freeform 106"/>
            <p:cNvSpPr>
              <a:spLocks/>
            </p:cNvSpPr>
            <p:nvPr/>
          </p:nvSpPr>
          <p:spPr bwMode="auto">
            <a:xfrm>
              <a:off x="2002" y="2289"/>
              <a:ext cx="352" cy="368"/>
            </a:xfrm>
            <a:custGeom>
              <a:avLst/>
              <a:gdLst>
                <a:gd name="T0" fmla="*/ 99 w 190"/>
                <a:gd name="T1" fmla="*/ 181 h 199"/>
                <a:gd name="T2" fmla="*/ 18 w 190"/>
                <a:gd name="T3" fmla="*/ 100 h 199"/>
                <a:gd name="T4" fmla="*/ 99 w 190"/>
                <a:gd name="T5" fmla="*/ 18 h 199"/>
                <a:gd name="T6" fmla="*/ 179 w 190"/>
                <a:gd name="T7" fmla="*/ 83 h 199"/>
                <a:gd name="T8" fmla="*/ 181 w 190"/>
                <a:gd name="T9" fmla="*/ 80 h 199"/>
                <a:gd name="T10" fmla="*/ 184 w 190"/>
                <a:gd name="T11" fmla="*/ 77 h 199"/>
                <a:gd name="T12" fmla="*/ 184 w 190"/>
                <a:gd name="T13" fmla="*/ 74 h 199"/>
                <a:gd name="T14" fmla="*/ 185 w 190"/>
                <a:gd name="T15" fmla="*/ 69 h 199"/>
                <a:gd name="T16" fmla="*/ 189 w 190"/>
                <a:gd name="T17" fmla="*/ 61 h 199"/>
                <a:gd name="T18" fmla="*/ 190 w 190"/>
                <a:gd name="T19" fmla="*/ 59 h 199"/>
                <a:gd name="T20" fmla="*/ 99 w 190"/>
                <a:gd name="T21" fmla="*/ 0 h 199"/>
                <a:gd name="T22" fmla="*/ 0 w 190"/>
                <a:gd name="T23" fmla="*/ 100 h 199"/>
                <a:gd name="T24" fmla="*/ 99 w 190"/>
                <a:gd name="T25" fmla="*/ 199 h 199"/>
                <a:gd name="T26" fmla="*/ 159 w 190"/>
                <a:gd name="T27" fmla="*/ 179 h 199"/>
                <a:gd name="T28" fmla="*/ 164 w 190"/>
                <a:gd name="T29" fmla="*/ 155 h 199"/>
                <a:gd name="T30" fmla="*/ 162 w 190"/>
                <a:gd name="T31" fmla="*/ 152 h 199"/>
                <a:gd name="T32" fmla="*/ 99 w 190"/>
                <a:gd name="T33" fmla="*/ 18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0" h="199">
                  <a:moveTo>
                    <a:pt x="99" y="181"/>
                  </a:moveTo>
                  <a:cubicBezTo>
                    <a:pt x="54" y="181"/>
                    <a:pt x="18" y="145"/>
                    <a:pt x="18" y="100"/>
                  </a:cubicBezTo>
                  <a:cubicBezTo>
                    <a:pt x="18" y="55"/>
                    <a:pt x="54" y="18"/>
                    <a:pt x="99" y="18"/>
                  </a:cubicBezTo>
                  <a:cubicBezTo>
                    <a:pt x="139" y="18"/>
                    <a:pt x="172" y="46"/>
                    <a:pt x="179" y="83"/>
                  </a:cubicBezTo>
                  <a:cubicBezTo>
                    <a:pt x="180" y="82"/>
                    <a:pt x="181" y="81"/>
                    <a:pt x="181" y="80"/>
                  </a:cubicBezTo>
                  <a:cubicBezTo>
                    <a:pt x="182" y="79"/>
                    <a:pt x="183" y="78"/>
                    <a:pt x="184" y="77"/>
                  </a:cubicBezTo>
                  <a:cubicBezTo>
                    <a:pt x="184" y="76"/>
                    <a:pt x="184" y="75"/>
                    <a:pt x="184" y="74"/>
                  </a:cubicBezTo>
                  <a:cubicBezTo>
                    <a:pt x="184" y="72"/>
                    <a:pt x="184" y="70"/>
                    <a:pt x="185" y="69"/>
                  </a:cubicBezTo>
                  <a:cubicBezTo>
                    <a:pt x="189" y="61"/>
                    <a:pt x="189" y="61"/>
                    <a:pt x="189" y="61"/>
                  </a:cubicBezTo>
                  <a:cubicBezTo>
                    <a:pt x="189" y="60"/>
                    <a:pt x="189" y="60"/>
                    <a:pt x="190" y="59"/>
                  </a:cubicBezTo>
                  <a:cubicBezTo>
                    <a:pt x="174" y="25"/>
                    <a:pt x="140" y="0"/>
                    <a:pt x="99" y="0"/>
                  </a:cubicBezTo>
                  <a:cubicBezTo>
                    <a:pt x="44" y="0"/>
                    <a:pt x="0" y="45"/>
                    <a:pt x="0" y="100"/>
                  </a:cubicBezTo>
                  <a:cubicBezTo>
                    <a:pt x="0" y="155"/>
                    <a:pt x="44" y="199"/>
                    <a:pt x="99" y="199"/>
                  </a:cubicBezTo>
                  <a:cubicBezTo>
                    <a:pt x="122" y="199"/>
                    <a:pt x="142" y="191"/>
                    <a:pt x="159" y="179"/>
                  </a:cubicBezTo>
                  <a:cubicBezTo>
                    <a:pt x="164" y="155"/>
                    <a:pt x="164" y="155"/>
                    <a:pt x="164" y="155"/>
                  </a:cubicBezTo>
                  <a:cubicBezTo>
                    <a:pt x="163" y="154"/>
                    <a:pt x="163" y="153"/>
                    <a:pt x="162" y="152"/>
                  </a:cubicBezTo>
                  <a:cubicBezTo>
                    <a:pt x="147" y="170"/>
                    <a:pt x="124" y="181"/>
                    <a:pt x="99" y="1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6" name="Freeform 107"/>
            <p:cNvSpPr>
              <a:spLocks noEditPoints="1"/>
            </p:cNvSpPr>
            <p:nvPr/>
          </p:nvSpPr>
          <p:spPr bwMode="auto">
            <a:xfrm>
              <a:off x="2067" y="2354"/>
              <a:ext cx="239" cy="238"/>
            </a:xfrm>
            <a:custGeom>
              <a:avLst/>
              <a:gdLst>
                <a:gd name="T0" fmla="*/ 64 w 129"/>
                <a:gd name="T1" fmla="*/ 0 h 129"/>
                <a:gd name="T2" fmla="*/ 0 w 129"/>
                <a:gd name="T3" fmla="*/ 65 h 129"/>
                <a:gd name="T4" fmla="*/ 64 w 129"/>
                <a:gd name="T5" fmla="*/ 129 h 129"/>
                <a:gd name="T6" fmla="*/ 129 w 129"/>
                <a:gd name="T7" fmla="*/ 65 h 129"/>
                <a:gd name="T8" fmla="*/ 64 w 129"/>
                <a:gd name="T9" fmla="*/ 0 h 129"/>
                <a:gd name="T10" fmla="*/ 64 w 129"/>
                <a:gd name="T11" fmla="*/ 106 h 129"/>
                <a:gd name="T12" fmla="*/ 23 w 129"/>
                <a:gd name="T13" fmla="*/ 65 h 129"/>
                <a:gd name="T14" fmla="*/ 64 w 129"/>
                <a:gd name="T15" fmla="*/ 23 h 129"/>
                <a:gd name="T16" fmla="*/ 106 w 129"/>
                <a:gd name="T17" fmla="*/ 65 h 129"/>
                <a:gd name="T18" fmla="*/ 64 w 129"/>
                <a:gd name="T19" fmla="*/ 106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9" h="129">
                  <a:moveTo>
                    <a:pt x="64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00"/>
                    <a:pt x="29" y="129"/>
                    <a:pt x="64" y="129"/>
                  </a:cubicBezTo>
                  <a:cubicBezTo>
                    <a:pt x="100" y="129"/>
                    <a:pt x="129" y="100"/>
                    <a:pt x="129" y="65"/>
                  </a:cubicBezTo>
                  <a:cubicBezTo>
                    <a:pt x="129" y="29"/>
                    <a:pt x="100" y="0"/>
                    <a:pt x="64" y="0"/>
                  </a:cubicBezTo>
                  <a:close/>
                  <a:moveTo>
                    <a:pt x="64" y="106"/>
                  </a:moveTo>
                  <a:cubicBezTo>
                    <a:pt x="41" y="106"/>
                    <a:pt x="23" y="88"/>
                    <a:pt x="23" y="65"/>
                  </a:cubicBezTo>
                  <a:cubicBezTo>
                    <a:pt x="23" y="42"/>
                    <a:pt x="41" y="23"/>
                    <a:pt x="64" y="23"/>
                  </a:cubicBezTo>
                  <a:cubicBezTo>
                    <a:pt x="87" y="23"/>
                    <a:pt x="106" y="42"/>
                    <a:pt x="106" y="65"/>
                  </a:cubicBezTo>
                  <a:cubicBezTo>
                    <a:pt x="106" y="88"/>
                    <a:pt x="87" y="106"/>
                    <a:pt x="64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18" name="Oval 108"/>
            <p:cNvSpPr>
              <a:spLocks noChangeArrowheads="1"/>
            </p:cNvSpPr>
            <p:nvPr/>
          </p:nvSpPr>
          <p:spPr bwMode="auto">
            <a:xfrm>
              <a:off x="2139" y="2426"/>
              <a:ext cx="95" cy="9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0" name="Freeform 109"/>
            <p:cNvSpPr>
              <a:spLocks/>
            </p:cNvSpPr>
            <p:nvPr/>
          </p:nvSpPr>
          <p:spPr bwMode="auto">
            <a:xfrm>
              <a:off x="2308" y="2579"/>
              <a:ext cx="26" cy="58"/>
            </a:xfrm>
            <a:custGeom>
              <a:avLst/>
              <a:gdLst>
                <a:gd name="T0" fmla="*/ 10 w 14"/>
                <a:gd name="T1" fmla="*/ 1 h 31"/>
                <a:gd name="T2" fmla="*/ 6 w 14"/>
                <a:gd name="T3" fmla="*/ 0 h 31"/>
                <a:gd name="T4" fmla="*/ 0 w 14"/>
                <a:gd name="T5" fmla="*/ 30 h 31"/>
                <a:gd name="T6" fmla="*/ 0 w 14"/>
                <a:gd name="T7" fmla="*/ 31 h 31"/>
                <a:gd name="T8" fmla="*/ 1 w 14"/>
                <a:gd name="T9" fmla="*/ 31 h 31"/>
                <a:gd name="T10" fmla="*/ 14 w 14"/>
                <a:gd name="T11" fmla="*/ 2 h 31"/>
                <a:gd name="T12" fmla="*/ 10 w 14"/>
                <a:gd name="T13" fmla="*/ 1 h 31"/>
                <a:gd name="T14" fmla="*/ 10 w 14"/>
                <a:gd name="T1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1">
                  <a:moveTo>
                    <a:pt x="10" y="1"/>
                  </a:moveTo>
                  <a:cubicBezTo>
                    <a:pt x="9" y="1"/>
                    <a:pt x="7" y="0"/>
                    <a:pt x="6" y="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2" y="2"/>
                    <a:pt x="11" y="2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1" name="Freeform 110"/>
            <p:cNvSpPr>
              <a:spLocks noEditPoints="1"/>
            </p:cNvSpPr>
            <p:nvPr/>
          </p:nvSpPr>
          <p:spPr bwMode="auto">
            <a:xfrm>
              <a:off x="2306" y="2443"/>
              <a:ext cx="81" cy="133"/>
            </a:xfrm>
            <a:custGeom>
              <a:avLst/>
              <a:gdLst>
                <a:gd name="T0" fmla="*/ 42 w 44"/>
                <a:gd name="T1" fmla="*/ 5 h 72"/>
                <a:gd name="T2" fmla="*/ 26 w 44"/>
                <a:gd name="T3" fmla="*/ 0 h 72"/>
                <a:gd name="T4" fmla="*/ 24 w 44"/>
                <a:gd name="T5" fmla="*/ 1 h 72"/>
                <a:gd name="T6" fmla="*/ 5 w 44"/>
                <a:gd name="T7" fmla="*/ 37 h 72"/>
                <a:gd name="T8" fmla="*/ 4 w 44"/>
                <a:gd name="T9" fmla="*/ 40 h 72"/>
                <a:gd name="T10" fmla="*/ 2 w 44"/>
                <a:gd name="T11" fmla="*/ 62 h 72"/>
                <a:gd name="T12" fmla="*/ 12 w 44"/>
                <a:gd name="T13" fmla="*/ 71 h 72"/>
                <a:gd name="T14" fmla="*/ 12 w 44"/>
                <a:gd name="T15" fmla="*/ 71 h 72"/>
                <a:gd name="T16" fmla="*/ 25 w 44"/>
                <a:gd name="T17" fmla="*/ 69 h 72"/>
                <a:gd name="T18" fmla="*/ 37 w 44"/>
                <a:gd name="T19" fmla="*/ 51 h 72"/>
                <a:gd name="T20" fmla="*/ 38 w 44"/>
                <a:gd name="T21" fmla="*/ 48 h 72"/>
                <a:gd name="T22" fmla="*/ 38 w 44"/>
                <a:gd name="T23" fmla="*/ 48 h 72"/>
                <a:gd name="T24" fmla="*/ 44 w 44"/>
                <a:gd name="T25" fmla="*/ 7 h 72"/>
                <a:gd name="T26" fmla="*/ 42 w 44"/>
                <a:gd name="T27" fmla="*/ 5 h 72"/>
                <a:gd name="T28" fmla="*/ 14 w 44"/>
                <a:gd name="T29" fmla="*/ 43 h 72"/>
                <a:gd name="T30" fmla="*/ 13 w 44"/>
                <a:gd name="T31" fmla="*/ 46 h 72"/>
                <a:gd name="T32" fmla="*/ 13 w 44"/>
                <a:gd name="T33" fmla="*/ 61 h 72"/>
                <a:gd name="T34" fmla="*/ 11 w 44"/>
                <a:gd name="T35" fmla="*/ 64 h 72"/>
                <a:gd name="T36" fmla="*/ 10 w 44"/>
                <a:gd name="T37" fmla="*/ 63 h 72"/>
                <a:gd name="T38" fmla="*/ 8 w 44"/>
                <a:gd name="T39" fmla="*/ 62 h 72"/>
                <a:gd name="T40" fmla="*/ 8 w 44"/>
                <a:gd name="T41" fmla="*/ 44 h 72"/>
                <a:gd name="T42" fmla="*/ 10 w 44"/>
                <a:gd name="T43" fmla="*/ 40 h 72"/>
                <a:gd name="T44" fmla="*/ 13 w 44"/>
                <a:gd name="T45" fmla="*/ 40 h 72"/>
                <a:gd name="T46" fmla="*/ 14 w 44"/>
                <a:gd name="T47" fmla="*/ 4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4" h="72">
                  <a:moveTo>
                    <a:pt x="42" y="5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25" y="0"/>
                    <a:pt x="24" y="0"/>
                    <a:pt x="24" y="1"/>
                  </a:cubicBezTo>
                  <a:cubicBezTo>
                    <a:pt x="17" y="10"/>
                    <a:pt x="9" y="24"/>
                    <a:pt x="5" y="37"/>
                  </a:cubicBezTo>
                  <a:cubicBezTo>
                    <a:pt x="4" y="38"/>
                    <a:pt x="4" y="39"/>
                    <a:pt x="4" y="40"/>
                  </a:cubicBezTo>
                  <a:cubicBezTo>
                    <a:pt x="0" y="50"/>
                    <a:pt x="1" y="57"/>
                    <a:pt x="2" y="62"/>
                  </a:cubicBezTo>
                  <a:cubicBezTo>
                    <a:pt x="4" y="67"/>
                    <a:pt x="8" y="70"/>
                    <a:pt x="12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6" y="72"/>
                    <a:pt x="21" y="72"/>
                    <a:pt x="25" y="69"/>
                  </a:cubicBezTo>
                  <a:cubicBezTo>
                    <a:pt x="30" y="67"/>
                    <a:pt x="34" y="61"/>
                    <a:pt x="37" y="51"/>
                  </a:cubicBezTo>
                  <a:cubicBezTo>
                    <a:pt x="37" y="50"/>
                    <a:pt x="38" y="49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42" y="35"/>
                    <a:pt x="44" y="19"/>
                    <a:pt x="44" y="7"/>
                  </a:cubicBezTo>
                  <a:cubicBezTo>
                    <a:pt x="44" y="6"/>
                    <a:pt x="43" y="5"/>
                    <a:pt x="42" y="5"/>
                  </a:cubicBezTo>
                  <a:close/>
                  <a:moveTo>
                    <a:pt x="14" y="43"/>
                  </a:moveTo>
                  <a:cubicBezTo>
                    <a:pt x="14" y="43"/>
                    <a:pt x="14" y="44"/>
                    <a:pt x="13" y="46"/>
                  </a:cubicBezTo>
                  <a:cubicBezTo>
                    <a:pt x="12" y="49"/>
                    <a:pt x="11" y="55"/>
                    <a:pt x="13" y="61"/>
                  </a:cubicBezTo>
                  <a:cubicBezTo>
                    <a:pt x="13" y="62"/>
                    <a:pt x="13" y="63"/>
                    <a:pt x="11" y="64"/>
                  </a:cubicBezTo>
                  <a:cubicBezTo>
                    <a:pt x="11" y="64"/>
                    <a:pt x="10" y="64"/>
                    <a:pt x="10" y="63"/>
                  </a:cubicBezTo>
                  <a:cubicBezTo>
                    <a:pt x="9" y="63"/>
                    <a:pt x="8" y="63"/>
                    <a:pt x="8" y="62"/>
                  </a:cubicBezTo>
                  <a:cubicBezTo>
                    <a:pt x="6" y="55"/>
                    <a:pt x="7" y="48"/>
                    <a:pt x="8" y="44"/>
                  </a:cubicBezTo>
                  <a:cubicBezTo>
                    <a:pt x="9" y="42"/>
                    <a:pt x="10" y="41"/>
                    <a:pt x="10" y="40"/>
                  </a:cubicBezTo>
                  <a:cubicBezTo>
                    <a:pt x="10" y="39"/>
                    <a:pt x="12" y="39"/>
                    <a:pt x="13" y="40"/>
                  </a:cubicBezTo>
                  <a:cubicBezTo>
                    <a:pt x="15" y="40"/>
                    <a:pt x="15" y="42"/>
                    <a:pt x="14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2" name="Freeform 111"/>
            <p:cNvSpPr>
              <a:spLocks/>
            </p:cNvSpPr>
            <p:nvPr/>
          </p:nvSpPr>
          <p:spPr bwMode="auto">
            <a:xfrm>
              <a:off x="2354" y="2404"/>
              <a:ext cx="42" cy="35"/>
            </a:xfrm>
            <a:custGeom>
              <a:avLst/>
              <a:gdLst>
                <a:gd name="T0" fmla="*/ 21 w 23"/>
                <a:gd name="T1" fmla="*/ 5 h 19"/>
                <a:gd name="T2" fmla="*/ 9 w 23"/>
                <a:gd name="T3" fmla="*/ 1 h 19"/>
                <a:gd name="T4" fmla="*/ 5 w 23"/>
                <a:gd name="T5" fmla="*/ 2 h 19"/>
                <a:gd name="T6" fmla="*/ 1 w 23"/>
                <a:gd name="T7" fmla="*/ 10 h 19"/>
                <a:gd name="T8" fmla="*/ 3 w 23"/>
                <a:gd name="T9" fmla="*/ 14 h 19"/>
                <a:gd name="T10" fmla="*/ 19 w 23"/>
                <a:gd name="T11" fmla="*/ 19 h 19"/>
                <a:gd name="T12" fmla="*/ 22 w 23"/>
                <a:gd name="T13" fmla="*/ 17 h 19"/>
                <a:gd name="T14" fmla="*/ 23 w 23"/>
                <a:gd name="T15" fmla="*/ 8 h 19"/>
                <a:gd name="T16" fmla="*/ 21 w 23"/>
                <a:gd name="T17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9">
                  <a:moveTo>
                    <a:pt x="21" y="5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6" y="1"/>
                    <a:pt x="5" y="2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2"/>
                    <a:pt x="1" y="13"/>
                    <a:pt x="3" y="14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0" y="19"/>
                    <a:pt x="21" y="19"/>
                    <a:pt x="22" y="17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7"/>
                    <a:pt x="22" y="5"/>
                    <a:pt x="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3" name="Freeform 112"/>
            <p:cNvSpPr>
              <a:spLocks/>
            </p:cNvSpPr>
            <p:nvPr/>
          </p:nvSpPr>
          <p:spPr bwMode="auto">
            <a:xfrm>
              <a:off x="2350" y="2278"/>
              <a:ext cx="46" cy="118"/>
            </a:xfrm>
            <a:custGeom>
              <a:avLst/>
              <a:gdLst>
                <a:gd name="T0" fmla="*/ 9 w 25"/>
                <a:gd name="T1" fmla="*/ 62 h 64"/>
                <a:gd name="T2" fmla="*/ 11 w 25"/>
                <a:gd name="T3" fmla="*/ 64 h 64"/>
                <a:gd name="T4" fmla="*/ 11 w 25"/>
                <a:gd name="T5" fmla="*/ 64 h 64"/>
                <a:gd name="T6" fmla="*/ 13 w 25"/>
                <a:gd name="T7" fmla="*/ 63 h 64"/>
                <a:gd name="T8" fmla="*/ 23 w 25"/>
                <a:gd name="T9" fmla="*/ 31 h 64"/>
                <a:gd name="T10" fmla="*/ 24 w 25"/>
                <a:gd name="T11" fmla="*/ 31 h 64"/>
                <a:gd name="T12" fmla="*/ 25 w 25"/>
                <a:gd name="T13" fmla="*/ 2 h 64"/>
                <a:gd name="T14" fmla="*/ 23 w 25"/>
                <a:gd name="T15" fmla="*/ 0 h 64"/>
                <a:gd name="T16" fmla="*/ 21 w 25"/>
                <a:gd name="T17" fmla="*/ 0 h 64"/>
                <a:gd name="T18" fmla="*/ 1 w 25"/>
                <a:gd name="T19" fmla="*/ 18 h 64"/>
                <a:gd name="T20" fmla="*/ 0 w 25"/>
                <a:gd name="T21" fmla="*/ 22 h 64"/>
                <a:gd name="T22" fmla="*/ 0 w 25"/>
                <a:gd name="T23" fmla="*/ 23 h 64"/>
                <a:gd name="T24" fmla="*/ 9 w 25"/>
                <a:gd name="T25" fmla="*/ 6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64">
                  <a:moveTo>
                    <a:pt x="9" y="62"/>
                  </a:moveTo>
                  <a:cubicBezTo>
                    <a:pt x="9" y="63"/>
                    <a:pt x="10" y="64"/>
                    <a:pt x="11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2" y="64"/>
                    <a:pt x="13" y="64"/>
                    <a:pt x="13" y="63"/>
                  </a:cubicBezTo>
                  <a:cubicBezTo>
                    <a:pt x="23" y="31"/>
                    <a:pt x="23" y="31"/>
                    <a:pt x="23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1"/>
                    <a:pt x="24" y="1"/>
                    <a:pt x="23" y="0"/>
                  </a:cubicBezTo>
                  <a:cubicBezTo>
                    <a:pt x="23" y="0"/>
                    <a:pt x="22" y="0"/>
                    <a:pt x="21" y="0"/>
                  </a:cubicBezTo>
                  <a:cubicBezTo>
                    <a:pt x="8" y="5"/>
                    <a:pt x="3" y="13"/>
                    <a:pt x="1" y="18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3"/>
                    <a:pt x="0" y="23"/>
                    <a:pt x="0" y="23"/>
                  </a:cubicBezTo>
                  <a:lnTo>
                    <a:pt x="9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4" name="Freeform 113"/>
            <p:cNvSpPr>
              <a:spLocks/>
            </p:cNvSpPr>
            <p:nvPr/>
          </p:nvSpPr>
          <p:spPr bwMode="auto">
            <a:xfrm>
              <a:off x="2395" y="2297"/>
              <a:ext cx="72" cy="109"/>
            </a:xfrm>
            <a:custGeom>
              <a:avLst/>
              <a:gdLst>
                <a:gd name="T0" fmla="*/ 31 w 39"/>
                <a:gd name="T1" fmla="*/ 1 h 59"/>
                <a:gd name="T2" fmla="*/ 29 w 39"/>
                <a:gd name="T3" fmla="*/ 0 h 59"/>
                <a:gd name="T4" fmla="*/ 27 w 39"/>
                <a:gd name="T5" fmla="*/ 0 h 59"/>
                <a:gd name="T6" fmla="*/ 11 w 39"/>
                <a:gd name="T7" fmla="*/ 25 h 59"/>
                <a:gd name="T8" fmla="*/ 11 w 39"/>
                <a:gd name="T9" fmla="*/ 25 h 59"/>
                <a:gd name="T10" fmla="*/ 1 w 39"/>
                <a:gd name="T11" fmla="*/ 56 h 59"/>
                <a:gd name="T12" fmla="*/ 2 w 39"/>
                <a:gd name="T13" fmla="*/ 59 h 59"/>
                <a:gd name="T14" fmla="*/ 2 w 39"/>
                <a:gd name="T15" fmla="*/ 59 h 59"/>
                <a:gd name="T16" fmla="*/ 4 w 39"/>
                <a:gd name="T17" fmla="*/ 58 h 59"/>
                <a:gd name="T18" fmla="*/ 34 w 39"/>
                <a:gd name="T19" fmla="*/ 31 h 59"/>
                <a:gd name="T20" fmla="*/ 35 w 39"/>
                <a:gd name="T21" fmla="*/ 31 h 59"/>
                <a:gd name="T22" fmla="*/ 36 w 39"/>
                <a:gd name="T23" fmla="*/ 27 h 59"/>
                <a:gd name="T24" fmla="*/ 31 w 39"/>
                <a:gd name="T25" fmla="*/ 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9">
                  <a:moveTo>
                    <a:pt x="31" y="1"/>
                  </a:moveTo>
                  <a:cubicBezTo>
                    <a:pt x="30" y="0"/>
                    <a:pt x="30" y="0"/>
                    <a:pt x="29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0" y="57"/>
                    <a:pt x="1" y="58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3" y="59"/>
                    <a:pt x="4" y="59"/>
                    <a:pt x="4" y="58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6" y="30"/>
                    <a:pt x="36" y="27"/>
                  </a:cubicBezTo>
                  <a:cubicBezTo>
                    <a:pt x="38" y="22"/>
                    <a:pt x="39" y="13"/>
                    <a:pt x="3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  <p:sp>
          <p:nvSpPr>
            <p:cNvPr id="25" name="Freeform 114"/>
            <p:cNvSpPr>
              <a:spLocks/>
            </p:cNvSpPr>
            <p:nvPr/>
          </p:nvSpPr>
          <p:spPr bwMode="auto">
            <a:xfrm>
              <a:off x="2382" y="2282"/>
              <a:ext cx="44" cy="118"/>
            </a:xfrm>
            <a:custGeom>
              <a:avLst/>
              <a:gdLst>
                <a:gd name="T0" fmla="*/ 2 w 24"/>
                <a:gd name="T1" fmla="*/ 64 h 64"/>
                <a:gd name="T2" fmla="*/ 4 w 24"/>
                <a:gd name="T3" fmla="*/ 62 h 64"/>
                <a:gd name="T4" fmla="*/ 23 w 24"/>
                <a:gd name="T5" fmla="*/ 3 h 64"/>
                <a:gd name="T6" fmla="*/ 22 w 24"/>
                <a:gd name="T7" fmla="*/ 0 h 64"/>
                <a:gd name="T8" fmla="*/ 19 w 24"/>
                <a:gd name="T9" fmla="*/ 1 h 64"/>
                <a:gd name="T10" fmla="*/ 0 w 24"/>
                <a:gd name="T11" fmla="*/ 61 h 64"/>
                <a:gd name="T12" fmla="*/ 2 w 24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64">
                  <a:moveTo>
                    <a:pt x="2" y="64"/>
                  </a:moveTo>
                  <a:cubicBezTo>
                    <a:pt x="3" y="64"/>
                    <a:pt x="4" y="63"/>
                    <a:pt x="4" y="6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2"/>
                    <a:pt x="23" y="1"/>
                    <a:pt x="22" y="0"/>
                  </a:cubicBezTo>
                  <a:cubicBezTo>
                    <a:pt x="21" y="0"/>
                    <a:pt x="20" y="1"/>
                    <a:pt x="19" y="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62"/>
                    <a:pt x="1" y="63"/>
                    <a:pt x="2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3200"/>
            </a:p>
          </p:txBody>
        </p:sp>
      </p:grpSp>
      <p:sp>
        <p:nvSpPr>
          <p:cNvPr id="26" name="Rectángulo 25"/>
          <p:cNvSpPr/>
          <p:nvPr/>
        </p:nvSpPr>
        <p:spPr bwMode="gray">
          <a:xfrm>
            <a:off x="6723292" y="6340308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43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335360" y="285634"/>
            <a:ext cx="8637693" cy="708266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PE" b="1" dirty="0" smtClean="0">
                <a:latin typeface="Corbel" panose="020B0503020204020204" pitchFamily="34" charset="0"/>
              </a:rPr>
              <a:t>Efectividad percibida con respecto a las denuncias por corrupción es de 26%, frente a un mayoritario 71% que no ve efectividad.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35360" y="1477845"/>
            <a:ext cx="112391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¿Qué tan efectivos cree que son los resultados de las denuncias por casos de corrupción?- </a:t>
            </a:r>
            <a:r>
              <a:rPr lang="es-419" b="1" dirty="0">
                <a:latin typeface="Corbel" panose="020B0503020204020204" pitchFamily="34" charset="0"/>
              </a:rPr>
              <a:t>CON </a:t>
            </a:r>
            <a:r>
              <a:rPr lang="es-419" b="1" dirty="0" smtClean="0">
                <a:latin typeface="Corbel" panose="020B0503020204020204" pitchFamily="34" charset="0"/>
              </a:rPr>
              <a:t>TARJETA, MÚLTIPLE</a:t>
            </a:r>
            <a:endParaRPr lang="es-419" b="1" dirty="0">
              <a:latin typeface="Corbel" panose="020B0503020204020204" pitchFamily="34" charset="0"/>
            </a:endParaRPr>
          </a:p>
        </p:txBody>
      </p:sp>
      <p:sp>
        <p:nvSpPr>
          <p:cNvPr id="9" name="Elipse 8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graphicFrame>
        <p:nvGraphicFramePr>
          <p:cNvPr id="15" name="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359229"/>
              </p:ext>
            </p:extLst>
          </p:nvPr>
        </p:nvGraphicFramePr>
        <p:xfrm>
          <a:off x="602899" y="4941588"/>
          <a:ext cx="11073221" cy="1351054"/>
        </p:xfrm>
        <a:graphic>
          <a:graphicData uri="http://schemas.openxmlformats.org/drawingml/2006/table">
            <a:tbl>
              <a:tblPr/>
              <a:tblGrid>
                <a:gridCol w="27538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596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23001">
                  <a:extLst>
                    <a:ext uri="{9D8B030D-6E8A-4147-A177-3AD203B41FA5}">
                      <a16:colId xmlns:a16="http://schemas.microsoft.com/office/drawing/2014/main" xmlns="" val="755056812"/>
                    </a:ext>
                  </a:extLst>
                </a:gridCol>
                <a:gridCol w="1107889">
                  <a:extLst>
                    <a:ext uri="{9D8B030D-6E8A-4147-A177-3AD203B41FA5}">
                      <a16:colId xmlns:a16="http://schemas.microsoft.com/office/drawing/2014/main" xmlns="" val="3338438599"/>
                    </a:ext>
                  </a:extLst>
                </a:gridCol>
                <a:gridCol w="104457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933790">
                  <a:extLst>
                    <a:ext uri="{9D8B030D-6E8A-4147-A177-3AD203B41FA5}">
                      <a16:colId xmlns:a16="http://schemas.microsoft.com/office/drawing/2014/main" xmlns="" val="1149785273"/>
                    </a:ext>
                  </a:extLst>
                </a:gridCol>
                <a:gridCol w="997354">
                  <a:extLst>
                    <a:ext uri="{9D8B030D-6E8A-4147-A177-3AD203B41FA5}">
                      <a16:colId xmlns:a16="http://schemas.microsoft.com/office/drawing/2014/main" xmlns="" val="3579125402"/>
                    </a:ext>
                  </a:extLst>
                </a:gridCol>
                <a:gridCol w="114826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50475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22284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2019</a:t>
                      </a:r>
                      <a:endParaRPr lang="es-PE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s-419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Total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Macro zona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PE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Nivel socioeconómico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</a:rPr>
                        <a:t>Nivel de sobre política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0833"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PE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Lima </a:t>
                      </a:r>
                      <a:r>
                        <a:rPr lang="es-PE" sz="14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Met</a:t>
                      </a:r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x-none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Arial" panose="020B0604020202020204" pitchFamily="34" charset="0"/>
                        </a:rPr>
                        <a:t>T. Interior</a:t>
                      </a:r>
                      <a:r>
                        <a:rPr lang="x-none" sz="14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s-ES" sz="14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NSE A/B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NSE C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NSE D/E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Informados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orbel" panose="020B0503020204020204" pitchFamily="34" charset="0"/>
                          <a:cs typeface="Arial" panose="020B0604020202020204" pitchFamily="34" charset="0"/>
                        </a:rPr>
                        <a:t>No informados</a:t>
                      </a:r>
                      <a:endParaRPr lang="es-PE" sz="1400" b="1" i="0" u="none" strike="noStrike" dirty="0">
                        <a:solidFill>
                          <a:schemeClr val="tx1"/>
                        </a:solidFill>
                        <a:effectLst/>
                        <a:latin typeface="Corbel" panose="020B0503020204020204" pitchFamily="34" charset="0"/>
                        <a:cs typeface="Arial" panose="020B0604020202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9403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Bastante</a:t>
                      </a:r>
                      <a:r>
                        <a:rPr lang="es-PE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 + algo efectivos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9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D0D0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9403">
                <a:tc>
                  <a:txBody>
                    <a:bodyPr/>
                    <a:lstStyle/>
                    <a:p>
                      <a:pPr marL="0" marR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Poco</a:t>
                      </a:r>
                      <a:r>
                        <a:rPr lang="es-PE" sz="16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 + nada efectivos</a:t>
                      </a:r>
                      <a:endParaRPr lang="es-PE" sz="1600" b="0" i="0" u="none" strike="noStrike" dirty="0" smtClean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6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77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8575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NS/NP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5372" marR="5372" marT="5372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%</a:t>
                      </a:r>
                      <a:endParaRPr lang="es-PE" sz="16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17" name="Objekt 5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238909"/>
              </p:ext>
            </p:extLst>
          </p:nvPr>
        </p:nvGraphicFramePr>
        <p:xfrm>
          <a:off x="321078" y="1893784"/>
          <a:ext cx="10283607" cy="2737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Cerrar llave 18"/>
          <p:cNvSpPr/>
          <p:nvPr/>
        </p:nvSpPr>
        <p:spPr>
          <a:xfrm>
            <a:off x="6588350" y="2067490"/>
            <a:ext cx="320118" cy="1514774"/>
          </a:xfrm>
          <a:prstGeom prst="rightBrac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0" name="Rectángulo 19"/>
          <p:cNvSpPr/>
          <p:nvPr/>
        </p:nvSpPr>
        <p:spPr>
          <a:xfrm>
            <a:off x="7052345" y="2588986"/>
            <a:ext cx="75212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dirty="0" smtClean="0">
                <a:latin typeface="Corbel" panose="020B0503020204020204" pitchFamily="34" charset="0"/>
              </a:rPr>
              <a:t>26%</a:t>
            </a:r>
            <a:endParaRPr lang="es-PE" sz="2400" dirty="0"/>
          </a:p>
        </p:txBody>
      </p:sp>
      <p:sp>
        <p:nvSpPr>
          <p:cNvPr id="13" name="Elipse 12"/>
          <p:cNvSpPr/>
          <p:nvPr/>
        </p:nvSpPr>
        <p:spPr bwMode="gray">
          <a:xfrm>
            <a:off x="4285821" y="5458615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Elipse 10"/>
          <p:cNvSpPr/>
          <p:nvPr/>
        </p:nvSpPr>
        <p:spPr bwMode="gray">
          <a:xfrm>
            <a:off x="5197792" y="5771708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Elipse 20"/>
          <p:cNvSpPr/>
          <p:nvPr/>
        </p:nvSpPr>
        <p:spPr bwMode="gray">
          <a:xfrm>
            <a:off x="6284376" y="5444703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Elipse 21"/>
          <p:cNvSpPr/>
          <p:nvPr/>
        </p:nvSpPr>
        <p:spPr bwMode="gray">
          <a:xfrm>
            <a:off x="8298800" y="5759992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Elipse 22"/>
          <p:cNvSpPr/>
          <p:nvPr/>
        </p:nvSpPr>
        <p:spPr bwMode="gray">
          <a:xfrm>
            <a:off x="9226156" y="5458615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Elipse 23"/>
          <p:cNvSpPr/>
          <p:nvPr/>
        </p:nvSpPr>
        <p:spPr bwMode="gray">
          <a:xfrm>
            <a:off x="10637763" y="5771708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" name="Conector recto 3"/>
          <p:cNvCxnSpPr/>
          <p:nvPr/>
        </p:nvCxnSpPr>
        <p:spPr>
          <a:xfrm flipH="1" flipV="1">
            <a:off x="5581413" y="2067489"/>
            <a:ext cx="1006937" cy="1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1629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475502" y="288588"/>
            <a:ext cx="8873213" cy="122422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Si aumenta percepción de efectividad de denuncias, disminuye percepción de corrupción a futuro en los próximos 5 años.</a:t>
            </a:r>
          </a:p>
        </p:txBody>
      </p:sp>
      <p:sp>
        <p:nvSpPr>
          <p:cNvPr id="4" name="Rectángulo 3"/>
          <p:cNvSpPr/>
          <p:nvPr/>
        </p:nvSpPr>
        <p:spPr>
          <a:xfrm>
            <a:off x="9832960" y="5939285"/>
            <a:ext cx="17608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419" dirty="0" smtClean="0">
                <a:solidFill>
                  <a:srgbClr val="000000"/>
                </a:solidFill>
                <a:latin typeface="Corbel" panose="020B0503020204020204" pitchFamily="34" charset="0"/>
              </a:rPr>
              <a:t>r= -,137, p&lt;.005. </a:t>
            </a:r>
            <a:endParaRPr lang="es-PE" dirty="0"/>
          </a:p>
        </p:txBody>
      </p:sp>
      <p:graphicFrame>
        <p:nvGraphicFramePr>
          <p:cNvPr id="5" name="Gráfico 4"/>
          <p:cNvGraphicFramePr>
            <a:graphicFrameLocks/>
          </p:cNvGraphicFramePr>
          <p:nvPr>
            <p:extLst/>
          </p:nvPr>
        </p:nvGraphicFramePr>
        <p:xfrm>
          <a:off x="2350243" y="1397888"/>
          <a:ext cx="6481764" cy="4726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7" name="Conector recto 6"/>
          <p:cNvCxnSpPr/>
          <p:nvPr/>
        </p:nvCxnSpPr>
        <p:spPr>
          <a:xfrm>
            <a:off x="3576794" y="3129794"/>
            <a:ext cx="4386469" cy="430695"/>
          </a:xfrm>
          <a:prstGeom prst="line">
            <a:avLst/>
          </a:prstGeom>
          <a:ln w="381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lecha abajo 2"/>
          <p:cNvSpPr/>
          <p:nvPr/>
        </p:nvSpPr>
        <p:spPr bwMode="gray">
          <a:xfrm rot="10800000">
            <a:off x="1806380" y="1218117"/>
            <a:ext cx="1104087" cy="4386028"/>
          </a:xfrm>
          <a:prstGeom prst="downArrow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PE" sz="1600" b="1" dirty="0" smtClean="0">
                <a:solidFill>
                  <a:schemeClr val="bg1"/>
                </a:solidFill>
                <a:latin typeface="Corbel" panose="020B0503020204020204" pitchFamily="34" charset="0"/>
                <a:cs typeface="Arial" pitchFamily="34" charset="0"/>
              </a:rPr>
              <a:t>CORRUPCIÓN A FUTURO</a:t>
            </a:r>
            <a:endParaRPr lang="es-PE" sz="1600" b="1" dirty="0">
              <a:solidFill>
                <a:schemeClr val="bg1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6" name="Flecha derecha 5"/>
          <p:cNvSpPr/>
          <p:nvPr/>
        </p:nvSpPr>
        <p:spPr bwMode="gray">
          <a:xfrm>
            <a:off x="2819560" y="5604145"/>
            <a:ext cx="5900935" cy="858644"/>
          </a:xfrm>
          <a:prstGeom prst="rightArrow">
            <a:avLst/>
          </a:prstGeom>
          <a:solidFill>
            <a:schemeClr val="tx2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PE" sz="16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RCEPCIÓN DE EFECTIVIDAD </a:t>
            </a:r>
            <a:r>
              <a:rPr lang="es-PE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 DENUNCIAS</a:t>
            </a:r>
          </a:p>
        </p:txBody>
      </p:sp>
    </p:spTree>
    <p:extLst>
      <p:ext uri="{BB962C8B-B14F-4D97-AF65-F5344CB8AC3E}">
        <p14:creationId xmlns:p14="http://schemas.microsoft.com/office/powerpoint/2010/main" val="3767362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475502" y="288588"/>
            <a:ext cx="8359405" cy="901058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Entusiasmo es mayor entre aquellos que perciben mayor efectividad en las denuncias</a:t>
            </a:r>
          </a:p>
        </p:txBody>
      </p:sp>
      <p:sp>
        <p:nvSpPr>
          <p:cNvPr id="25" name="Rectángulo 24"/>
          <p:cNvSpPr/>
          <p:nvPr/>
        </p:nvSpPr>
        <p:spPr>
          <a:xfrm>
            <a:off x="630049" y="1408587"/>
            <a:ext cx="103117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dirty="0">
                <a:latin typeface="Corbel" panose="020B0503020204020204" pitchFamily="34" charset="0"/>
              </a:rPr>
              <a:t>¿Cree que en los </a:t>
            </a:r>
            <a:r>
              <a:rPr lang="es-ES" b="1" u="sng" dirty="0">
                <a:latin typeface="Corbel" panose="020B0503020204020204" pitchFamily="34" charset="0"/>
              </a:rPr>
              <a:t>próximos 5 años </a:t>
            </a:r>
            <a:r>
              <a:rPr lang="es-ES" dirty="0">
                <a:latin typeface="Corbel" panose="020B0503020204020204" pitchFamily="34" charset="0"/>
              </a:rPr>
              <a:t>la corrupción en el Perú habrá aumentado, seguirá igual o habrá disminuido? </a:t>
            </a:r>
            <a:r>
              <a:rPr lang="es-ES" dirty="0" smtClean="0">
                <a:latin typeface="Corbel" panose="020B0503020204020204" pitchFamily="34" charset="0"/>
              </a:rPr>
              <a:t>(sin incluir NS/NP)</a:t>
            </a:r>
            <a:endParaRPr lang="es-PE" b="1" dirty="0">
              <a:latin typeface="Corbel" panose="020B0503020204020204" pitchFamily="34" charset="0"/>
            </a:endParaRPr>
          </a:p>
        </p:txBody>
      </p:sp>
      <p:graphicFrame>
        <p:nvGraphicFramePr>
          <p:cNvPr id="31" name="31 Gráfico"/>
          <p:cNvGraphicFramePr/>
          <p:nvPr>
            <p:extLst>
              <p:ext uri="{D42A27DB-BD31-4B8C-83A1-F6EECF244321}">
                <p14:modId xmlns:p14="http://schemas.microsoft.com/office/powerpoint/2010/main" val="882420494"/>
              </p:ext>
            </p:extLst>
          </p:nvPr>
        </p:nvGraphicFramePr>
        <p:xfrm>
          <a:off x="924513" y="2008689"/>
          <a:ext cx="10498860" cy="4370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Elipse 1"/>
          <p:cNvSpPr/>
          <p:nvPr/>
        </p:nvSpPr>
        <p:spPr bwMode="gray">
          <a:xfrm>
            <a:off x="10787270" y="4982817"/>
            <a:ext cx="543339" cy="503583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Elipse 5"/>
          <p:cNvSpPr/>
          <p:nvPr/>
        </p:nvSpPr>
        <p:spPr bwMode="gray">
          <a:xfrm>
            <a:off x="8544200" y="2737035"/>
            <a:ext cx="543339" cy="503583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000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PE" b="1" dirty="0" smtClean="0">
                <a:latin typeface="Corbel" panose="020B0503020204020204" pitchFamily="34" charset="0"/>
              </a:rPr>
              <a:t>¿Cómo generar confianza en las instituciones públicas?</a:t>
            </a:r>
            <a:br>
              <a:rPr lang="es-PE" b="1" dirty="0" smtClean="0">
                <a:latin typeface="Corbel" panose="020B0503020204020204" pitchFamily="34" charset="0"/>
              </a:rPr>
            </a:br>
            <a:r>
              <a:rPr lang="es-PE" b="1" dirty="0" smtClean="0">
                <a:latin typeface="Corbel" panose="020B0503020204020204" pitchFamily="34" charset="0"/>
              </a:rPr>
              <a:t>La clave está en la rendición de cuentas y procesos transparentes</a:t>
            </a:r>
            <a:endParaRPr lang="es-PE" b="1" dirty="0">
              <a:latin typeface="Corbel" panose="020B0503020204020204" pitchFamily="34" charset="0"/>
            </a:endParaRPr>
          </a:p>
        </p:txBody>
      </p:sp>
      <p:sp>
        <p:nvSpPr>
          <p:cNvPr id="18" name="Rectángulo 17"/>
          <p:cNvSpPr/>
          <p:nvPr/>
        </p:nvSpPr>
        <p:spPr>
          <a:xfrm>
            <a:off x="289192" y="1067850"/>
            <a:ext cx="69714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600" dirty="0">
                <a:latin typeface="Corbel" panose="020B0503020204020204" pitchFamily="34" charset="0"/>
              </a:rPr>
              <a:t>De la siguiente </a:t>
            </a:r>
            <a:r>
              <a:rPr lang="es-ES" sz="1600" dirty="0" smtClean="0">
                <a:latin typeface="Corbel" panose="020B0503020204020204" pitchFamily="34" charset="0"/>
              </a:rPr>
              <a:t>lista, ¿qué </a:t>
            </a:r>
            <a:r>
              <a:rPr lang="es-ES" sz="1600" dirty="0">
                <a:latin typeface="Corbel" panose="020B0503020204020204" pitchFamily="34" charset="0"/>
              </a:rPr>
              <a:t>es lo más importante en una entidad pública para que usted confíe en ella? - </a:t>
            </a:r>
            <a:r>
              <a:rPr lang="es-419" sz="1600" b="1" dirty="0">
                <a:latin typeface="Corbel" panose="020B0503020204020204" pitchFamily="34" charset="0"/>
              </a:rPr>
              <a:t>CON </a:t>
            </a:r>
            <a:r>
              <a:rPr lang="es-419" sz="1600" b="1" dirty="0" smtClean="0">
                <a:latin typeface="Corbel" panose="020B0503020204020204" pitchFamily="34" charset="0"/>
              </a:rPr>
              <a:t>TARJETA, MÚLTIPLE</a:t>
            </a:r>
            <a:endParaRPr lang="es-419" sz="1600" b="1" dirty="0">
              <a:latin typeface="Corbel" panose="020B0503020204020204" pitchFamily="34" charset="0"/>
            </a:endParaRPr>
          </a:p>
        </p:txBody>
      </p:sp>
      <p:graphicFrame>
        <p:nvGraphicFramePr>
          <p:cNvPr id="19" name="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900144"/>
              </p:ext>
            </p:extLst>
          </p:nvPr>
        </p:nvGraphicFramePr>
        <p:xfrm>
          <a:off x="371080" y="1748835"/>
          <a:ext cx="3882868" cy="4453367"/>
        </p:xfrm>
        <a:graphic>
          <a:graphicData uri="http://schemas.openxmlformats.org/drawingml/2006/table">
            <a:tbl>
              <a:tblPr/>
              <a:tblGrid>
                <a:gridCol w="37561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66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50830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rindan cuenta de sus acciones a la ciudadanía</a:t>
                      </a:r>
                      <a:endParaRPr lang="es-PE" sz="1400" b="1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0830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entreguen la información que se solicita</a:t>
                      </a:r>
                      <a:endParaRPr lang="es-PE" sz="1400" b="1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2577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tengan procesos claros y transparentes</a:t>
                      </a:r>
                      <a:endParaRPr lang="es-PE" sz="1400" b="1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59085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los responsables de las instituciones garanticen la integridad de sus actos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5633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admitan su responsabilidad cuando se equivocan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59962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se vea que sus trabajadores están comprometidos con su institución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PE" sz="16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50830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traten a todos los usuarios de sus servicios por igual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50830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se comuniquen con frecuencia con el público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50830">
                <a:tc>
                  <a:txBody>
                    <a:bodyPr/>
                    <a:lstStyle/>
                    <a:p>
                      <a:pPr marL="0" marR="0" indent="0" algn="l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cuente con alguna certificación de aplicación de buenas prácticas	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37765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se vea innovación en sus procesos administrativos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50830">
                <a:tc>
                  <a:txBody>
                    <a:bodyPr/>
                    <a:lstStyle/>
                    <a:p>
                      <a:pPr algn="l" fontAlgn="ctr"/>
                      <a:r>
                        <a:rPr lang="es-ES" sz="1400" dirty="0" smtClean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Que se vea innovación en su atención al público</a:t>
                      </a:r>
                      <a:endParaRPr lang="es-PE" sz="14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PE" sz="16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824" marR="5824" marT="58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A5A5A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1360303"/>
              </p:ext>
            </p:extLst>
          </p:nvPr>
        </p:nvGraphicFramePr>
        <p:xfrm>
          <a:off x="7361111" y="1173867"/>
          <a:ext cx="4536503" cy="50148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640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6409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50890">
                <a:tc gridSpan="2"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i="0" u="none" strike="noStrike" dirty="0" smtClean="0">
                          <a:solidFill>
                            <a:schemeClr val="bg1"/>
                          </a:solidFill>
                          <a:latin typeface="Corbel" panose="020B0503020204020204" pitchFamily="34" charset="0"/>
                        </a:rPr>
                        <a:t>Zona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800" b="1" i="0" u="none" strike="noStrike" dirty="0" smtClean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i="0" u="none" strike="noStrike" dirty="0" smtClean="0">
                          <a:solidFill>
                            <a:schemeClr val="bg1"/>
                          </a:solidFill>
                          <a:latin typeface="Corbel" panose="020B0503020204020204" pitchFamily="34" charset="0"/>
                        </a:rPr>
                        <a:t>Nivel socioeconómic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800" b="1" i="0" u="none" strike="noStrike" dirty="0" smtClean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PE" sz="1800" b="1" i="0" u="none" strike="noStrike" dirty="0" smtClean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2956"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Lima </a:t>
                      </a:r>
                      <a:r>
                        <a:rPr lang="es-PE" sz="1400" b="1" i="0" u="none" strike="noStrike" dirty="0" err="1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Met</a:t>
                      </a:r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.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Interior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NSE A/B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NSE C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19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400" b="1" i="0" u="none" strike="noStrike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NSE D/E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593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5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8593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8593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01857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5752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593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8593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8593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8593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8593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85938"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P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</a:tbl>
          </a:graphicData>
        </a:graphic>
      </p:graphicFrame>
      <p:graphicFrame>
        <p:nvGraphicFramePr>
          <p:cNvPr id="21" name="20 Gráfico"/>
          <p:cNvGraphicFramePr/>
          <p:nvPr>
            <p:extLst>
              <p:ext uri="{D42A27DB-BD31-4B8C-83A1-F6EECF244321}">
                <p14:modId xmlns:p14="http://schemas.microsoft.com/office/powerpoint/2010/main" val="1746632919"/>
              </p:ext>
            </p:extLst>
          </p:nvPr>
        </p:nvGraphicFramePr>
        <p:xfrm>
          <a:off x="4291326" y="1712365"/>
          <a:ext cx="3468413" cy="46093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CuadroTexto 21"/>
          <p:cNvSpPr txBox="1"/>
          <p:nvPr/>
        </p:nvSpPr>
        <p:spPr bwMode="gray">
          <a:xfrm>
            <a:off x="5342654" y="1588610"/>
            <a:ext cx="682879" cy="4693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PE" sz="1400" b="1" dirty="0" smtClean="0">
                <a:latin typeface="Corbel" panose="020B0503020204020204" pitchFamily="34" charset="0"/>
              </a:rPr>
              <a:t>Nacional</a:t>
            </a:r>
            <a:endParaRPr lang="es-PE" sz="1400" b="1" dirty="0">
              <a:latin typeface="Corbel" panose="020B0503020204020204" pitchFamily="34" charset="0"/>
            </a:endParaRPr>
          </a:p>
          <a:p>
            <a:pPr>
              <a:spcBef>
                <a:spcPts val="300"/>
              </a:spcBef>
            </a:pPr>
            <a:endParaRPr lang="es-PE" sz="1400" dirty="0" err="1" smtClean="0"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23" name="Elipse 22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sp>
        <p:nvSpPr>
          <p:cNvPr id="25" name="Elipse 24"/>
          <p:cNvSpPr/>
          <p:nvPr/>
        </p:nvSpPr>
        <p:spPr bwMode="gray">
          <a:xfrm>
            <a:off x="7478009" y="1880180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Elipse 28"/>
          <p:cNvSpPr/>
          <p:nvPr/>
        </p:nvSpPr>
        <p:spPr bwMode="gray">
          <a:xfrm>
            <a:off x="8446216" y="5067574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Elipse 29"/>
          <p:cNvSpPr/>
          <p:nvPr/>
        </p:nvSpPr>
        <p:spPr bwMode="gray">
          <a:xfrm>
            <a:off x="7504513" y="2266957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Elipse 30"/>
          <p:cNvSpPr/>
          <p:nvPr/>
        </p:nvSpPr>
        <p:spPr bwMode="gray">
          <a:xfrm>
            <a:off x="8446217" y="4329867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Elipse 33"/>
          <p:cNvSpPr/>
          <p:nvPr/>
        </p:nvSpPr>
        <p:spPr bwMode="gray">
          <a:xfrm>
            <a:off x="14825845" y="3483121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Elipse 27"/>
          <p:cNvSpPr/>
          <p:nvPr/>
        </p:nvSpPr>
        <p:spPr bwMode="gray">
          <a:xfrm>
            <a:off x="8446214" y="5854414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Elipse 31"/>
          <p:cNvSpPr/>
          <p:nvPr/>
        </p:nvSpPr>
        <p:spPr bwMode="gray">
          <a:xfrm>
            <a:off x="8446215" y="5467795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Elipse 32"/>
          <p:cNvSpPr/>
          <p:nvPr/>
        </p:nvSpPr>
        <p:spPr bwMode="gray">
          <a:xfrm>
            <a:off x="11155488" y="4329866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153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ítulo 10"/>
          <p:cNvSpPr txBox="1">
            <a:spLocks/>
          </p:cNvSpPr>
          <p:nvPr/>
        </p:nvSpPr>
        <p:spPr>
          <a:xfrm>
            <a:off x="475502" y="288588"/>
            <a:ext cx="9093501" cy="1224224"/>
          </a:xfrm>
          <a:prstGeom prst="rect">
            <a:avLst/>
          </a:prstGeom>
        </p:spPr>
        <p:txBody>
          <a:bodyPr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lvl="0" defTabSz="914400">
              <a:spcBef>
                <a:spcPts val="0"/>
              </a:spcBef>
              <a:defRPr/>
            </a:pPr>
            <a:r>
              <a:rPr lang="es-419" b="1" dirty="0" smtClean="0">
                <a:solidFill>
                  <a:srgbClr val="000000"/>
                </a:solidFill>
                <a:latin typeface="Corbel" panose="020B0503020204020204" pitchFamily="34" charset="0"/>
              </a:rPr>
              <a:t>Acciones del Estado para promover integridad y lucha contra la corrupción </a:t>
            </a:r>
            <a:endParaRPr lang="es-419" sz="1800" b="1" dirty="0" smtClean="0">
              <a:solidFill>
                <a:srgbClr val="000000"/>
              </a:solidFill>
              <a:latin typeface="Corbel" panose="020B050302020402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475502" y="1641601"/>
            <a:ext cx="1108039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s-ES" dirty="0">
                <a:latin typeface="Corbel" panose="020B0503020204020204" pitchFamily="34" charset="0"/>
              </a:rPr>
              <a:t>¿Qué tan de acuerdo o en desacuerdo está con las siguientes medidas para promover la integridad y luchar contra la corrupción</a:t>
            </a:r>
            <a:r>
              <a:rPr lang="es-ES" dirty="0" smtClean="0">
                <a:latin typeface="Corbel" panose="020B0503020204020204" pitchFamily="34" charset="0"/>
              </a:rPr>
              <a:t>?</a:t>
            </a:r>
            <a:r>
              <a:rPr lang="es-ES" b="1" dirty="0" smtClean="0">
                <a:latin typeface="Corbel" panose="020B0503020204020204" pitchFamily="34" charset="0"/>
              </a:rPr>
              <a:t>- ASISTIDA</a:t>
            </a:r>
          </a:p>
          <a:p>
            <a:pPr lvl="0">
              <a:defRPr/>
            </a:pPr>
            <a:endParaRPr lang="es-ES" b="1" dirty="0" smtClean="0">
              <a:latin typeface="Corbel" panose="020B0503020204020204" pitchFamily="34" charset="0"/>
            </a:endParaRPr>
          </a:p>
          <a:p>
            <a:pPr lvl="0">
              <a:defRPr/>
            </a:pPr>
            <a:r>
              <a:rPr lang="es-419" b="1" dirty="0">
                <a:latin typeface="Corbel" panose="020B0503020204020204" pitchFamily="34" charset="0"/>
              </a:rPr>
              <a:t>(</a:t>
            </a:r>
            <a:r>
              <a:rPr lang="es-419" b="1" dirty="0" smtClean="0">
                <a:latin typeface="Corbel" panose="020B0503020204020204" pitchFamily="34" charset="0"/>
              </a:rPr>
              <a:t>% TOTALMENTE DE ACUERDO)</a:t>
            </a:r>
            <a:endParaRPr lang="es-PE" b="1" dirty="0">
              <a:latin typeface="Corbel" panose="020B0503020204020204" pitchFamily="34" charset="0"/>
            </a:endParaRPr>
          </a:p>
        </p:txBody>
      </p:sp>
      <p:graphicFrame>
        <p:nvGraphicFramePr>
          <p:cNvPr id="7" name="31 Gráfico"/>
          <p:cNvGraphicFramePr/>
          <p:nvPr>
            <p:extLst>
              <p:ext uri="{D42A27DB-BD31-4B8C-83A1-F6EECF244321}">
                <p14:modId xmlns:p14="http://schemas.microsoft.com/office/powerpoint/2010/main" val="595841748"/>
              </p:ext>
            </p:extLst>
          </p:nvPr>
        </p:nvGraphicFramePr>
        <p:xfrm>
          <a:off x="383603" y="2676923"/>
          <a:ext cx="10993639" cy="4247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71850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 bwMode="gray">
          <a:xfrm>
            <a:off x="414277" y="257308"/>
            <a:ext cx="8873827" cy="1088558"/>
          </a:xfrm>
        </p:spPr>
        <p:txBody>
          <a:bodyPr anchor="t"/>
          <a:lstStyle/>
          <a:p>
            <a:r>
              <a:rPr lang="es-PE" b="1" dirty="0" smtClean="0">
                <a:latin typeface="Corbel" panose="020B0503020204020204" pitchFamily="34" charset="0"/>
              </a:rPr>
              <a:t>Acciones de la ciudadanía para luchar contra la corrupción.</a:t>
            </a:r>
            <a:br>
              <a:rPr lang="es-PE" b="1" dirty="0" smtClean="0">
                <a:latin typeface="Corbel" panose="020B0503020204020204" pitchFamily="34" charset="0"/>
              </a:rPr>
            </a:br>
            <a:r>
              <a:rPr lang="es-PE" b="1" dirty="0" smtClean="0">
                <a:latin typeface="Corbel" panose="020B0503020204020204" pitchFamily="34" charset="0"/>
              </a:rPr>
              <a:t>Aumenta intención de no pagar coimas ni votar por candidatos o partidos con antecedentes de corrupción.</a:t>
            </a:r>
            <a:endParaRPr lang="es-PE" b="1" dirty="0">
              <a:latin typeface="Corbel" panose="020B0503020204020204" pitchFamily="34" charset="0"/>
            </a:endParaRPr>
          </a:p>
        </p:txBody>
      </p:sp>
      <p:sp>
        <p:nvSpPr>
          <p:cNvPr id="18" name="Rectángulo 17"/>
          <p:cNvSpPr/>
          <p:nvPr/>
        </p:nvSpPr>
        <p:spPr>
          <a:xfrm>
            <a:off x="371079" y="1683601"/>
            <a:ext cx="69714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Corbel" panose="020B0503020204020204" pitchFamily="34" charset="0"/>
              </a:rPr>
              <a:t>¿Qué está dispuesto a hacer usted para luchar contra la corrupción?  - </a:t>
            </a:r>
            <a:endParaRPr lang="es-ES" dirty="0" smtClean="0">
              <a:latin typeface="Corbel" panose="020B0503020204020204" pitchFamily="34" charset="0"/>
            </a:endParaRPr>
          </a:p>
          <a:p>
            <a:r>
              <a:rPr lang="es-419" b="1" dirty="0" smtClean="0">
                <a:latin typeface="Corbel" panose="020B0503020204020204" pitchFamily="34" charset="0"/>
              </a:rPr>
              <a:t>CON TARJETA, MÚLTIPLE- MEDICION COMPARATIVA</a:t>
            </a:r>
            <a:endParaRPr lang="es-419" b="1" dirty="0">
              <a:latin typeface="Corbel" panose="020B0503020204020204" pitchFamily="34" charset="0"/>
            </a:endParaRPr>
          </a:p>
        </p:txBody>
      </p:sp>
      <p:sp>
        <p:nvSpPr>
          <p:cNvPr id="23" name="Elipse 22"/>
          <p:cNvSpPr/>
          <p:nvPr/>
        </p:nvSpPr>
        <p:spPr bwMode="gray">
          <a:xfrm>
            <a:off x="371079" y="6568225"/>
            <a:ext cx="231820" cy="128789"/>
          </a:xfrm>
          <a:prstGeom prst="ellipse">
            <a:avLst/>
          </a:prstGeom>
          <a:solidFill>
            <a:schemeClr val="bg1"/>
          </a:solidFill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ángulo 23"/>
          <p:cNvSpPr/>
          <p:nvPr/>
        </p:nvSpPr>
        <p:spPr>
          <a:xfrm>
            <a:off x="602899" y="6494119"/>
            <a:ext cx="2582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100" dirty="0" smtClean="0">
                <a:latin typeface="Corbel" panose="020B0503020204020204" pitchFamily="34" charset="0"/>
              </a:rPr>
              <a:t>Porcentaje estadísticamente significativo</a:t>
            </a:r>
            <a:endParaRPr lang="es-PE" sz="1100" dirty="0"/>
          </a:p>
        </p:txBody>
      </p:sp>
      <p:sp>
        <p:nvSpPr>
          <p:cNvPr id="34" name="Elipse 33"/>
          <p:cNvSpPr/>
          <p:nvPr/>
        </p:nvSpPr>
        <p:spPr bwMode="gray">
          <a:xfrm>
            <a:off x="14825845" y="3483121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6" name="31 Gráfico"/>
          <p:cNvGraphicFramePr/>
          <p:nvPr>
            <p:extLst>
              <p:ext uri="{D42A27DB-BD31-4B8C-83A1-F6EECF244321}">
                <p14:modId xmlns:p14="http://schemas.microsoft.com/office/powerpoint/2010/main" val="3737709197"/>
              </p:ext>
            </p:extLst>
          </p:nvPr>
        </p:nvGraphicFramePr>
        <p:xfrm>
          <a:off x="402653" y="2318197"/>
          <a:ext cx="10993639" cy="49874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Elipse 26"/>
          <p:cNvSpPr/>
          <p:nvPr/>
        </p:nvSpPr>
        <p:spPr bwMode="gray">
          <a:xfrm>
            <a:off x="1011748" y="3200353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Elipse 34"/>
          <p:cNvSpPr/>
          <p:nvPr/>
        </p:nvSpPr>
        <p:spPr bwMode="gray">
          <a:xfrm>
            <a:off x="2355601" y="3272308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Elipse 35"/>
          <p:cNvSpPr/>
          <p:nvPr/>
        </p:nvSpPr>
        <p:spPr bwMode="gray">
          <a:xfrm>
            <a:off x="5126549" y="3989298"/>
            <a:ext cx="530181" cy="301377"/>
          </a:xfrm>
          <a:prstGeom prst="ellipse">
            <a:avLst/>
          </a:prstGeom>
          <a:noFill/>
          <a:ln w="9525">
            <a:solidFill>
              <a:srgbClr val="DC29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861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chemeClr val="accent5"/>
          </a:solidFill>
        </p:spPr>
        <p:txBody>
          <a:bodyPr/>
          <a:lstStyle/>
          <a:p>
            <a:r>
              <a:rPr lang="es-ES" sz="4400" dirty="0">
                <a:latin typeface="Corbel" panose="020B0503020204020204" pitchFamily="34" charset="0"/>
              </a:rPr>
              <a:t>Conclusiones</a:t>
            </a:r>
          </a:p>
        </p:txBody>
      </p:sp>
      <p:sp>
        <p:nvSpPr>
          <p:cNvPr id="3" name="Rectángulo 2"/>
          <p:cNvSpPr/>
          <p:nvPr/>
        </p:nvSpPr>
        <p:spPr bwMode="gray">
          <a:xfrm>
            <a:off x="6723292" y="6340308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875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0"/>
          <p:cNvSpPr txBox="1">
            <a:spLocks/>
          </p:cNvSpPr>
          <p:nvPr/>
        </p:nvSpPr>
        <p:spPr>
          <a:xfrm>
            <a:off x="404004" y="319164"/>
            <a:ext cx="10208980" cy="768107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" sz="2800" b="1" dirty="0">
                <a:latin typeface="Corbel" panose="020B0503020204020204" pitchFamily="34" charset="0"/>
              </a:rPr>
              <a:t>Conclusiones</a:t>
            </a:r>
            <a:endParaRPr lang="es-ES" b="1" dirty="0">
              <a:latin typeface="Corbel" panose="020B0503020204020204" pitchFamily="34" charset="0"/>
            </a:endParaRPr>
          </a:p>
        </p:txBody>
      </p:sp>
      <p:sp>
        <p:nvSpPr>
          <p:cNvPr id="5" name="Rectángulo 4"/>
          <p:cNvSpPr/>
          <p:nvPr/>
        </p:nvSpPr>
        <p:spPr bwMode="gray">
          <a:xfrm>
            <a:off x="6530109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ítulo 10"/>
          <p:cNvSpPr txBox="1">
            <a:spLocks/>
          </p:cNvSpPr>
          <p:nvPr/>
        </p:nvSpPr>
        <p:spPr>
          <a:xfrm>
            <a:off x="404004" y="1218863"/>
            <a:ext cx="11357869" cy="5049618"/>
          </a:xfrm>
          <a:prstGeom prst="rect">
            <a:avLst/>
          </a:prstGeom>
        </p:spPr>
        <p:txBody>
          <a:bodyPr anchor="t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dirty="0" smtClean="0">
                <a:latin typeface="Corbel" panose="020B0503020204020204" pitchFamily="34" charset="0"/>
              </a:rPr>
              <a:t>La </a:t>
            </a:r>
            <a:r>
              <a:rPr lang="es-ES" dirty="0">
                <a:latin typeface="Corbel" panose="020B0503020204020204" pitchFamily="34" charset="0"/>
              </a:rPr>
              <a:t>corrupción es percibida como el segundo problema más importante del país (62</a:t>
            </a:r>
            <a:r>
              <a:rPr lang="es-ES" dirty="0" smtClean="0">
                <a:latin typeface="Corbel" panose="020B0503020204020204" pitchFamily="34" charset="0"/>
              </a:rPr>
              <a:t>%) </a:t>
            </a:r>
            <a:r>
              <a:rPr lang="es-ES" dirty="0">
                <a:latin typeface="Corbel" panose="020B0503020204020204" pitchFamily="34" charset="0"/>
              </a:rPr>
              <a:t>pero en constante crecimiento. </a:t>
            </a:r>
            <a:endParaRPr lang="es-ES" dirty="0" smtClean="0">
              <a:latin typeface="Corbel" panose="020B0503020204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Se acerca cada vez más a ser el principal problema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s-ES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dirty="0">
                <a:latin typeface="Corbel" panose="020B0503020204020204" pitchFamily="34" charset="0"/>
              </a:rPr>
              <a:t>Hay una mejora en la expectativa de combatir la corrupción. </a:t>
            </a:r>
            <a:endParaRPr lang="es-ES" dirty="0" smtClean="0">
              <a:latin typeface="Corbel" panose="020B0503020204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Se reduce el porcentaje (de 49% a 40%) de quienes consideran que la corrupción </a:t>
            </a:r>
            <a:r>
              <a:rPr lang="es-ES" sz="2000" dirty="0" smtClean="0">
                <a:latin typeface="Corbel" panose="020B0503020204020204" pitchFamily="34" charset="0"/>
              </a:rPr>
              <a:t>empeorará.</a:t>
            </a:r>
            <a:endParaRPr lang="es-ES" sz="2000" dirty="0">
              <a:latin typeface="Corbel" panose="020B0503020204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 Aumenta el porcentaje de quienes confían en que la situación mejorará (12% a 15</a:t>
            </a:r>
            <a:r>
              <a:rPr lang="es-ES" sz="2000" dirty="0" smtClean="0">
                <a:latin typeface="Corbel" panose="020B0503020204020204" pitchFamily="34" charset="0"/>
              </a:rPr>
              <a:t>%)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endParaRPr lang="es-ES" sz="2000" dirty="0">
              <a:latin typeface="Corbel" panose="020B0503020204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endParaRPr lang="es-ES" sz="20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dirty="0" smtClean="0">
                <a:latin typeface="Corbel" panose="020B0503020204020204" pitchFamily="34" charset="0"/>
              </a:rPr>
              <a:t>Los </a:t>
            </a:r>
            <a:r>
              <a:rPr lang="es-ES" dirty="0">
                <a:latin typeface="Corbel" panose="020B0503020204020204" pitchFamily="34" charset="0"/>
              </a:rPr>
              <a:t>peruanos identifican claramente como hechos contrarios a la integridad (corrupción</a:t>
            </a:r>
            <a:r>
              <a:rPr lang="es-ES" dirty="0" smtClean="0">
                <a:latin typeface="Corbel" panose="020B0503020204020204" pitchFamily="34" charset="0"/>
              </a:rPr>
              <a:t>)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 smtClean="0">
                <a:latin typeface="Corbel" panose="020B0503020204020204" pitchFamily="34" charset="0"/>
              </a:rPr>
              <a:t>En mayor medida, cuando </a:t>
            </a:r>
            <a:r>
              <a:rPr lang="es-ES" sz="2000" dirty="0">
                <a:latin typeface="Corbel" panose="020B0503020204020204" pitchFamily="34" charset="0"/>
              </a:rPr>
              <a:t>el actor es una autoridad o un </a:t>
            </a:r>
            <a:r>
              <a:rPr lang="es-ES" sz="2000" dirty="0" smtClean="0">
                <a:latin typeface="Corbel" panose="020B0503020204020204" pitchFamily="34" charset="0"/>
              </a:rPr>
              <a:t>político.</a:t>
            </a:r>
            <a:endParaRPr lang="es-ES" sz="2000" dirty="0">
              <a:latin typeface="Corbel" panose="020B0503020204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Menos cuando se trata de ciudadanos de a pie (evitar pagar el IGV, robar cable, etc.).</a:t>
            </a:r>
          </a:p>
        </p:txBody>
      </p:sp>
    </p:spTree>
    <p:extLst>
      <p:ext uri="{BB962C8B-B14F-4D97-AF65-F5344CB8AC3E}">
        <p14:creationId xmlns:p14="http://schemas.microsoft.com/office/powerpoint/2010/main" val="31181886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0"/>
          <p:cNvSpPr txBox="1">
            <a:spLocks/>
          </p:cNvSpPr>
          <p:nvPr/>
        </p:nvSpPr>
        <p:spPr>
          <a:xfrm>
            <a:off x="404004" y="319164"/>
            <a:ext cx="10208980" cy="768107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" b="1" dirty="0">
                <a:latin typeface="Corbel" panose="020B0503020204020204" pitchFamily="34" charset="0"/>
              </a:rPr>
              <a:t>Conclusiones</a:t>
            </a:r>
          </a:p>
        </p:txBody>
      </p:sp>
      <p:sp>
        <p:nvSpPr>
          <p:cNvPr id="5" name="Rectángulo 4"/>
          <p:cNvSpPr/>
          <p:nvPr/>
        </p:nvSpPr>
        <p:spPr bwMode="gray">
          <a:xfrm>
            <a:off x="6530109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ítulo 10"/>
          <p:cNvSpPr txBox="1">
            <a:spLocks/>
          </p:cNvSpPr>
          <p:nvPr/>
        </p:nvSpPr>
        <p:spPr>
          <a:xfrm>
            <a:off x="275216" y="996871"/>
            <a:ext cx="11393044" cy="5758098"/>
          </a:xfrm>
          <a:prstGeom prst="rect">
            <a:avLst/>
          </a:prstGeom>
        </p:spPr>
        <p:txBody>
          <a:bodyPr anchor="t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200" dirty="0" smtClean="0">
                <a:latin typeface="Corbel" panose="020B0503020204020204" pitchFamily="34" charset="0"/>
              </a:rPr>
              <a:t>8 </a:t>
            </a:r>
            <a:r>
              <a:rPr lang="es-ES" sz="2200" dirty="0">
                <a:latin typeface="Corbel" panose="020B0503020204020204" pitchFamily="34" charset="0"/>
              </a:rPr>
              <a:t>de cada 10 peruanos considera que la corrupción le afecta en su vida cotidiana. </a:t>
            </a:r>
            <a:endParaRPr lang="es-ES" sz="2200" dirty="0" smtClean="0">
              <a:latin typeface="Corbel" panose="020B0503020204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En la sierra percepción de corrupción afecta principalmente la confianza en el Estado y en los políticos y autoridades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s-ES" sz="22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200" dirty="0">
                <a:latin typeface="Corbel" panose="020B0503020204020204" pitchFamily="34" charset="0"/>
              </a:rPr>
              <a:t>Un 13% señala haber pagado una coima este </a:t>
            </a:r>
            <a:r>
              <a:rPr lang="es-ES" sz="2200" dirty="0" smtClean="0">
                <a:latin typeface="Corbel" panose="020B0503020204020204" pitchFamily="34" charset="0"/>
              </a:rPr>
              <a:t>año</a:t>
            </a:r>
            <a:r>
              <a:rPr lang="es-ES" sz="2200" dirty="0">
                <a:latin typeface="Corbel" panose="020B0503020204020204" pitchFamily="34" charset="0"/>
              </a:rPr>
              <a:t>:</a:t>
            </a:r>
            <a:endParaRPr lang="es-ES" sz="2200" dirty="0" smtClean="0">
              <a:latin typeface="Corbel" panose="020B050302020402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 smtClean="0">
                <a:latin typeface="Corbel" panose="020B0503020204020204" pitchFamily="34" charset="0"/>
              </a:rPr>
              <a:t>Pagos </a:t>
            </a:r>
            <a:r>
              <a:rPr lang="es-ES" sz="2000" dirty="0">
                <a:latin typeface="Corbel" panose="020B0503020204020204" pitchFamily="34" charset="0"/>
              </a:rPr>
              <a:t>a la Policía (8%), municipios (5%), hospitales o centros de salud (4%), establecimiento de justicia (3%), escuelas (3%)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s-ES" sz="22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200" dirty="0">
                <a:latin typeface="Corbel" panose="020B0503020204020204" pitchFamily="34" charset="0"/>
              </a:rPr>
              <a:t>Más del 50% justifica el pago de coimas ante la falta de efectividad en las instituciones</a:t>
            </a:r>
            <a:r>
              <a:rPr lang="es-ES" sz="2200" dirty="0" smtClean="0">
                <a:latin typeface="Corbel" panose="020B050302020402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s-ES" sz="22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200" dirty="0" smtClean="0">
                <a:latin typeface="Corbel" panose="020B0503020204020204" pitchFamily="34" charset="0"/>
              </a:rPr>
              <a:t> El </a:t>
            </a:r>
            <a:r>
              <a:rPr lang="es-ES" sz="2200" dirty="0">
                <a:latin typeface="Corbel" panose="020B0503020204020204" pitchFamily="34" charset="0"/>
              </a:rPr>
              <a:t>91% no denunció la </a:t>
            </a:r>
            <a:r>
              <a:rPr lang="es-ES" sz="2200" dirty="0" smtClean="0">
                <a:latin typeface="Corbel" panose="020B0503020204020204" pitchFamily="34" charset="0"/>
              </a:rPr>
              <a:t>corrupción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Principalmente porque no confía en que las autoridades hagan algo efectivo.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s-ES" sz="22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200" dirty="0" smtClean="0">
                <a:latin typeface="Corbel" panose="020B0503020204020204" pitchFamily="34" charset="0"/>
              </a:rPr>
              <a:t>Existe </a:t>
            </a:r>
            <a:r>
              <a:rPr lang="es-ES" sz="2200" dirty="0">
                <a:latin typeface="Corbel" panose="020B0503020204020204" pitchFamily="34" charset="0"/>
              </a:rPr>
              <a:t>un </a:t>
            </a:r>
            <a:r>
              <a:rPr lang="es-ES" sz="2200" dirty="0" smtClean="0">
                <a:latin typeface="Corbel" panose="020B0503020204020204" pitchFamily="34" charset="0"/>
              </a:rPr>
              <a:t>10</a:t>
            </a:r>
            <a:r>
              <a:rPr lang="es-ES" sz="2200" dirty="0">
                <a:latin typeface="Corbel" panose="020B0503020204020204" pitchFamily="34" charset="0"/>
              </a:rPr>
              <a:t>% de personas que </a:t>
            </a:r>
            <a:r>
              <a:rPr lang="es-ES" sz="2200" dirty="0" smtClean="0">
                <a:latin typeface="Corbel" panose="020B0503020204020204" pitchFamily="34" charset="0"/>
              </a:rPr>
              <a:t>ha escuchado o se reconoce víctima de pedidos de favor sexual a cambio de un trámite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Institutos y universidades (4%), colegios (4%), establecimientos de justicia (4%), municipios (3%), Policía (3%), centros de salud (3%).</a:t>
            </a:r>
          </a:p>
        </p:txBody>
      </p:sp>
    </p:spTree>
    <p:extLst>
      <p:ext uri="{BB962C8B-B14F-4D97-AF65-F5344CB8AC3E}">
        <p14:creationId xmlns:p14="http://schemas.microsoft.com/office/powerpoint/2010/main" val="3125086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0"/>
          <p:cNvSpPr txBox="1">
            <a:spLocks/>
          </p:cNvSpPr>
          <p:nvPr/>
        </p:nvSpPr>
        <p:spPr>
          <a:xfrm>
            <a:off x="404004" y="203926"/>
            <a:ext cx="10208980" cy="768107"/>
          </a:xfrm>
          <a:prstGeom prst="rect">
            <a:avLst/>
          </a:prstGeom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" b="1" dirty="0">
                <a:latin typeface="Corbel" panose="020B0503020204020204" pitchFamily="34" charset="0"/>
              </a:rPr>
              <a:t>Conclusiones</a:t>
            </a:r>
          </a:p>
        </p:txBody>
      </p:sp>
      <p:sp>
        <p:nvSpPr>
          <p:cNvPr id="5" name="Rectángulo 4"/>
          <p:cNvSpPr/>
          <p:nvPr/>
        </p:nvSpPr>
        <p:spPr bwMode="gray">
          <a:xfrm>
            <a:off x="6530109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ítulo 10"/>
          <p:cNvSpPr txBox="1">
            <a:spLocks/>
          </p:cNvSpPr>
          <p:nvPr/>
        </p:nvSpPr>
        <p:spPr>
          <a:xfrm>
            <a:off x="353009" y="869002"/>
            <a:ext cx="11543427" cy="5885967"/>
          </a:xfrm>
          <a:prstGeom prst="rect">
            <a:avLst/>
          </a:prstGeom>
        </p:spPr>
        <p:txBody>
          <a:bodyPr anchor="t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200" dirty="0" smtClean="0">
                <a:latin typeface="Corbel" panose="020B0503020204020204" pitchFamily="34" charset="0"/>
              </a:rPr>
              <a:t>Se </a:t>
            </a:r>
            <a:r>
              <a:rPr lang="es-ES" sz="2200" dirty="0">
                <a:latin typeface="Corbel" panose="020B0503020204020204" pitchFamily="34" charset="0"/>
              </a:rPr>
              <a:t>reconoce que </a:t>
            </a:r>
            <a:r>
              <a:rPr lang="es-ES" sz="2200" dirty="0" smtClean="0">
                <a:latin typeface="Corbel" panose="020B0503020204020204" pitchFamily="34" charset="0"/>
              </a:rPr>
              <a:t>hay una </a:t>
            </a:r>
            <a:r>
              <a:rPr lang="es-ES" sz="2200" dirty="0">
                <a:latin typeface="Corbel" panose="020B0503020204020204" pitchFamily="34" charset="0"/>
              </a:rPr>
              <a:t>mayor preocupación por parte del Estado para luchar contra la corrupción (presidente, equipo de fiscales Lava Jato</a:t>
            </a:r>
            <a:r>
              <a:rPr lang="es-ES" sz="2200" dirty="0" smtClean="0">
                <a:latin typeface="Corbel" panose="020B0503020204020204" pitchFamily="34" charset="0"/>
              </a:rPr>
              <a:t>)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 smtClean="0">
                <a:latin typeface="Corbel" panose="020B0503020204020204" pitchFamily="34" charset="0"/>
              </a:rPr>
              <a:t>Pero todavía </a:t>
            </a:r>
            <a:r>
              <a:rPr lang="es-ES" sz="2000" dirty="0">
                <a:latin typeface="Corbel" panose="020B0503020204020204" pitchFamily="34" charset="0"/>
              </a:rPr>
              <a:t>hay una fuerte percepción de prácticas corruptas </a:t>
            </a:r>
            <a:r>
              <a:rPr lang="es-ES" sz="2000" dirty="0" smtClean="0">
                <a:latin typeface="Corbel" panose="020B0503020204020204" pitchFamily="34" charset="0"/>
              </a:rPr>
              <a:t>en instituciones </a:t>
            </a:r>
            <a:r>
              <a:rPr lang="es-ES" sz="2000" dirty="0">
                <a:latin typeface="Corbel" panose="020B0503020204020204" pitchFamily="34" charset="0"/>
              </a:rPr>
              <a:t>como el </a:t>
            </a:r>
            <a:r>
              <a:rPr lang="es-ES" sz="2000" dirty="0" smtClean="0">
                <a:latin typeface="Corbel" panose="020B0503020204020204" pitchFamily="34" charset="0"/>
              </a:rPr>
              <a:t>Congreso (de 45% a 76%) y el Poder </a:t>
            </a:r>
            <a:r>
              <a:rPr lang="es-ES" sz="2000" dirty="0">
                <a:latin typeface="Corbel" panose="020B0503020204020204" pitchFamily="34" charset="0"/>
              </a:rPr>
              <a:t>Judicial. </a:t>
            </a:r>
            <a:endParaRPr lang="es-ES" sz="2000" dirty="0" smtClean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s-ES" sz="22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200" dirty="0" smtClean="0">
                <a:latin typeface="Corbel" panose="020B0503020204020204" pitchFamily="34" charset="0"/>
              </a:rPr>
              <a:t>Es importante aumentar la confianza de ciudadanía </a:t>
            </a:r>
            <a:r>
              <a:rPr lang="es-ES" sz="2200" dirty="0">
                <a:latin typeface="Corbel" panose="020B0503020204020204" pitchFamily="34" charset="0"/>
              </a:rPr>
              <a:t>en </a:t>
            </a:r>
            <a:r>
              <a:rPr lang="es-ES" sz="2200" dirty="0" smtClean="0">
                <a:latin typeface="Corbel" panose="020B0503020204020204" pitchFamily="34" charset="0"/>
              </a:rPr>
              <a:t>la efectividad </a:t>
            </a:r>
            <a:r>
              <a:rPr lang="es-ES" sz="2200" dirty="0">
                <a:latin typeface="Corbel" panose="020B0503020204020204" pitchFamily="34" charset="0"/>
              </a:rPr>
              <a:t>de </a:t>
            </a:r>
            <a:r>
              <a:rPr lang="es-ES" sz="2200" dirty="0" smtClean="0">
                <a:latin typeface="Corbel" panose="020B0503020204020204" pitchFamily="34" charset="0"/>
              </a:rPr>
              <a:t>las denuncias </a:t>
            </a:r>
            <a:r>
              <a:rPr lang="es-ES" sz="2200" dirty="0">
                <a:latin typeface="Corbel" panose="020B0503020204020204" pitchFamily="34" charset="0"/>
              </a:rPr>
              <a:t>(26</a:t>
            </a:r>
            <a:r>
              <a:rPr lang="es-ES" sz="2200" dirty="0" smtClean="0">
                <a:latin typeface="Corbel" panose="020B0503020204020204" pitchFamily="34" charset="0"/>
              </a:rPr>
              <a:t>%)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 smtClean="0">
                <a:latin typeface="Corbel" panose="020B0503020204020204" pitchFamily="34" charset="0"/>
              </a:rPr>
              <a:t>La mayoría dice que no denuncia porque no cree en su efectividad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 smtClean="0">
                <a:latin typeface="Corbel" panose="020B0503020204020204" pitchFamily="34" charset="0"/>
              </a:rPr>
              <a:t>La </a:t>
            </a:r>
            <a:r>
              <a:rPr lang="es-ES" sz="2000" dirty="0">
                <a:latin typeface="Corbel" panose="020B0503020204020204" pitchFamily="34" charset="0"/>
              </a:rPr>
              <a:t>percepción de efectividad </a:t>
            </a:r>
            <a:r>
              <a:rPr lang="es-ES" sz="2000" dirty="0" smtClean="0">
                <a:latin typeface="Corbel" panose="020B0503020204020204" pitchFamily="34" charset="0"/>
              </a:rPr>
              <a:t>impacta </a:t>
            </a:r>
            <a:r>
              <a:rPr lang="es-ES" sz="2000" dirty="0">
                <a:latin typeface="Corbel" panose="020B0503020204020204" pitchFamily="34" charset="0"/>
              </a:rPr>
              <a:t>positivamente en el clima de lucha contra la corrupción.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endParaRPr lang="es-ES" sz="16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200" dirty="0" smtClean="0">
                <a:latin typeface="Corbel" panose="020B0503020204020204" pitchFamily="34" charset="0"/>
              </a:rPr>
              <a:t>Como piensa colaborar la ciudadanía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No pagando coimas (57</a:t>
            </a:r>
            <a:r>
              <a:rPr lang="es-ES" sz="2000" dirty="0" smtClean="0">
                <a:latin typeface="Corbel" panose="020B0503020204020204" pitchFamily="34" charset="0"/>
              </a:rPr>
              <a:t>%)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 smtClean="0">
                <a:latin typeface="Corbel" panose="020B0503020204020204" pitchFamily="34" charset="0"/>
              </a:rPr>
              <a:t>No </a:t>
            </a:r>
            <a:r>
              <a:rPr lang="es-ES" sz="2000" dirty="0">
                <a:latin typeface="Corbel" panose="020B0503020204020204" pitchFamily="34" charset="0"/>
              </a:rPr>
              <a:t>votando por candidatos ni partidos con antecedentes de corrupción (55%) 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s-ES" sz="2200" dirty="0">
              <a:latin typeface="Corbel" panose="020B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s-ES" sz="2200" dirty="0" smtClean="0">
                <a:latin typeface="Corbel" panose="020B0503020204020204" pitchFamily="34" charset="0"/>
              </a:rPr>
              <a:t>Que se espera del Estado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Que las denuncias sean efectiva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La rendición de cuentas (49%)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La transparencia (36%)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orbel" panose="020B0503020204020204" pitchFamily="34" charset="0"/>
              </a:rPr>
              <a:t>La integridad de los servidores públicos (33%) 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s-ES" sz="2200" dirty="0">
              <a:latin typeface="Corbel" panose="020B05030202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s-ES" sz="2000" dirty="0">
              <a:latin typeface="Corbel" panose="020B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292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839438"/>
              </p:ext>
            </p:extLst>
          </p:nvPr>
        </p:nvGraphicFramePr>
        <p:xfrm>
          <a:off x="289516" y="1028667"/>
          <a:ext cx="11425269" cy="5671640"/>
        </p:xfrm>
        <a:graphic>
          <a:graphicData uri="http://schemas.openxmlformats.org/drawingml/2006/table">
            <a:tbl>
              <a:tblPr firstRow="1" bandRow="1"/>
              <a:tblGrid>
                <a:gridCol w="20882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3703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18054">
                <a:tc>
                  <a:txBody>
                    <a:bodyPr/>
                    <a:lstStyle/>
                    <a:p>
                      <a:pPr algn="l"/>
                      <a:r>
                        <a:rPr lang="es-PE" sz="2400" b="1" dirty="0" smtClean="0">
                          <a:solidFill>
                            <a:schemeClr val="tx2"/>
                          </a:solidFill>
                          <a:latin typeface="Corbel" panose="020B0503020204020204" pitchFamily="34" charset="0"/>
                        </a:rPr>
                        <a:t>Método</a:t>
                      </a:r>
                      <a:endParaRPr lang="es-PE" sz="2400" b="1" dirty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480000" marR="121920" marT="120000" marB="120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s-PE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Cuantitativo</a:t>
                      </a:r>
                      <a:endParaRPr lang="es-PE" sz="2000" b="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121920" marR="121920" marT="120000" marB="12000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8054">
                <a:tc>
                  <a:txBody>
                    <a:bodyPr/>
                    <a:lstStyle/>
                    <a:p>
                      <a:pPr algn="l"/>
                      <a:r>
                        <a:rPr lang="es-PE" sz="2400" b="1" dirty="0" smtClean="0">
                          <a:solidFill>
                            <a:schemeClr val="tx2"/>
                          </a:solidFill>
                          <a:latin typeface="Corbel" panose="020B0503020204020204" pitchFamily="34" charset="0"/>
                        </a:rPr>
                        <a:t>Técnica</a:t>
                      </a:r>
                      <a:endParaRPr lang="es-PE" sz="2400" b="1" dirty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48000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s-PE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Encuestas en hogares cara a cara en soporte</a:t>
                      </a:r>
                      <a:r>
                        <a:rPr lang="es-PE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</a:t>
                      </a:r>
                      <a:r>
                        <a:rPr lang="es-PE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CAPI</a:t>
                      </a:r>
                      <a:r>
                        <a:rPr lang="es-PE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(celulares)</a:t>
                      </a:r>
                      <a:endParaRPr lang="es-PE" sz="2000" b="0" dirty="0">
                        <a:solidFill>
                          <a:schemeClr val="tx1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12192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28740">
                <a:tc>
                  <a:txBody>
                    <a:bodyPr/>
                    <a:lstStyle/>
                    <a:p>
                      <a:pPr algn="l"/>
                      <a:r>
                        <a:rPr lang="es-PE" sz="2400" b="1" dirty="0" smtClean="0">
                          <a:solidFill>
                            <a:schemeClr val="tx2"/>
                          </a:solidFill>
                          <a:latin typeface="Corbel" panose="020B0503020204020204" pitchFamily="34" charset="0"/>
                        </a:rPr>
                        <a:t>Universo</a:t>
                      </a:r>
                      <a:endParaRPr lang="es-PE" sz="2400" b="1" dirty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48000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s-ES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Mujeres y hombres de todos los niveles socioeconómicos</a:t>
                      </a:r>
                      <a:r>
                        <a:rPr lang="es-ES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</a:t>
                      </a:r>
                      <a:r>
                        <a:rPr lang="es-ES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mayores</a:t>
                      </a:r>
                      <a:r>
                        <a:rPr lang="es-ES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de 18</a:t>
                      </a:r>
                      <a:r>
                        <a:rPr lang="es-ES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años que residen en ámbito urbano de Lima y 17</a:t>
                      </a:r>
                      <a:r>
                        <a:rPr lang="es-ES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</a:t>
                      </a:r>
                      <a:r>
                        <a:rPr lang="es-ES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principales localidades </a:t>
                      </a:r>
                      <a:r>
                        <a:rPr lang="es-ES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del país</a:t>
                      </a:r>
                      <a:r>
                        <a:rPr lang="es-ES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.</a:t>
                      </a:r>
                    </a:p>
                  </a:txBody>
                  <a:tcPr marL="12192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40506">
                <a:tc>
                  <a:txBody>
                    <a:bodyPr/>
                    <a:lstStyle/>
                    <a:p>
                      <a:pPr algn="l"/>
                      <a:r>
                        <a:rPr lang="es-PE" sz="2400" b="1" dirty="0" smtClean="0">
                          <a:solidFill>
                            <a:schemeClr val="tx2"/>
                          </a:solidFill>
                          <a:latin typeface="Corbel" panose="020B0503020204020204" pitchFamily="34" charset="0"/>
                        </a:rPr>
                        <a:t>Muestra</a:t>
                      </a:r>
                      <a:endParaRPr lang="es-PE" sz="2400" b="1" dirty="0">
                        <a:solidFill>
                          <a:schemeClr val="tx2"/>
                        </a:solidFill>
                        <a:latin typeface="Corbel" panose="020B0503020204020204" pitchFamily="34" charset="0"/>
                      </a:endParaRPr>
                    </a:p>
                  </a:txBody>
                  <a:tcPr marL="48000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200"/>
                        </a:spcAft>
                      </a:pPr>
                      <a:r>
                        <a:rPr lang="es-ES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1857 </a:t>
                      </a:r>
                      <a:r>
                        <a:rPr lang="es-ES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encuestas distribuidas  en diferentes zonas de Lima Metropolitana,</a:t>
                      </a:r>
                      <a:r>
                        <a:rPr lang="es-ES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norte, centro, sur y oriente del país . Margen de error total: </a:t>
                      </a:r>
                      <a:r>
                        <a:rPr lang="es-ES" sz="2000" b="0" u="sng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+</a:t>
                      </a:r>
                      <a:r>
                        <a:rPr lang="es-ES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2.3</a:t>
                      </a:r>
                    </a:p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kern="120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Los resultados del estudio tienen un nivel de confianza de 95% considerando una varianza máxima en las proporciones poblacionales (p=q=0.5).</a:t>
                      </a:r>
                    </a:p>
                  </a:txBody>
                  <a:tcPr marL="12192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55120"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2400" b="1" dirty="0" smtClean="0">
                          <a:solidFill>
                            <a:schemeClr val="tx2"/>
                          </a:solidFill>
                          <a:latin typeface="Corbel" panose="020B0503020204020204" pitchFamily="34" charset="0"/>
                        </a:rPr>
                        <a:t>Tipo</a:t>
                      </a:r>
                      <a:r>
                        <a:rPr lang="es-PE" sz="2400" b="1" baseline="0" dirty="0" smtClean="0">
                          <a:solidFill>
                            <a:schemeClr val="tx2"/>
                          </a:solidFill>
                          <a:latin typeface="Corbel" panose="020B0503020204020204" pitchFamily="34" charset="0"/>
                        </a:rPr>
                        <a:t> de m</a:t>
                      </a:r>
                      <a:r>
                        <a:rPr lang="es-PE" sz="2400" b="1" dirty="0" smtClean="0">
                          <a:solidFill>
                            <a:schemeClr val="tx2"/>
                          </a:solidFill>
                          <a:latin typeface="Corbel" panose="020B0503020204020204" pitchFamily="34" charset="0"/>
                        </a:rPr>
                        <a:t>uestreo</a:t>
                      </a:r>
                    </a:p>
                  </a:txBody>
                  <a:tcPr marL="48000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dirty="0" smtClean="0">
                          <a:latin typeface="Corbel" panose="020B0503020204020204" pitchFamily="34" charset="0"/>
                          <a:ea typeface="Times New Roman" panose="02020603050405020304" pitchFamily="18" charset="0"/>
                        </a:rPr>
                        <a:t>La muestra tiene un diseño estratificado por conglomerados, viviendas y personas. La selección es </a:t>
                      </a:r>
                      <a:r>
                        <a:rPr lang="es-ES" sz="2000" dirty="0" err="1" smtClean="0">
                          <a:latin typeface="Corbel" panose="020B0503020204020204" pitchFamily="34" charset="0"/>
                          <a:ea typeface="Times New Roman" panose="02020603050405020304" pitchFamily="18" charset="0"/>
                        </a:rPr>
                        <a:t>polietápica</a:t>
                      </a:r>
                      <a:r>
                        <a:rPr lang="es-ES" sz="2000" dirty="0" smtClean="0">
                          <a:latin typeface="Corbel" panose="020B0503020204020204" pitchFamily="34" charset="0"/>
                          <a:ea typeface="Times New Roman" panose="02020603050405020304" pitchFamily="18" charset="0"/>
                        </a:rPr>
                        <a:t> estratificada. Se trabaja con el marco muestral de hogares del INEI.</a:t>
                      </a:r>
                    </a:p>
                  </a:txBody>
                  <a:tcPr marL="12192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28740">
                <a:tc>
                  <a:txBody>
                    <a:bodyPr/>
                    <a:lstStyle/>
                    <a:p>
                      <a:r>
                        <a:rPr lang="es-PE" sz="2400" b="1" dirty="0" smtClean="0">
                          <a:solidFill>
                            <a:schemeClr val="tx2"/>
                          </a:solidFill>
                          <a:latin typeface="Corbel" panose="020B0503020204020204" pitchFamily="34" charset="0"/>
                        </a:rPr>
                        <a:t>Trabajo de</a:t>
                      </a:r>
                    </a:p>
                    <a:p>
                      <a:r>
                        <a:rPr lang="es-PE" sz="2400" b="1" dirty="0" smtClean="0">
                          <a:solidFill>
                            <a:schemeClr val="tx2"/>
                          </a:solidFill>
                          <a:latin typeface="Corbel" panose="020B0503020204020204" pitchFamily="34" charset="0"/>
                        </a:rPr>
                        <a:t>campo</a:t>
                      </a:r>
                    </a:p>
                  </a:txBody>
                  <a:tcPr marL="48000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Entre el 31</a:t>
                      </a:r>
                      <a:r>
                        <a:rPr lang="es-ES" sz="2000" b="0" baseline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de octubre y</a:t>
                      </a:r>
                      <a:r>
                        <a:rPr lang="es-ES" sz="2000" b="0" dirty="0" smtClean="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 el 12 de noviembre del 2019.</a:t>
                      </a:r>
                      <a:endParaRPr lang="es-ES" sz="2000" kern="1200" dirty="0" smtClean="0">
                        <a:solidFill>
                          <a:schemeClr val="tx1"/>
                        </a:solidFill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</a:txBody>
                  <a:tcPr marL="121920" marR="121920" marT="120000" marB="12000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58" name="Freeform 10"/>
          <p:cNvSpPr>
            <a:spLocks noEditPoints="1"/>
          </p:cNvSpPr>
          <p:nvPr/>
        </p:nvSpPr>
        <p:spPr bwMode="auto">
          <a:xfrm>
            <a:off x="263152" y="1182528"/>
            <a:ext cx="353879" cy="354140"/>
          </a:xfrm>
          <a:custGeom>
            <a:avLst/>
            <a:gdLst>
              <a:gd name="T0" fmla="*/ 84 w 322"/>
              <a:gd name="T1" fmla="*/ 24 h 313"/>
              <a:gd name="T2" fmla="*/ 130 w 322"/>
              <a:gd name="T3" fmla="*/ 24 h 313"/>
              <a:gd name="T4" fmla="*/ 63 w 322"/>
              <a:gd name="T5" fmla="*/ 7 h 313"/>
              <a:gd name="T6" fmla="*/ 108 w 322"/>
              <a:gd name="T7" fmla="*/ 207 h 313"/>
              <a:gd name="T8" fmla="*/ 157 w 322"/>
              <a:gd name="T9" fmla="*/ 214 h 313"/>
              <a:gd name="T10" fmla="*/ 51 w 322"/>
              <a:gd name="T11" fmla="*/ 23 h 313"/>
              <a:gd name="T12" fmla="*/ 79 w 322"/>
              <a:gd name="T13" fmla="*/ 16 h 313"/>
              <a:gd name="T14" fmla="*/ 63 w 322"/>
              <a:gd name="T15" fmla="*/ 7 h 313"/>
              <a:gd name="T16" fmla="*/ 171 w 322"/>
              <a:gd name="T17" fmla="*/ 41 h 313"/>
              <a:gd name="T18" fmla="*/ 254 w 322"/>
              <a:gd name="T19" fmla="*/ 15 h 313"/>
              <a:gd name="T20" fmla="*/ 284 w 322"/>
              <a:gd name="T21" fmla="*/ 38 h 313"/>
              <a:gd name="T22" fmla="*/ 308 w 322"/>
              <a:gd name="T23" fmla="*/ 42 h 313"/>
              <a:gd name="T24" fmla="*/ 264 w 322"/>
              <a:gd name="T25" fmla="*/ 7 h 313"/>
              <a:gd name="T26" fmla="*/ 104 w 322"/>
              <a:gd name="T27" fmla="*/ 7 h 313"/>
              <a:gd name="T28" fmla="*/ 105 w 322"/>
              <a:gd name="T29" fmla="*/ 38 h 313"/>
              <a:gd name="T30" fmla="*/ 91 w 322"/>
              <a:gd name="T31" fmla="*/ 24 h 313"/>
              <a:gd name="T32" fmla="*/ 104 w 322"/>
              <a:gd name="T33" fmla="*/ 7 h 313"/>
              <a:gd name="T34" fmla="*/ 134 w 322"/>
              <a:gd name="T35" fmla="*/ 35 h 313"/>
              <a:gd name="T36" fmla="*/ 241 w 322"/>
              <a:gd name="T37" fmla="*/ 126 h 313"/>
              <a:gd name="T38" fmla="*/ 245 w 322"/>
              <a:gd name="T39" fmla="*/ 120 h 313"/>
              <a:gd name="T40" fmla="*/ 136 w 322"/>
              <a:gd name="T41" fmla="*/ 29 h 313"/>
              <a:gd name="T42" fmla="*/ 255 w 322"/>
              <a:gd name="T43" fmla="*/ 80 h 313"/>
              <a:gd name="T44" fmla="*/ 322 w 322"/>
              <a:gd name="T45" fmla="*/ 80 h 313"/>
              <a:gd name="T46" fmla="*/ 284 w 322"/>
              <a:gd name="T47" fmla="*/ 54 h 313"/>
              <a:gd name="T48" fmla="*/ 285 w 322"/>
              <a:gd name="T49" fmla="*/ 102 h 313"/>
              <a:gd name="T50" fmla="*/ 263 w 322"/>
              <a:gd name="T51" fmla="*/ 79 h 313"/>
              <a:gd name="T52" fmla="*/ 284 w 322"/>
              <a:gd name="T53" fmla="*/ 54 h 313"/>
              <a:gd name="T54" fmla="*/ 108 w 322"/>
              <a:gd name="T55" fmla="*/ 93 h 313"/>
              <a:gd name="T56" fmla="*/ 87 w 322"/>
              <a:gd name="T57" fmla="*/ 126 h 313"/>
              <a:gd name="T58" fmla="*/ 157 w 322"/>
              <a:gd name="T59" fmla="*/ 60 h 313"/>
              <a:gd name="T60" fmla="*/ 165 w 322"/>
              <a:gd name="T61" fmla="*/ 100 h 313"/>
              <a:gd name="T62" fmla="*/ 165 w 322"/>
              <a:gd name="T63" fmla="*/ 182 h 313"/>
              <a:gd name="T64" fmla="*/ 165 w 322"/>
              <a:gd name="T65" fmla="*/ 100 h 313"/>
              <a:gd name="T66" fmla="*/ 161 w 322"/>
              <a:gd name="T67" fmla="*/ 112 h 313"/>
              <a:gd name="T68" fmla="*/ 159 w 322"/>
              <a:gd name="T69" fmla="*/ 172 h 313"/>
              <a:gd name="T70" fmla="*/ 159 w 322"/>
              <a:gd name="T71" fmla="*/ 109 h 313"/>
              <a:gd name="T72" fmla="*/ 261 w 322"/>
              <a:gd name="T73" fmla="*/ 111 h 313"/>
              <a:gd name="T74" fmla="*/ 35 w 322"/>
              <a:gd name="T75" fmla="*/ 262 h 313"/>
              <a:gd name="T76" fmla="*/ 55 w 322"/>
              <a:gd name="T77" fmla="*/ 157 h 313"/>
              <a:gd name="T78" fmla="*/ 220 w 322"/>
              <a:gd name="T79" fmla="*/ 207 h 313"/>
              <a:gd name="T80" fmla="*/ 261 w 322"/>
              <a:gd name="T81" fmla="*/ 111 h 313"/>
              <a:gd name="T82" fmla="*/ 269 w 322"/>
              <a:gd name="T83" fmla="*/ 163 h 313"/>
              <a:gd name="T84" fmla="*/ 194 w 322"/>
              <a:gd name="T85" fmla="*/ 241 h 313"/>
              <a:gd name="T86" fmla="*/ 297 w 322"/>
              <a:gd name="T87" fmla="*/ 281 h 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2" h="313">
                <a:moveTo>
                  <a:pt x="107" y="0"/>
                </a:moveTo>
                <a:cubicBezTo>
                  <a:pt x="95" y="0"/>
                  <a:pt x="84" y="11"/>
                  <a:pt x="84" y="24"/>
                </a:cubicBezTo>
                <a:cubicBezTo>
                  <a:pt x="84" y="37"/>
                  <a:pt x="95" y="47"/>
                  <a:pt x="107" y="47"/>
                </a:cubicBezTo>
                <a:cubicBezTo>
                  <a:pt x="119" y="47"/>
                  <a:pt x="130" y="37"/>
                  <a:pt x="130" y="24"/>
                </a:cubicBezTo>
                <a:cubicBezTo>
                  <a:pt x="130" y="11"/>
                  <a:pt x="119" y="0"/>
                  <a:pt x="107" y="0"/>
                </a:cubicBezTo>
                <a:close/>
                <a:moveTo>
                  <a:pt x="63" y="7"/>
                </a:moveTo>
                <a:cubicBezTo>
                  <a:pt x="50" y="7"/>
                  <a:pt x="39" y="11"/>
                  <a:pt x="31" y="18"/>
                </a:cubicBezTo>
                <a:cubicBezTo>
                  <a:pt x="0" y="50"/>
                  <a:pt x="34" y="134"/>
                  <a:pt x="108" y="207"/>
                </a:cubicBezTo>
                <a:cubicBezTo>
                  <a:pt x="116" y="215"/>
                  <a:pt x="125" y="223"/>
                  <a:pt x="134" y="231"/>
                </a:cubicBezTo>
                <a:cubicBezTo>
                  <a:pt x="142" y="225"/>
                  <a:pt x="150" y="220"/>
                  <a:pt x="157" y="214"/>
                </a:cubicBezTo>
                <a:cubicBezTo>
                  <a:pt x="147" y="206"/>
                  <a:pt x="138" y="197"/>
                  <a:pt x="128" y="187"/>
                </a:cubicBezTo>
                <a:cubicBezTo>
                  <a:pt x="61" y="121"/>
                  <a:pt x="27" y="48"/>
                  <a:pt x="51" y="23"/>
                </a:cubicBezTo>
                <a:cubicBezTo>
                  <a:pt x="57" y="18"/>
                  <a:pt x="64" y="16"/>
                  <a:pt x="74" y="15"/>
                </a:cubicBezTo>
                <a:cubicBezTo>
                  <a:pt x="75" y="15"/>
                  <a:pt x="77" y="15"/>
                  <a:pt x="79" y="16"/>
                </a:cubicBezTo>
                <a:cubicBezTo>
                  <a:pt x="80" y="13"/>
                  <a:pt x="81" y="11"/>
                  <a:pt x="82" y="8"/>
                </a:cubicBezTo>
                <a:cubicBezTo>
                  <a:pt x="76" y="7"/>
                  <a:pt x="69" y="7"/>
                  <a:pt x="63" y="7"/>
                </a:cubicBezTo>
                <a:close/>
                <a:moveTo>
                  <a:pt x="263" y="7"/>
                </a:moveTo>
                <a:cubicBezTo>
                  <a:pt x="238" y="7"/>
                  <a:pt x="205" y="19"/>
                  <a:pt x="171" y="41"/>
                </a:cubicBezTo>
                <a:cubicBezTo>
                  <a:pt x="173" y="43"/>
                  <a:pt x="175" y="44"/>
                  <a:pt x="177" y="45"/>
                </a:cubicBezTo>
                <a:cubicBezTo>
                  <a:pt x="207" y="26"/>
                  <a:pt x="235" y="15"/>
                  <a:pt x="254" y="15"/>
                </a:cubicBezTo>
                <a:cubicBezTo>
                  <a:pt x="264" y="16"/>
                  <a:pt x="271" y="18"/>
                  <a:pt x="277" y="23"/>
                </a:cubicBezTo>
                <a:cubicBezTo>
                  <a:pt x="280" y="27"/>
                  <a:pt x="283" y="32"/>
                  <a:pt x="284" y="38"/>
                </a:cubicBezTo>
                <a:cubicBezTo>
                  <a:pt x="285" y="37"/>
                  <a:pt x="287" y="37"/>
                  <a:pt x="288" y="37"/>
                </a:cubicBezTo>
                <a:cubicBezTo>
                  <a:pt x="295" y="37"/>
                  <a:pt x="302" y="39"/>
                  <a:pt x="308" y="42"/>
                </a:cubicBezTo>
                <a:cubicBezTo>
                  <a:pt x="306" y="32"/>
                  <a:pt x="303" y="24"/>
                  <a:pt x="297" y="18"/>
                </a:cubicBezTo>
                <a:cubicBezTo>
                  <a:pt x="289" y="11"/>
                  <a:pt x="278" y="7"/>
                  <a:pt x="264" y="7"/>
                </a:cubicBezTo>
                <a:cubicBezTo>
                  <a:pt x="264" y="7"/>
                  <a:pt x="263" y="7"/>
                  <a:pt x="263" y="7"/>
                </a:cubicBezTo>
                <a:close/>
                <a:moveTo>
                  <a:pt x="104" y="7"/>
                </a:moveTo>
                <a:cubicBezTo>
                  <a:pt x="106" y="7"/>
                  <a:pt x="106" y="8"/>
                  <a:pt x="105" y="9"/>
                </a:cubicBezTo>
                <a:cubicBezTo>
                  <a:pt x="99" y="17"/>
                  <a:pt x="99" y="30"/>
                  <a:pt x="105" y="38"/>
                </a:cubicBezTo>
                <a:cubicBezTo>
                  <a:pt x="106" y="40"/>
                  <a:pt x="106" y="41"/>
                  <a:pt x="104" y="40"/>
                </a:cubicBezTo>
                <a:cubicBezTo>
                  <a:pt x="96" y="39"/>
                  <a:pt x="91" y="32"/>
                  <a:pt x="91" y="24"/>
                </a:cubicBezTo>
                <a:cubicBezTo>
                  <a:pt x="91" y="16"/>
                  <a:pt x="96" y="9"/>
                  <a:pt x="104" y="7"/>
                </a:cubicBezTo>
                <a:cubicBezTo>
                  <a:pt x="104" y="7"/>
                  <a:pt x="104" y="7"/>
                  <a:pt x="104" y="7"/>
                </a:cubicBezTo>
                <a:close/>
                <a:moveTo>
                  <a:pt x="136" y="29"/>
                </a:moveTo>
                <a:cubicBezTo>
                  <a:pt x="135" y="31"/>
                  <a:pt x="135" y="33"/>
                  <a:pt x="134" y="35"/>
                </a:cubicBezTo>
                <a:cubicBezTo>
                  <a:pt x="160" y="50"/>
                  <a:pt x="188" y="71"/>
                  <a:pt x="216" y="98"/>
                </a:cubicBezTo>
                <a:cubicBezTo>
                  <a:pt x="225" y="108"/>
                  <a:pt x="233" y="117"/>
                  <a:pt x="241" y="126"/>
                </a:cubicBezTo>
                <a:cubicBezTo>
                  <a:pt x="242" y="125"/>
                  <a:pt x="243" y="123"/>
                  <a:pt x="244" y="122"/>
                </a:cubicBezTo>
                <a:cubicBezTo>
                  <a:pt x="244" y="121"/>
                  <a:pt x="245" y="121"/>
                  <a:pt x="245" y="120"/>
                </a:cubicBezTo>
                <a:cubicBezTo>
                  <a:pt x="237" y="111"/>
                  <a:pt x="229" y="102"/>
                  <a:pt x="220" y="93"/>
                </a:cubicBezTo>
                <a:cubicBezTo>
                  <a:pt x="192" y="66"/>
                  <a:pt x="163" y="44"/>
                  <a:pt x="136" y="29"/>
                </a:cubicBezTo>
                <a:close/>
                <a:moveTo>
                  <a:pt x="289" y="46"/>
                </a:moveTo>
                <a:cubicBezTo>
                  <a:pt x="270" y="46"/>
                  <a:pt x="255" y="61"/>
                  <a:pt x="255" y="80"/>
                </a:cubicBezTo>
                <a:cubicBezTo>
                  <a:pt x="255" y="99"/>
                  <a:pt x="270" y="114"/>
                  <a:pt x="289" y="114"/>
                </a:cubicBezTo>
                <a:cubicBezTo>
                  <a:pt x="307" y="114"/>
                  <a:pt x="322" y="99"/>
                  <a:pt x="322" y="80"/>
                </a:cubicBezTo>
                <a:cubicBezTo>
                  <a:pt x="322" y="61"/>
                  <a:pt x="307" y="46"/>
                  <a:pt x="289" y="46"/>
                </a:cubicBezTo>
                <a:close/>
                <a:moveTo>
                  <a:pt x="284" y="54"/>
                </a:moveTo>
                <a:cubicBezTo>
                  <a:pt x="286" y="54"/>
                  <a:pt x="286" y="55"/>
                  <a:pt x="285" y="57"/>
                </a:cubicBezTo>
                <a:cubicBezTo>
                  <a:pt x="276" y="68"/>
                  <a:pt x="276" y="89"/>
                  <a:pt x="285" y="102"/>
                </a:cubicBezTo>
                <a:cubicBezTo>
                  <a:pt x="287" y="104"/>
                  <a:pt x="286" y="105"/>
                  <a:pt x="283" y="105"/>
                </a:cubicBezTo>
                <a:cubicBezTo>
                  <a:pt x="272" y="102"/>
                  <a:pt x="263" y="92"/>
                  <a:pt x="263" y="79"/>
                </a:cubicBezTo>
                <a:cubicBezTo>
                  <a:pt x="263" y="67"/>
                  <a:pt x="272" y="56"/>
                  <a:pt x="283" y="54"/>
                </a:cubicBezTo>
                <a:cubicBezTo>
                  <a:pt x="283" y="54"/>
                  <a:pt x="284" y="54"/>
                  <a:pt x="284" y="54"/>
                </a:cubicBezTo>
                <a:close/>
                <a:moveTo>
                  <a:pt x="151" y="56"/>
                </a:moveTo>
                <a:cubicBezTo>
                  <a:pt x="136" y="67"/>
                  <a:pt x="122" y="79"/>
                  <a:pt x="108" y="93"/>
                </a:cubicBezTo>
                <a:cubicBezTo>
                  <a:pt x="99" y="102"/>
                  <a:pt x="90" y="111"/>
                  <a:pt x="83" y="120"/>
                </a:cubicBezTo>
                <a:cubicBezTo>
                  <a:pt x="84" y="122"/>
                  <a:pt x="85" y="124"/>
                  <a:pt x="87" y="126"/>
                </a:cubicBezTo>
                <a:cubicBezTo>
                  <a:pt x="94" y="117"/>
                  <a:pt x="103" y="108"/>
                  <a:pt x="112" y="98"/>
                </a:cubicBezTo>
                <a:cubicBezTo>
                  <a:pt x="127" y="84"/>
                  <a:pt x="142" y="71"/>
                  <a:pt x="157" y="60"/>
                </a:cubicBezTo>
                <a:cubicBezTo>
                  <a:pt x="155" y="58"/>
                  <a:pt x="153" y="57"/>
                  <a:pt x="151" y="56"/>
                </a:cubicBezTo>
                <a:close/>
                <a:moveTo>
                  <a:pt x="165" y="100"/>
                </a:moveTo>
                <a:cubicBezTo>
                  <a:pt x="143" y="100"/>
                  <a:pt x="125" y="118"/>
                  <a:pt x="125" y="141"/>
                </a:cubicBezTo>
                <a:cubicBezTo>
                  <a:pt x="125" y="164"/>
                  <a:pt x="143" y="182"/>
                  <a:pt x="165" y="182"/>
                </a:cubicBezTo>
                <a:cubicBezTo>
                  <a:pt x="187" y="182"/>
                  <a:pt x="205" y="164"/>
                  <a:pt x="205" y="141"/>
                </a:cubicBezTo>
                <a:cubicBezTo>
                  <a:pt x="205" y="118"/>
                  <a:pt x="187" y="100"/>
                  <a:pt x="165" y="100"/>
                </a:cubicBezTo>
                <a:close/>
                <a:moveTo>
                  <a:pt x="160" y="109"/>
                </a:moveTo>
                <a:cubicBezTo>
                  <a:pt x="163" y="109"/>
                  <a:pt x="163" y="111"/>
                  <a:pt x="161" y="112"/>
                </a:cubicBezTo>
                <a:cubicBezTo>
                  <a:pt x="150" y="127"/>
                  <a:pt x="150" y="152"/>
                  <a:pt x="162" y="168"/>
                </a:cubicBezTo>
                <a:cubicBezTo>
                  <a:pt x="163" y="171"/>
                  <a:pt x="162" y="173"/>
                  <a:pt x="159" y="172"/>
                </a:cubicBezTo>
                <a:cubicBezTo>
                  <a:pt x="145" y="169"/>
                  <a:pt x="134" y="156"/>
                  <a:pt x="134" y="140"/>
                </a:cubicBezTo>
                <a:cubicBezTo>
                  <a:pt x="134" y="125"/>
                  <a:pt x="145" y="112"/>
                  <a:pt x="159" y="109"/>
                </a:cubicBezTo>
                <a:cubicBezTo>
                  <a:pt x="159" y="109"/>
                  <a:pt x="160" y="109"/>
                  <a:pt x="160" y="109"/>
                </a:cubicBezTo>
                <a:close/>
                <a:moveTo>
                  <a:pt x="261" y="111"/>
                </a:moveTo>
                <a:cubicBezTo>
                  <a:pt x="246" y="136"/>
                  <a:pt x="225" y="162"/>
                  <a:pt x="200" y="187"/>
                </a:cubicBezTo>
                <a:cubicBezTo>
                  <a:pt x="133" y="253"/>
                  <a:pt x="60" y="287"/>
                  <a:pt x="35" y="262"/>
                </a:cubicBezTo>
                <a:cubicBezTo>
                  <a:pt x="19" y="246"/>
                  <a:pt x="29" y="207"/>
                  <a:pt x="59" y="163"/>
                </a:cubicBezTo>
                <a:cubicBezTo>
                  <a:pt x="57" y="161"/>
                  <a:pt x="56" y="159"/>
                  <a:pt x="55" y="157"/>
                </a:cubicBezTo>
                <a:cubicBezTo>
                  <a:pt x="20" y="210"/>
                  <a:pt x="9" y="259"/>
                  <a:pt x="31" y="281"/>
                </a:cubicBezTo>
                <a:cubicBezTo>
                  <a:pt x="62" y="313"/>
                  <a:pt x="147" y="279"/>
                  <a:pt x="220" y="207"/>
                </a:cubicBezTo>
                <a:cubicBezTo>
                  <a:pt x="248" y="179"/>
                  <a:pt x="270" y="150"/>
                  <a:pt x="285" y="123"/>
                </a:cubicBezTo>
                <a:cubicBezTo>
                  <a:pt x="276" y="122"/>
                  <a:pt x="267" y="118"/>
                  <a:pt x="261" y="111"/>
                </a:cubicBezTo>
                <a:close/>
                <a:moveTo>
                  <a:pt x="273" y="157"/>
                </a:moveTo>
                <a:cubicBezTo>
                  <a:pt x="272" y="159"/>
                  <a:pt x="271" y="161"/>
                  <a:pt x="269" y="163"/>
                </a:cubicBezTo>
                <a:cubicBezTo>
                  <a:pt x="298" y="207"/>
                  <a:pt x="309" y="246"/>
                  <a:pt x="293" y="262"/>
                </a:cubicBezTo>
                <a:cubicBezTo>
                  <a:pt x="276" y="279"/>
                  <a:pt x="238" y="269"/>
                  <a:pt x="194" y="241"/>
                </a:cubicBezTo>
                <a:cubicBezTo>
                  <a:pt x="187" y="247"/>
                  <a:pt x="179" y="253"/>
                  <a:pt x="171" y="258"/>
                </a:cubicBezTo>
                <a:cubicBezTo>
                  <a:pt x="225" y="293"/>
                  <a:pt x="275" y="304"/>
                  <a:pt x="297" y="281"/>
                </a:cubicBezTo>
                <a:cubicBezTo>
                  <a:pt x="319" y="259"/>
                  <a:pt x="308" y="210"/>
                  <a:pt x="273" y="15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latin typeface="Corbel" panose="020B0503020204020204" pitchFamily="34" charset="0"/>
            </a:endParaRPr>
          </a:p>
        </p:txBody>
      </p:sp>
      <p:sp>
        <p:nvSpPr>
          <p:cNvPr id="5" name="7 Título"/>
          <p:cNvSpPr>
            <a:spLocks noGrp="1"/>
          </p:cNvSpPr>
          <p:nvPr>
            <p:ph type="title"/>
          </p:nvPr>
        </p:nvSpPr>
        <p:spPr>
          <a:xfrm>
            <a:off x="344583" y="158733"/>
            <a:ext cx="8545185" cy="768107"/>
          </a:xfr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s-ES" sz="2800" dirty="0" smtClean="0">
                <a:latin typeface="Corbel" panose="020B0503020204020204" pitchFamily="34" charset="0"/>
              </a:rPr>
              <a:t>Metodología</a:t>
            </a:r>
            <a:endParaRPr lang="es-ES" dirty="0">
              <a:latin typeface="Corbel" panose="020B0503020204020204" pitchFamily="34" charset="0"/>
            </a:endParaRPr>
          </a:p>
        </p:txBody>
      </p:sp>
      <p:sp>
        <p:nvSpPr>
          <p:cNvPr id="27" name="Freeform 71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272047" y="1816839"/>
            <a:ext cx="349400" cy="349400"/>
          </a:xfrm>
          <a:custGeom>
            <a:avLst/>
            <a:gdLst>
              <a:gd name="T0" fmla="*/ 1103 w 2096"/>
              <a:gd name="T1" fmla="*/ 1212 h 2096"/>
              <a:gd name="T2" fmla="*/ 680 w 2096"/>
              <a:gd name="T3" fmla="*/ 1360 h 2096"/>
              <a:gd name="T4" fmla="*/ 0 w 2096"/>
              <a:gd name="T5" fmla="*/ 680 h 2096"/>
              <a:gd name="T6" fmla="*/ 680 w 2096"/>
              <a:gd name="T7" fmla="*/ 0 h 2096"/>
              <a:gd name="T8" fmla="*/ 1360 w 2096"/>
              <a:gd name="T9" fmla="*/ 680 h 2096"/>
              <a:gd name="T10" fmla="*/ 1216 w 2096"/>
              <a:gd name="T11" fmla="*/ 1099 h 2096"/>
              <a:gd name="T12" fmla="*/ 1344 w 2096"/>
              <a:gd name="T13" fmla="*/ 1227 h 2096"/>
              <a:gd name="T14" fmla="*/ 1231 w 2096"/>
              <a:gd name="T15" fmla="*/ 1340 h 2096"/>
              <a:gd name="T16" fmla="*/ 1103 w 2096"/>
              <a:gd name="T17" fmla="*/ 1212 h 2096"/>
              <a:gd name="T18" fmla="*/ 1474 w 2096"/>
              <a:gd name="T19" fmla="*/ 1200 h 2096"/>
              <a:gd name="T20" fmla="*/ 2096 w 2096"/>
              <a:gd name="T21" fmla="*/ 1823 h 2096"/>
              <a:gd name="T22" fmla="*/ 1823 w 2096"/>
              <a:gd name="T23" fmla="*/ 2096 h 2096"/>
              <a:gd name="T24" fmla="*/ 1200 w 2096"/>
              <a:gd name="T25" fmla="*/ 1474 h 2096"/>
              <a:gd name="T26" fmla="*/ 1474 w 2096"/>
              <a:gd name="T27" fmla="*/ 1200 h 20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096" h="2096">
                <a:moveTo>
                  <a:pt x="1103" y="1212"/>
                </a:moveTo>
                <a:cubicBezTo>
                  <a:pt x="987" y="1305"/>
                  <a:pt x="840" y="1360"/>
                  <a:pt x="680" y="1360"/>
                </a:cubicBezTo>
                <a:cubicBezTo>
                  <a:pt x="304" y="1360"/>
                  <a:pt x="0" y="1056"/>
                  <a:pt x="0" y="680"/>
                </a:cubicBezTo>
                <a:cubicBezTo>
                  <a:pt x="0" y="304"/>
                  <a:pt x="304" y="0"/>
                  <a:pt x="680" y="0"/>
                </a:cubicBezTo>
                <a:cubicBezTo>
                  <a:pt x="1056" y="0"/>
                  <a:pt x="1360" y="304"/>
                  <a:pt x="1360" y="680"/>
                </a:cubicBezTo>
                <a:cubicBezTo>
                  <a:pt x="1360" y="838"/>
                  <a:pt x="1306" y="983"/>
                  <a:pt x="1216" y="1099"/>
                </a:cubicBezTo>
                <a:cubicBezTo>
                  <a:pt x="1344" y="1227"/>
                  <a:pt x="1344" y="1227"/>
                  <a:pt x="1344" y="1227"/>
                </a:cubicBezTo>
                <a:cubicBezTo>
                  <a:pt x="1231" y="1340"/>
                  <a:pt x="1231" y="1340"/>
                  <a:pt x="1231" y="1340"/>
                </a:cubicBezTo>
                <a:lnTo>
                  <a:pt x="1103" y="1212"/>
                </a:lnTo>
                <a:close/>
                <a:moveTo>
                  <a:pt x="1474" y="1200"/>
                </a:moveTo>
                <a:cubicBezTo>
                  <a:pt x="2096" y="1823"/>
                  <a:pt x="2096" y="1823"/>
                  <a:pt x="2096" y="1823"/>
                </a:cubicBezTo>
                <a:cubicBezTo>
                  <a:pt x="1823" y="2096"/>
                  <a:pt x="1823" y="2096"/>
                  <a:pt x="1823" y="2096"/>
                </a:cubicBezTo>
                <a:cubicBezTo>
                  <a:pt x="1200" y="1474"/>
                  <a:pt x="1200" y="1474"/>
                  <a:pt x="1200" y="1474"/>
                </a:cubicBezTo>
                <a:lnTo>
                  <a:pt x="1474" y="12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1333">
              <a:latin typeface="Corbel" panose="020B0503020204020204" pitchFamily="34" charset="0"/>
            </a:endParaRPr>
          </a:p>
        </p:txBody>
      </p:sp>
      <p:grpSp>
        <p:nvGrpSpPr>
          <p:cNvPr id="28" name="Group 10"/>
          <p:cNvGrpSpPr>
            <a:grpSpLocks noChangeAspect="1"/>
          </p:cNvGrpSpPr>
          <p:nvPr/>
        </p:nvGrpSpPr>
        <p:grpSpPr bwMode="auto">
          <a:xfrm>
            <a:off x="221746" y="3668320"/>
            <a:ext cx="390780" cy="341932"/>
            <a:chOff x="190" y="2858"/>
            <a:chExt cx="544" cy="476"/>
          </a:xfrm>
          <a:solidFill>
            <a:schemeClr val="tx2"/>
          </a:solidFill>
        </p:grpSpPr>
        <p:sp>
          <p:nvSpPr>
            <p:cNvPr id="32" name="Oval 11"/>
            <p:cNvSpPr>
              <a:spLocks noChangeArrowheads="1"/>
            </p:cNvSpPr>
            <p:nvPr/>
          </p:nvSpPr>
          <p:spPr bwMode="auto">
            <a:xfrm>
              <a:off x="361" y="2858"/>
              <a:ext cx="212" cy="21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36" name="Freeform 12"/>
            <p:cNvSpPr>
              <a:spLocks/>
            </p:cNvSpPr>
            <p:nvPr/>
          </p:nvSpPr>
          <p:spPr bwMode="auto">
            <a:xfrm>
              <a:off x="225" y="2864"/>
              <a:ext cx="139" cy="151"/>
            </a:xfrm>
            <a:custGeom>
              <a:avLst/>
              <a:gdLst>
                <a:gd name="T0" fmla="*/ 96 w 96"/>
                <a:gd name="T1" fmla="*/ 24 h 105"/>
                <a:gd name="T2" fmla="*/ 52 w 96"/>
                <a:gd name="T3" fmla="*/ 0 h 105"/>
                <a:gd name="T4" fmla="*/ 0 w 96"/>
                <a:gd name="T5" fmla="*/ 52 h 105"/>
                <a:gd name="T6" fmla="*/ 52 w 96"/>
                <a:gd name="T7" fmla="*/ 105 h 105"/>
                <a:gd name="T8" fmla="*/ 85 w 96"/>
                <a:gd name="T9" fmla="*/ 93 h 105"/>
                <a:gd name="T10" fmla="*/ 82 w 96"/>
                <a:gd name="T11" fmla="*/ 70 h 105"/>
                <a:gd name="T12" fmla="*/ 96 w 96"/>
                <a:gd name="T13" fmla="*/ 2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05">
                  <a:moveTo>
                    <a:pt x="96" y="24"/>
                  </a:moveTo>
                  <a:cubicBezTo>
                    <a:pt x="86" y="10"/>
                    <a:pt x="70" y="0"/>
                    <a:pt x="52" y="0"/>
                  </a:cubicBezTo>
                  <a:cubicBezTo>
                    <a:pt x="23" y="0"/>
                    <a:pt x="0" y="24"/>
                    <a:pt x="0" y="52"/>
                  </a:cubicBezTo>
                  <a:cubicBezTo>
                    <a:pt x="0" y="81"/>
                    <a:pt x="23" y="105"/>
                    <a:pt x="52" y="105"/>
                  </a:cubicBezTo>
                  <a:cubicBezTo>
                    <a:pt x="65" y="105"/>
                    <a:pt x="76" y="100"/>
                    <a:pt x="85" y="93"/>
                  </a:cubicBezTo>
                  <a:cubicBezTo>
                    <a:pt x="83" y="85"/>
                    <a:pt x="82" y="78"/>
                    <a:pt x="82" y="70"/>
                  </a:cubicBezTo>
                  <a:cubicBezTo>
                    <a:pt x="82" y="53"/>
                    <a:pt x="87" y="37"/>
                    <a:pt x="9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37" name="Freeform 13"/>
            <p:cNvSpPr>
              <a:spLocks/>
            </p:cNvSpPr>
            <p:nvPr/>
          </p:nvSpPr>
          <p:spPr bwMode="auto">
            <a:xfrm>
              <a:off x="190" y="3034"/>
              <a:ext cx="204" cy="169"/>
            </a:xfrm>
            <a:custGeom>
              <a:avLst/>
              <a:gdLst>
                <a:gd name="T0" fmla="*/ 141 w 141"/>
                <a:gd name="T1" fmla="*/ 43 h 117"/>
                <a:gd name="T2" fmla="*/ 131 w 141"/>
                <a:gd name="T3" fmla="*/ 22 h 117"/>
                <a:gd name="T4" fmla="*/ 88 w 141"/>
                <a:gd name="T5" fmla="*/ 3 h 117"/>
                <a:gd name="T6" fmla="*/ 63 w 141"/>
                <a:gd name="T7" fmla="*/ 3 h 117"/>
                <a:gd name="T8" fmla="*/ 26 w 141"/>
                <a:gd name="T9" fmla="*/ 21 h 117"/>
                <a:gd name="T10" fmla="*/ 3 w 141"/>
                <a:gd name="T11" fmla="*/ 101 h 117"/>
                <a:gd name="T12" fmla="*/ 18 w 141"/>
                <a:gd name="T13" fmla="*/ 116 h 117"/>
                <a:gd name="T14" fmla="*/ 91 w 141"/>
                <a:gd name="T15" fmla="*/ 116 h 117"/>
                <a:gd name="T16" fmla="*/ 111 w 141"/>
                <a:gd name="T17" fmla="*/ 67 h 117"/>
                <a:gd name="T18" fmla="*/ 141 w 141"/>
                <a:gd name="T19" fmla="*/ 43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17">
                  <a:moveTo>
                    <a:pt x="141" y="43"/>
                  </a:moveTo>
                  <a:cubicBezTo>
                    <a:pt x="138" y="35"/>
                    <a:pt x="135" y="27"/>
                    <a:pt x="131" y="22"/>
                  </a:cubicBezTo>
                  <a:cubicBezTo>
                    <a:pt x="118" y="0"/>
                    <a:pt x="88" y="3"/>
                    <a:pt x="88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3"/>
                    <a:pt x="40" y="2"/>
                    <a:pt x="26" y="21"/>
                  </a:cubicBezTo>
                  <a:cubicBezTo>
                    <a:pt x="13" y="41"/>
                    <a:pt x="3" y="101"/>
                    <a:pt x="3" y="101"/>
                  </a:cubicBezTo>
                  <a:cubicBezTo>
                    <a:pt x="3" y="101"/>
                    <a:pt x="0" y="117"/>
                    <a:pt x="18" y="116"/>
                  </a:cubicBezTo>
                  <a:cubicBezTo>
                    <a:pt x="91" y="116"/>
                    <a:pt x="91" y="116"/>
                    <a:pt x="91" y="116"/>
                  </a:cubicBezTo>
                  <a:cubicBezTo>
                    <a:pt x="97" y="97"/>
                    <a:pt x="104" y="78"/>
                    <a:pt x="111" y="67"/>
                  </a:cubicBezTo>
                  <a:cubicBezTo>
                    <a:pt x="120" y="55"/>
                    <a:pt x="131" y="47"/>
                    <a:pt x="1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38" name="Freeform 14"/>
            <p:cNvSpPr>
              <a:spLocks/>
            </p:cNvSpPr>
            <p:nvPr/>
          </p:nvSpPr>
          <p:spPr bwMode="auto">
            <a:xfrm>
              <a:off x="563" y="2864"/>
              <a:ext cx="132" cy="151"/>
            </a:xfrm>
            <a:custGeom>
              <a:avLst/>
              <a:gdLst>
                <a:gd name="T0" fmla="*/ 14 w 91"/>
                <a:gd name="T1" fmla="*/ 98 h 105"/>
                <a:gd name="T2" fmla="*/ 39 w 91"/>
                <a:gd name="T3" fmla="*/ 105 h 105"/>
                <a:gd name="T4" fmla="*/ 91 w 91"/>
                <a:gd name="T5" fmla="*/ 52 h 105"/>
                <a:gd name="T6" fmla="*/ 39 w 91"/>
                <a:gd name="T7" fmla="*/ 0 h 105"/>
                <a:gd name="T8" fmla="*/ 0 w 91"/>
                <a:gd name="T9" fmla="*/ 17 h 105"/>
                <a:gd name="T10" fmla="*/ 19 w 91"/>
                <a:gd name="T11" fmla="*/ 70 h 105"/>
                <a:gd name="T12" fmla="*/ 14 w 91"/>
                <a:gd name="T13" fmla="*/ 9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1" h="105">
                  <a:moveTo>
                    <a:pt x="14" y="98"/>
                  </a:moveTo>
                  <a:cubicBezTo>
                    <a:pt x="21" y="102"/>
                    <a:pt x="30" y="105"/>
                    <a:pt x="39" y="105"/>
                  </a:cubicBezTo>
                  <a:cubicBezTo>
                    <a:pt x="68" y="105"/>
                    <a:pt x="91" y="81"/>
                    <a:pt x="91" y="52"/>
                  </a:cubicBezTo>
                  <a:cubicBezTo>
                    <a:pt x="91" y="24"/>
                    <a:pt x="68" y="0"/>
                    <a:pt x="39" y="0"/>
                  </a:cubicBezTo>
                  <a:cubicBezTo>
                    <a:pt x="24" y="0"/>
                    <a:pt x="10" y="7"/>
                    <a:pt x="0" y="17"/>
                  </a:cubicBezTo>
                  <a:cubicBezTo>
                    <a:pt x="12" y="32"/>
                    <a:pt x="19" y="50"/>
                    <a:pt x="19" y="70"/>
                  </a:cubicBezTo>
                  <a:cubicBezTo>
                    <a:pt x="19" y="80"/>
                    <a:pt x="17" y="89"/>
                    <a:pt x="14" y="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39" name="Freeform 15"/>
            <p:cNvSpPr>
              <a:spLocks/>
            </p:cNvSpPr>
            <p:nvPr/>
          </p:nvSpPr>
          <p:spPr bwMode="auto">
            <a:xfrm>
              <a:off x="534" y="3034"/>
              <a:ext cx="200" cy="169"/>
            </a:xfrm>
            <a:custGeom>
              <a:avLst/>
              <a:gdLst>
                <a:gd name="T0" fmla="*/ 114 w 138"/>
                <a:gd name="T1" fmla="*/ 22 h 117"/>
                <a:gd name="T2" fmla="*/ 71 w 138"/>
                <a:gd name="T3" fmla="*/ 3 h 117"/>
                <a:gd name="T4" fmla="*/ 46 w 138"/>
                <a:gd name="T5" fmla="*/ 3 h 117"/>
                <a:gd name="T6" fmla="*/ 9 w 138"/>
                <a:gd name="T7" fmla="*/ 21 h 117"/>
                <a:gd name="T8" fmla="*/ 0 w 138"/>
                <a:gd name="T9" fmla="*/ 39 h 117"/>
                <a:gd name="T10" fmla="*/ 40 w 138"/>
                <a:gd name="T11" fmla="*/ 68 h 117"/>
                <a:gd name="T12" fmla="*/ 62 w 138"/>
                <a:gd name="T13" fmla="*/ 116 h 117"/>
                <a:gd name="T14" fmla="*/ 120 w 138"/>
                <a:gd name="T15" fmla="*/ 116 h 117"/>
                <a:gd name="T16" fmla="*/ 138 w 138"/>
                <a:gd name="T17" fmla="*/ 101 h 117"/>
                <a:gd name="T18" fmla="*/ 114 w 138"/>
                <a:gd name="T19" fmla="*/ 2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17">
                  <a:moveTo>
                    <a:pt x="114" y="22"/>
                  </a:moveTo>
                  <a:cubicBezTo>
                    <a:pt x="100" y="0"/>
                    <a:pt x="71" y="3"/>
                    <a:pt x="71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22" y="2"/>
                    <a:pt x="9" y="21"/>
                  </a:cubicBezTo>
                  <a:cubicBezTo>
                    <a:pt x="6" y="26"/>
                    <a:pt x="3" y="32"/>
                    <a:pt x="0" y="39"/>
                  </a:cubicBezTo>
                  <a:cubicBezTo>
                    <a:pt x="14" y="43"/>
                    <a:pt x="30" y="51"/>
                    <a:pt x="40" y="68"/>
                  </a:cubicBezTo>
                  <a:cubicBezTo>
                    <a:pt x="49" y="80"/>
                    <a:pt x="56" y="98"/>
                    <a:pt x="62" y="116"/>
                  </a:cubicBezTo>
                  <a:cubicBezTo>
                    <a:pt x="120" y="116"/>
                    <a:pt x="120" y="116"/>
                    <a:pt x="120" y="116"/>
                  </a:cubicBezTo>
                  <a:cubicBezTo>
                    <a:pt x="120" y="116"/>
                    <a:pt x="138" y="117"/>
                    <a:pt x="138" y="101"/>
                  </a:cubicBezTo>
                  <a:cubicBezTo>
                    <a:pt x="138" y="101"/>
                    <a:pt x="129" y="42"/>
                    <a:pt x="114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40" name="Freeform 16"/>
            <p:cNvSpPr>
              <a:spLocks/>
            </p:cNvSpPr>
            <p:nvPr/>
          </p:nvSpPr>
          <p:spPr bwMode="auto">
            <a:xfrm>
              <a:off x="313" y="3098"/>
              <a:ext cx="314" cy="236"/>
            </a:xfrm>
            <a:custGeom>
              <a:avLst/>
              <a:gdLst>
                <a:gd name="T0" fmla="*/ 123 w 217"/>
                <a:gd name="T1" fmla="*/ 4 h 164"/>
                <a:gd name="T2" fmla="*/ 88 w 217"/>
                <a:gd name="T3" fmla="*/ 4 h 164"/>
                <a:gd name="T4" fmla="*/ 36 w 217"/>
                <a:gd name="T5" fmla="*/ 30 h 164"/>
                <a:gd name="T6" fmla="*/ 3 w 217"/>
                <a:gd name="T7" fmla="*/ 142 h 164"/>
                <a:gd name="T8" fmla="*/ 25 w 217"/>
                <a:gd name="T9" fmla="*/ 164 h 164"/>
                <a:gd name="T10" fmla="*/ 193 w 217"/>
                <a:gd name="T11" fmla="*/ 164 h 164"/>
                <a:gd name="T12" fmla="*/ 217 w 217"/>
                <a:gd name="T13" fmla="*/ 142 h 164"/>
                <a:gd name="T14" fmla="*/ 183 w 217"/>
                <a:gd name="T15" fmla="*/ 31 h 164"/>
                <a:gd name="T16" fmla="*/ 123 w 217"/>
                <a:gd name="T17" fmla="*/ 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7" h="164">
                  <a:moveTo>
                    <a:pt x="123" y="4"/>
                  </a:moveTo>
                  <a:cubicBezTo>
                    <a:pt x="88" y="4"/>
                    <a:pt x="88" y="4"/>
                    <a:pt x="88" y="4"/>
                  </a:cubicBezTo>
                  <a:cubicBezTo>
                    <a:pt x="88" y="4"/>
                    <a:pt x="55" y="3"/>
                    <a:pt x="36" y="30"/>
                  </a:cubicBezTo>
                  <a:cubicBezTo>
                    <a:pt x="17" y="57"/>
                    <a:pt x="3" y="142"/>
                    <a:pt x="3" y="142"/>
                  </a:cubicBezTo>
                  <a:cubicBezTo>
                    <a:pt x="3" y="142"/>
                    <a:pt x="0" y="164"/>
                    <a:pt x="25" y="164"/>
                  </a:cubicBezTo>
                  <a:cubicBezTo>
                    <a:pt x="193" y="164"/>
                    <a:pt x="193" y="164"/>
                    <a:pt x="193" y="164"/>
                  </a:cubicBezTo>
                  <a:cubicBezTo>
                    <a:pt x="193" y="164"/>
                    <a:pt x="217" y="164"/>
                    <a:pt x="217" y="142"/>
                  </a:cubicBezTo>
                  <a:cubicBezTo>
                    <a:pt x="217" y="142"/>
                    <a:pt x="206" y="60"/>
                    <a:pt x="183" y="31"/>
                  </a:cubicBezTo>
                  <a:cubicBezTo>
                    <a:pt x="165" y="0"/>
                    <a:pt x="123" y="4"/>
                    <a:pt x="12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solidFill>
                  <a:srgbClr val="000000"/>
                </a:solidFill>
                <a:latin typeface="Corbel" panose="020B0503020204020204" pitchFamily="34" charset="0"/>
              </a:endParaRPr>
            </a:p>
          </p:txBody>
        </p:sp>
      </p:grpSp>
      <p:sp>
        <p:nvSpPr>
          <p:cNvPr id="45" name="Freeform 89"/>
          <p:cNvSpPr>
            <a:spLocks noEditPoints="1"/>
          </p:cNvSpPr>
          <p:nvPr/>
        </p:nvSpPr>
        <p:spPr bwMode="auto">
          <a:xfrm>
            <a:off x="297372" y="2524503"/>
            <a:ext cx="347291" cy="326948"/>
          </a:xfrm>
          <a:custGeom>
            <a:avLst/>
            <a:gdLst>
              <a:gd name="T0" fmla="*/ 58 w 175"/>
              <a:gd name="T1" fmla="*/ 77 h 174"/>
              <a:gd name="T2" fmla="*/ 55 w 175"/>
              <a:gd name="T3" fmla="*/ 75 h 174"/>
              <a:gd name="T4" fmla="*/ 82 w 175"/>
              <a:gd name="T5" fmla="*/ 139 h 174"/>
              <a:gd name="T6" fmla="*/ 82 w 175"/>
              <a:gd name="T7" fmla="*/ 139 h 174"/>
              <a:gd name="T8" fmla="*/ 175 w 175"/>
              <a:gd name="T9" fmla="*/ 87 h 174"/>
              <a:gd name="T10" fmla="*/ 0 w 175"/>
              <a:gd name="T11" fmla="*/ 87 h 174"/>
              <a:gd name="T12" fmla="*/ 175 w 175"/>
              <a:gd name="T13" fmla="*/ 87 h 174"/>
              <a:gd name="T14" fmla="*/ 129 w 175"/>
              <a:gd name="T15" fmla="*/ 66 h 174"/>
              <a:gd name="T16" fmla="*/ 142 w 175"/>
              <a:gd name="T17" fmla="*/ 60 h 174"/>
              <a:gd name="T18" fmla="*/ 155 w 175"/>
              <a:gd name="T19" fmla="*/ 63 h 174"/>
              <a:gd name="T20" fmla="*/ 153 w 175"/>
              <a:gd name="T21" fmla="*/ 57 h 174"/>
              <a:gd name="T22" fmla="*/ 141 w 175"/>
              <a:gd name="T23" fmla="*/ 53 h 174"/>
              <a:gd name="T24" fmla="*/ 131 w 175"/>
              <a:gd name="T25" fmla="*/ 55 h 174"/>
              <a:gd name="T26" fmla="*/ 135 w 175"/>
              <a:gd name="T27" fmla="*/ 49 h 174"/>
              <a:gd name="T28" fmla="*/ 129 w 175"/>
              <a:gd name="T29" fmla="*/ 44 h 174"/>
              <a:gd name="T30" fmla="*/ 137 w 175"/>
              <a:gd name="T31" fmla="*/ 36 h 174"/>
              <a:gd name="T32" fmla="*/ 124 w 175"/>
              <a:gd name="T33" fmla="*/ 25 h 174"/>
              <a:gd name="T34" fmla="*/ 108 w 175"/>
              <a:gd name="T35" fmla="*/ 31 h 174"/>
              <a:gd name="T36" fmla="*/ 100 w 175"/>
              <a:gd name="T37" fmla="*/ 27 h 174"/>
              <a:gd name="T38" fmla="*/ 90 w 175"/>
              <a:gd name="T39" fmla="*/ 20 h 174"/>
              <a:gd name="T40" fmla="*/ 83 w 175"/>
              <a:gd name="T41" fmla="*/ 23 h 174"/>
              <a:gd name="T42" fmla="*/ 89 w 175"/>
              <a:gd name="T43" fmla="*/ 30 h 174"/>
              <a:gd name="T44" fmla="*/ 82 w 175"/>
              <a:gd name="T45" fmla="*/ 30 h 174"/>
              <a:gd name="T46" fmla="*/ 80 w 175"/>
              <a:gd name="T47" fmla="*/ 17 h 174"/>
              <a:gd name="T48" fmla="*/ 59 w 175"/>
              <a:gd name="T49" fmla="*/ 21 h 174"/>
              <a:gd name="T50" fmla="*/ 59 w 175"/>
              <a:gd name="T51" fmla="*/ 24 h 174"/>
              <a:gd name="T52" fmla="*/ 59 w 175"/>
              <a:gd name="T53" fmla="*/ 28 h 174"/>
              <a:gd name="T54" fmla="*/ 51 w 175"/>
              <a:gd name="T55" fmla="*/ 25 h 174"/>
              <a:gd name="T56" fmla="*/ 51 w 175"/>
              <a:gd name="T57" fmla="*/ 28 h 174"/>
              <a:gd name="T58" fmla="*/ 63 w 175"/>
              <a:gd name="T59" fmla="*/ 29 h 174"/>
              <a:gd name="T60" fmla="*/ 66 w 175"/>
              <a:gd name="T61" fmla="*/ 33 h 174"/>
              <a:gd name="T62" fmla="*/ 79 w 175"/>
              <a:gd name="T63" fmla="*/ 34 h 174"/>
              <a:gd name="T64" fmla="*/ 91 w 175"/>
              <a:gd name="T65" fmla="*/ 44 h 174"/>
              <a:gd name="T66" fmla="*/ 81 w 175"/>
              <a:gd name="T67" fmla="*/ 46 h 174"/>
              <a:gd name="T68" fmla="*/ 74 w 175"/>
              <a:gd name="T69" fmla="*/ 51 h 174"/>
              <a:gd name="T70" fmla="*/ 65 w 175"/>
              <a:gd name="T71" fmla="*/ 60 h 174"/>
              <a:gd name="T72" fmla="*/ 65 w 175"/>
              <a:gd name="T73" fmla="*/ 59 h 174"/>
              <a:gd name="T74" fmla="*/ 61 w 175"/>
              <a:gd name="T75" fmla="*/ 67 h 174"/>
              <a:gd name="T76" fmla="*/ 53 w 175"/>
              <a:gd name="T77" fmla="*/ 65 h 174"/>
              <a:gd name="T78" fmla="*/ 44 w 175"/>
              <a:gd name="T79" fmla="*/ 78 h 174"/>
              <a:gd name="T80" fmla="*/ 49 w 175"/>
              <a:gd name="T81" fmla="*/ 81 h 174"/>
              <a:gd name="T82" fmla="*/ 54 w 175"/>
              <a:gd name="T83" fmla="*/ 88 h 174"/>
              <a:gd name="T84" fmla="*/ 74 w 175"/>
              <a:gd name="T85" fmla="*/ 89 h 174"/>
              <a:gd name="T86" fmla="*/ 91 w 175"/>
              <a:gd name="T87" fmla="*/ 100 h 174"/>
              <a:gd name="T88" fmla="*/ 98 w 175"/>
              <a:gd name="T89" fmla="*/ 113 h 174"/>
              <a:gd name="T90" fmla="*/ 96 w 175"/>
              <a:gd name="T91" fmla="*/ 123 h 174"/>
              <a:gd name="T92" fmla="*/ 90 w 175"/>
              <a:gd name="T93" fmla="*/ 130 h 174"/>
              <a:gd name="T94" fmla="*/ 82 w 175"/>
              <a:gd name="T95" fmla="*/ 139 h 174"/>
              <a:gd name="T96" fmla="*/ 81 w 175"/>
              <a:gd name="T97" fmla="*/ 139 h 174"/>
              <a:gd name="T98" fmla="*/ 80 w 175"/>
              <a:gd name="T99" fmla="*/ 152 h 174"/>
              <a:gd name="T100" fmla="*/ 68 w 175"/>
              <a:gd name="T101" fmla="*/ 130 h 174"/>
              <a:gd name="T102" fmla="*/ 56 w 175"/>
              <a:gd name="T103" fmla="*/ 103 h 174"/>
              <a:gd name="T104" fmla="*/ 54 w 175"/>
              <a:gd name="T105" fmla="*/ 89 h 174"/>
              <a:gd name="T106" fmla="*/ 47 w 175"/>
              <a:gd name="T107" fmla="*/ 83 h 174"/>
              <a:gd name="T108" fmla="*/ 31 w 175"/>
              <a:gd name="T109" fmla="*/ 73 h 174"/>
              <a:gd name="T110" fmla="*/ 26 w 175"/>
              <a:gd name="T111" fmla="*/ 67 h 174"/>
              <a:gd name="T112" fmla="*/ 16 w 175"/>
              <a:gd name="T113" fmla="*/ 87 h 174"/>
              <a:gd name="T114" fmla="*/ 151 w 175"/>
              <a:gd name="T115" fmla="*/ 121 h 174"/>
              <a:gd name="T116" fmla="*/ 147 w 175"/>
              <a:gd name="T117" fmla="*/ 98 h 174"/>
              <a:gd name="T118" fmla="*/ 124 w 175"/>
              <a:gd name="T119" fmla="*/ 89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75" h="174">
                <a:moveTo>
                  <a:pt x="62" y="74"/>
                </a:moveTo>
                <a:cubicBezTo>
                  <a:pt x="62" y="76"/>
                  <a:pt x="59" y="77"/>
                  <a:pt x="58" y="77"/>
                </a:cubicBezTo>
                <a:cubicBezTo>
                  <a:pt x="56" y="77"/>
                  <a:pt x="55" y="77"/>
                  <a:pt x="55" y="75"/>
                </a:cubicBezTo>
                <a:cubicBezTo>
                  <a:pt x="55" y="75"/>
                  <a:pt x="55" y="75"/>
                  <a:pt x="55" y="75"/>
                </a:cubicBezTo>
                <a:cubicBezTo>
                  <a:pt x="56" y="74"/>
                  <a:pt x="60" y="74"/>
                  <a:pt x="62" y="74"/>
                </a:cubicBezTo>
                <a:close/>
                <a:moveTo>
                  <a:pt x="82" y="139"/>
                </a:moveTo>
                <a:cubicBezTo>
                  <a:pt x="82" y="139"/>
                  <a:pt x="82" y="139"/>
                  <a:pt x="82" y="139"/>
                </a:cubicBezTo>
                <a:cubicBezTo>
                  <a:pt x="82" y="139"/>
                  <a:pt x="82" y="139"/>
                  <a:pt x="82" y="139"/>
                </a:cubicBezTo>
                <a:cubicBezTo>
                  <a:pt x="82" y="139"/>
                  <a:pt x="82" y="139"/>
                  <a:pt x="82" y="139"/>
                </a:cubicBezTo>
                <a:close/>
                <a:moveTo>
                  <a:pt x="175" y="87"/>
                </a:moveTo>
                <a:cubicBezTo>
                  <a:pt x="175" y="135"/>
                  <a:pt x="136" y="174"/>
                  <a:pt x="88" y="174"/>
                </a:cubicBezTo>
                <a:cubicBezTo>
                  <a:pt x="39" y="174"/>
                  <a:pt x="0" y="135"/>
                  <a:pt x="0" y="87"/>
                </a:cubicBezTo>
                <a:cubicBezTo>
                  <a:pt x="0" y="39"/>
                  <a:pt x="39" y="0"/>
                  <a:pt x="88" y="0"/>
                </a:cubicBezTo>
                <a:cubicBezTo>
                  <a:pt x="136" y="0"/>
                  <a:pt x="175" y="39"/>
                  <a:pt x="175" y="87"/>
                </a:cubicBezTo>
                <a:close/>
                <a:moveTo>
                  <a:pt x="120" y="79"/>
                </a:moveTo>
                <a:cubicBezTo>
                  <a:pt x="121" y="74"/>
                  <a:pt x="127" y="70"/>
                  <a:pt x="129" y="66"/>
                </a:cubicBezTo>
                <a:cubicBezTo>
                  <a:pt x="131" y="64"/>
                  <a:pt x="131" y="63"/>
                  <a:pt x="134" y="63"/>
                </a:cubicBezTo>
                <a:cubicBezTo>
                  <a:pt x="137" y="63"/>
                  <a:pt x="139" y="62"/>
                  <a:pt x="142" y="60"/>
                </a:cubicBezTo>
                <a:cubicBezTo>
                  <a:pt x="144" y="59"/>
                  <a:pt x="145" y="59"/>
                  <a:pt x="147" y="61"/>
                </a:cubicBezTo>
                <a:cubicBezTo>
                  <a:pt x="150" y="64"/>
                  <a:pt x="151" y="64"/>
                  <a:pt x="155" y="63"/>
                </a:cubicBezTo>
                <a:cubicBezTo>
                  <a:pt x="155" y="63"/>
                  <a:pt x="155" y="63"/>
                  <a:pt x="155" y="63"/>
                </a:cubicBezTo>
                <a:cubicBezTo>
                  <a:pt x="154" y="61"/>
                  <a:pt x="154" y="59"/>
                  <a:pt x="153" y="57"/>
                </a:cubicBezTo>
                <a:cubicBezTo>
                  <a:pt x="151" y="56"/>
                  <a:pt x="150" y="55"/>
                  <a:pt x="149" y="54"/>
                </a:cubicBezTo>
                <a:cubicBezTo>
                  <a:pt x="147" y="52"/>
                  <a:pt x="143" y="51"/>
                  <a:pt x="141" y="53"/>
                </a:cubicBezTo>
                <a:cubicBezTo>
                  <a:pt x="139" y="55"/>
                  <a:pt x="141" y="57"/>
                  <a:pt x="138" y="58"/>
                </a:cubicBezTo>
                <a:cubicBezTo>
                  <a:pt x="135" y="59"/>
                  <a:pt x="126" y="59"/>
                  <a:pt x="131" y="55"/>
                </a:cubicBezTo>
                <a:cubicBezTo>
                  <a:pt x="133" y="53"/>
                  <a:pt x="136" y="54"/>
                  <a:pt x="137" y="52"/>
                </a:cubicBezTo>
                <a:cubicBezTo>
                  <a:pt x="139" y="50"/>
                  <a:pt x="136" y="50"/>
                  <a:pt x="135" y="49"/>
                </a:cubicBezTo>
                <a:cubicBezTo>
                  <a:pt x="135" y="47"/>
                  <a:pt x="136" y="46"/>
                  <a:pt x="136" y="45"/>
                </a:cubicBezTo>
                <a:cubicBezTo>
                  <a:pt x="135" y="42"/>
                  <a:pt x="131" y="47"/>
                  <a:pt x="129" y="44"/>
                </a:cubicBezTo>
                <a:cubicBezTo>
                  <a:pt x="127" y="43"/>
                  <a:pt x="130" y="39"/>
                  <a:pt x="132" y="38"/>
                </a:cubicBezTo>
                <a:cubicBezTo>
                  <a:pt x="133" y="37"/>
                  <a:pt x="136" y="37"/>
                  <a:pt x="137" y="36"/>
                </a:cubicBezTo>
                <a:cubicBezTo>
                  <a:pt x="138" y="36"/>
                  <a:pt x="138" y="36"/>
                  <a:pt x="138" y="36"/>
                </a:cubicBezTo>
                <a:cubicBezTo>
                  <a:pt x="134" y="32"/>
                  <a:pt x="129" y="28"/>
                  <a:pt x="124" y="25"/>
                </a:cubicBezTo>
                <a:cubicBezTo>
                  <a:pt x="122" y="28"/>
                  <a:pt x="117" y="28"/>
                  <a:pt x="114" y="29"/>
                </a:cubicBezTo>
                <a:cubicBezTo>
                  <a:pt x="111" y="29"/>
                  <a:pt x="109" y="30"/>
                  <a:pt x="108" y="31"/>
                </a:cubicBezTo>
                <a:cubicBezTo>
                  <a:pt x="106" y="32"/>
                  <a:pt x="104" y="35"/>
                  <a:pt x="102" y="35"/>
                </a:cubicBezTo>
                <a:cubicBezTo>
                  <a:pt x="97" y="37"/>
                  <a:pt x="100" y="29"/>
                  <a:pt x="100" y="27"/>
                </a:cubicBezTo>
                <a:cubicBezTo>
                  <a:pt x="102" y="22"/>
                  <a:pt x="98" y="21"/>
                  <a:pt x="94" y="22"/>
                </a:cubicBezTo>
                <a:cubicBezTo>
                  <a:pt x="93" y="22"/>
                  <a:pt x="92" y="21"/>
                  <a:pt x="90" y="20"/>
                </a:cubicBezTo>
                <a:cubicBezTo>
                  <a:pt x="89" y="19"/>
                  <a:pt x="87" y="18"/>
                  <a:pt x="86" y="19"/>
                </a:cubicBezTo>
                <a:cubicBezTo>
                  <a:pt x="84" y="19"/>
                  <a:pt x="83" y="22"/>
                  <a:pt x="83" y="23"/>
                </a:cubicBezTo>
                <a:cubicBezTo>
                  <a:pt x="83" y="25"/>
                  <a:pt x="84" y="25"/>
                  <a:pt x="86" y="25"/>
                </a:cubicBezTo>
                <a:cubicBezTo>
                  <a:pt x="88" y="26"/>
                  <a:pt x="89" y="28"/>
                  <a:pt x="89" y="30"/>
                </a:cubicBezTo>
                <a:cubicBezTo>
                  <a:pt x="89" y="32"/>
                  <a:pt x="88" y="34"/>
                  <a:pt x="86" y="34"/>
                </a:cubicBezTo>
                <a:cubicBezTo>
                  <a:pt x="84" y="34"/>
                  <a:pt x="83" y="32"/>
                  <a:pt x="82" y="30"/>
                </a:cubicBezTo>
                <a:cubicBezTo>
                  <a:pt x="81" y="27"/>
                  <a:pt x="80" y="28"/>
                  <a:pt x="78" y="26"/>
                </a:cubicBezTo>
                <a:cubicBezTo>
                  <a:pt x="73" y="23"/>
                  <a:pt x="81" y="20"/>
                  <a:pt x="80" y="17"/>
                </a:cubicBezTo>
                <a:cubicBezTo>
                  <a:pt x="80" y="16"/>
                  <a:pt x="80" y="16"/>
                  <a:pt x="79" y="16"/>
                </a:cubicBezTo>
                <a:cubicBezTo>
                  <a:pt x="72" y="16"/>
                  <a:pt x="65" y="18"/>
                  <a:pt x="59" y="21"/>
                </a:cubicBezTo>
                <a:cubicBezTo>
                  <a:pt x="59" y="21"/>
                  <a:pt x="59" y="21"/>
                  <a:pt x="59" y="21"/>
                </a:cubicBezTo>
                <a:cubicBezTo>
                  <a:pt x="59" y="23"/>
                  <a:pt x="57" y="23"/>
                  <a:pt x="59" y="24"/>
                </a:cubicBezTo>
                <a:cubicBezTo>
                  <a:pt x="60" y="25"/>
                  <a:pt x="61" y="24"/>
                  <a:pt x="62" y="25"/>
                </a:cubicBezTo>
                <a:cubicBezTo>
                  <a:pt x="62" y="27"/>
                  <a:pt x="61" y="27"/>
                  <a:pt x="59" y="28"/>
                </a:cubicBezTo>
                <a:cubicBezTo>
                  <a:pt x="57" y="28"/>
                  <a:pt x="54" y="28"/>
                  <a:pt x="54" y="25"/>
                </a:cubicBezTo>
                <a:cubicBezTo>
                  <a:pt x="53" y="25"/>
                  <a:pt x="52" y="25"/>
                  <a:pt x="51" y="25"/>
                </a:cubicBezTo>
                <a:cubicBezTo>
                  <a:pt x="51" y="25"/>
                  <a:pt x="51" y="25"/>
                  <a:pt x="50" y="26"/>
                </a:cubicBezTo>
                <a:cubicBezTo>
                  <a:pt x="51" y="26"/>
                  <a:pt x="51" y="27"/>
                  <a:pt x="51" y="28"/>
                </a:cubicBezTo>
                <a:cubicBezTo>
                  <a:pt x="52" y="29"/>
                  <a:pt x="53" y="30"/>
                  <a:pt x="55" y="30"/>
                </a:cubicBezTo>
                <a:cubicBezTo>
                  <a:pt x="58" y="30"/>
                  <a:pt x="61" y="30"/>
                  <a:pt x="63" y="29"/>
                </a:cubicBezTo>
                <a:cubicBezTo>
                  <a:pt x="66" y="29"/>
                  <a:pt x="70" y="23"/>
                  <a:pt x="72" y="28"/>
                </a:cubicBezTo>
                <a:cubicBezTo>
                  <a:pt x="74" y="32"/>
                  <a:pt x="69" y="32"/>
                  <a:pt x="66" y="33"/>
                </a:cubicBezTo>
                <a:cubicBezTo>
                  <a:pt x="61" y="35"/>
                  <a:pt x="63" y="39"/>
                  <a:pt x="67" y="40"/>
                </a:cubicBezTo>
                <a:cubicBezTo>
                  <a:pt x="73" y="42"/>
                  <a:pt x="74" y="35"/>
                  <a:pt x="79" y="34"/>
                </a:cubicBezTo>
                <a:cubicBezTo>
                  <a:pt x="82" y="34"/>
                  <a:pt x="85" y="38"/>
                  <a:pt x="87" y="40"/>
                </a:cubicBezTo>
                <a:cubicBezTo>
                  <a:pt x="89" y="41"/>
                  <a:pt x="91" y="42"/>
                  <a:pt x="91" y="44"/>
                </a:cubicBezTo>
                <a:cubicBezTo>
                  <a:pt x="91" y="46"/>
                  <a:pt x="90" y="48"/>
                  <a:pt x="88" y="48"/>
                </a:cubicBezTo>
                <a:cubicBezTo>
                  <a:pt x="87" y="46"/>
                  <a:pt x="83" y="44"/>
                  <a:pt x="81" y="46"/>
                </a:cubicBezTo>
                <a:cubicBezTo>
                  <a:pt x="82" y="46"/>
                  <a:pt x="82" y="47"/>
                  <a:pt x="83" y="47"/>
                </a:cubicBezTo>
                <a:cubicBezTo>
                  <a:pt x="84" y="52"/>
                  <a:pt x="76" y="50"/>
                  <a:pt x="74" y="51"/>
                </a:cubicBezTo>
                <a:cubicBezTo>
                  <a:pt x="72" y="53"/>
                  <a:pt x="71" y="54"/>
                  <a:pt x="70" y="56"/>
                </a:cubicBezTo>
                <a:cubicBezTo>
                  <a:pt x="68" y="57"/>
                  <a:pt x="67" y="58"/>
                  <a:pt x="65" y="60"/>
                </a:cubicBezTo>
                <a:cubicBezTo>
                  <a:pt x="65" y="60"/>
                  <a:pt x="66" y="59"/>
                  <a:pt x="66" y="59"/>
                </a:cubicBezTo>
                <a:cubicBezTo>
                  <a:pt x="66" y="59"/>
                  <a:pt x="65" y="60"/>
                  <a:pt x="65" y="59"/>
                </a:cubicBezTo>
                <a:cubicBezTo>
                  <a:pt x="65" y="59"/>
                  <a:pt x="65" y="59"/>
                  <a:pt x="65" y="59"/>
                </a:cubicBezTo>
                <a:cubicBezTo>
                  <a:pt x="63" y="62"/>
                  <a:pt x="62" y="63"/>
                  <a:pt x="61" y="67"/>
                </a:cubicBezTo>
                <a:cubicBezTo>
                  <a:pt x="60" y="70"/>
                  <a:pt x="58" y="72"/>
                  <a:pt x="56" y="72"/>
                </a:cubicBezTo>
                <a:cubicBezTo>
                  <a:pt x="56" y="69"/>
                  <a:pt x="56" y="66"/>
                  <a:pt x="53" y="65"/>
                </a:cubicBezTo>
                <a:cubicBezTo>
                  <a:pt x="48" y="64"/>
                  <a:pt x="39" y="67"/>
                  <a:pt x="39" y="73"/>
                </a:cubicBezTo>
                <a:cubicBezTo>
                  <a:pt x="39" y="75"/>
                  <a:pt x="41" y="78"/>
                  <a:pt x="44" y="78"/>
                </a:cubicBezTo>
                <a:cubicBezTo>
                  <a:pt x="46" y="79"/>
                  <a:pt x="50" y="75"/>
                  <a:pt x="52" y="79"/>
                </a:cubicBezTo>
                <a:cubicBezTo>
                  <a:pt x="52" y="79"/>
                  <a:pt x="49" y="80"/>
                  <a:pt x="49" y="81"/>
                </a:cubicBezTo>
                <a:cubicBezTo>
                  <a:pt x="50" y="82"/>
                  <a:pt x="52" y="82"/>
                  <a:pt x="53" y="83"/>
                </a:cubicBezTo>
                <a:cubicBezTo>
                  <a:pt x="54" y="85"/>
                  <a:pt x="53" y="86"/>
                  <a:pt x="54" y="88"/>
                </a:cubicBezTo>
                <a:cubicBezTo>
                  <a:pt x="56" y="91"/>
                  <a:pt x="60" y="87"/>
                  <a:pt x="63" y="86"/>
                </a:cubicBezTo>
                <a:cubicBezTo>
                  <a:pt x="67" y="84"/>
                  <a:pt x="71" y="86"/>
                  <a:pt x="74" y="89"/>
                </a:cubicBezTo>
                <a:cubicBezTo>
                  <a:pt x="77" y="91"/>
                  <a:pt x="80" y="92"/>
                  <a:pt x="84" y="94"/>
                </a:cubicBezTo>
                <a:cubicBezTo>
                  <a:pt x="86" y="96"/>
                  <a:pt x="88" y="98"/>
                  <a:pt x="91" y="100"/>
                </a:cubicBezTo>
                <a:cubicBezTo>
                  <a:pt x="94" y="101"/>
                  <a:pt x="100" y="101"/>
                  <a:pt x="103" y="104"/>
                </a:cubicBezTo>
                <a:cubicBezTo>
                  <a:pt x="105" y="108"/>
                  <a:pt x="99" y="110"/>
                  <a:pt x="98" y="113"/>
                </a:cubicBezTo>
                <a:cubicBezTo>
                  <a:pt x="98" y="115"/>
                  <a:pt x="99" y="117"/>
                  <a:pt x="99" y="119"/>
                </a:cubicBezTo>
                <a:cubicBezTo>
                  <a:pt x="99" y="121"/>
                  <a:pt x="97" y="122"/>
                  <a:pt x="96" y="123"/>
                </a:cubicBezTo>
                <a:cubicBezTo>
                  <a:pt x="94" y="124"/>
                  <a:pt x="92" y="124"/>
                  <a:pt x="91" y="126"/>
                </a:cubicBezTo>
                <a:cubicBezTo>
                  <a:pt x="90" y="127"/>
                  <a:pt x="90" y="129"/>
                  <a:pt x="90" y="130"/>
                </a:cubicBezTo>
                <a:cubicBezTo>
                  <a:pt x="89" y="134"/>
                  <a:pt x="84" y="136"/>
                  <a:pt x="82" y="139"/>
                </a:cubicBezTo>
                <a:cubicBezTo>
                  <a:pt x="82" y="139"/>
                  <a:pt x="82" y="139"/>
                  <a:pt x="82" y="139"/>
                </a:cubicBezTo>
                <a:cubicBezTo>
                  <a:pt x="81" y="139"/>
                  <a:pt x="81" y="139"/>
                  <a:pt x="80" y="140"/>
                </a:cubicBezTo>
                <a:cubicBezTo>
                  <a:pt x="81" y="139"/>
                  <a:pt x="81" y="139"/>
                  <a:pt x="81" y="139"/>
                </a:cubicBezTo>
                <a:cubicBezTo>
                  <a:pt x="80" y="139"/>
                  <a:pt x="80" y="140"/>
                  <a:pt x="79" y="140"/>
                </a:cubicBezTo>
                <a:cubicBezTo>
                  <a:pt x="78" y="143"/>
                  <a:pt x="79" y="149"/>
                  <a:pt x="80" y="152"/>
                </a:cubicBezTo>
                <a:cubicBezTo>
                  <a:pt x="82" y="156"/>
                  <a:pt x="78" y="157"/>
                  <a:pt x="75" y="154"/>
                </a:cubicBezTo>
                <a:cubicBezTo>
                  <a:pt x="67" y="149"/>
                  <a:pt x="67" y="139"/>
                  <a:pt x="68" y="130"/>
                </a:cubicBezTo>
                <a:cubicBezTo>
                  <a:pt x="68" y="124"/>
                  <a:pt x="70" y="119"/>
                  <a:pt x="65" y="115"/>
                </a:cubicBezTo>
                <a:cubicBezTo>
                  <a:pt x="61" y="112"/>
                  <a:pt x="55" y="108"/>
                  <a:pt x="56" y="103"/>
                </a:cubicBezTo>
                <a:cubicBezTo>
                  <a:pt x="56" y="100"/>
                  <a:pt x="61" y="96"/>
                  <a:pt x="59" y="93"/>
                </a:cubicBezTo>
                <a:cubicBezTo>
                  <a:pt x="58" y="91"/>
                  <a:pt x="55" y="91"/>
                  <a:pt x="54" y="89"/>
                </a:cubicBezTo>
                <a:cubicBezTo>
                  <a:pt x="53" y="88"/>
                  <a:pt x="52" y="87"/>
                  <a:pt x="51" y="86"/>
                </a:cubicBezTo>
                <a:cubicBezTo>
                  <a:pt x="49" y="85"/>
                  <a:pt x="48" y="84"/>
                  <a:pt x="47" y="83"/>
                </a:cubicBezTo>
                <a:cubicBezTo>
                  <a:pt x="44" y="82"/>
                  <a:pt x="42" y="82"/>
                  <a:pt x="39" y="82"/>
                </a:cubicBezTo>
                <a:cubicBezTo>
                  <a:pt x="33" y="81"/>
                  <a:pt x="33" y="78"/>
                  <a:pt x="31" y="73"/>
                </a:cubicBezTo>
                <a:cubicBezTo>
                  <a:pt x="29" y="73"/>
                  <a:pt x="29" y="73"/>
                  <a:pt x="28" y="71"/>
                </a:cubicBezTo>
                <a:cubicBezTo>
                  <a:pt x="28" y="69"/>
                  <a:pt x="28" y="68"/>
                  <a:pt x="26" y="67"/>
                </a:cubicBezTo>
                <a:cubicBezTo>
                  <a:pt x="24" y="65"/>
                  <a:pt x="22" y="63"/>
                  <a:pt x="21" y="61"/>
                </a:cubicBezTo>
                <a:cubicBezTo>
                  <a:pt x="18" y="69"/>
                  <a:pt x="16" y="78"/>
                  <a:pt x="16" y="87"/>
                </a:cubicBezTo>
                <a:cubicBezTo>
                  <a:pt x="16" y="127"/>
                  <a:pt x="48" y="159"/>
                  <a:pt x="88" y="159"/>
                </a:cubicBezTo>
                <a:cubicBezTo>
                  <a:pt x="115" y="159"/>
                  <a:pt x="139" y="143"/>
                  <a:pt x="151" y="121"/>
                </a:cubicBezTo>
                <a:cubicBezTo>
                  <a:pt x="148" y="116"/>
                  <a:pt x="153" y="113"/>
                  <a:pt x="153" y="108"/>
                </a:cubicBezTo>
                <a:cubicBezTo>
                  <a:pt x="153" y="104"/>
                  <a:pt x="147" y="103"/>
                  <a:pt x="147" y="98"/>
                </a:cubicBezTo>
                <a:cubicBezTo>
                  <a:pt x="146" y="91"/>
                  <a:pt x="142" y="91"/>
                  <a:pt x="136" y="94"/>
                </a:cubicBezTo>
                <a:cubicBezTo>
                  <a:pt x="130" y="97"/>
                  <a:pt x="127" y="95"/>
                  <a:pt x="124" y="89"/>
                </a:cubicBezTo>
                <a:cubicBezTo>
                  <a:pt x="122" y="86"/>
                  <a:pt x="120" y="83"/>
                  <a:pt x="120" y="79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latin typeface="Corbel" panose="020B0503020204020204" pitchFamily="34" charset="0"/>
            </a:endParaRPr>
          </a:p>
        </p:txBody>
      </p:sp>
      <p:grpSp>
        <p:nvGrpSpPr>
          <p:cNvPr id="26" name="Group 3135"/>
          <p:cNvGrpSpPr/>
          <p:nvPr/>
        </p:nvGrpSpPr>
        <p:grpSpPr>
          <a:xfrm>
            <a:off x="301386" y="5955290"/>
            <a:ext cx="273622" cy="360040"/>
            <a:chOff x="1758952" y="1235074"/>
            <a:chExt cx="609601" cy="808037"/>
          </a:xfrm>
          <a:solidFill>
            <a:schemeClr val="tx2"/>
          </a:solidFill>
        </p:grpSpPr>
        <p:sp>
          <p:nvSpPr>
            <p:cNvPr id="29" name="Oval 14"/>
            <p:cNvSpPr>
              <a:spLocks noChangeArrowheads="1"/>
            </p:cNvSpPr>
            <p:nvPr/>
          </p:nvSpPr>
          <p:spPr bwMode="auto">
            <a:xfrm>
              <a:off x="1827215" y="1473199"/>
              <a:ext cx="123825" cy="1238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30" name="Freeform 15"/>
            <p:cNvSpPr>
              <a:spLocks/>
            </p:cNvSpPr>
            <p:nvPr/>
          </p:nvSpPr>
          <p:spPr bwMode="auto">
            <a:xfrm>
              <a:off x="1758952" y="1612899"/>
              <a:ext cx="265113" cy="430212"/>
            </a:xfrm>
            <a:custGeom>
              <a:avLst/>
              <a:gdLst>
                <a:gd name="T0" fmla="*/ 77 w 107"/>
                <a:gd name="T1" fmla="*/ 0 h 174"/>
                <a:gd name="T2" fmla="*/ 77 w 107"/>
                <a:gd name="T3" fmla="*/ 0 h 174"/>
                <a:gd name="T4" fmla="*/ 78 w 107"/>
                <a:gd name="T5" fmla="*/ 0 h 174"/>
                <a:gd name="T6" fmla="*/ 78 w 107"/>
                <a:gd name="T7" fmla="*/ 0 h 174"/>
                <a:gd name="T8" fmla="*/ 107 w 107"/>
                <a:gd name="T9" fmla="*/ 30 h 174"/>
                <a:gd name="T10" fmla="*/ 107 w 107"/>
                <a:gd name="T11" fmla="*/ 31 h 174"/>
                <a:gd name="T12" fmla="*/ 107 w 107"/>
                <a:gd name="T13" fmla="*/ 82 h 174"/>
                <a:gd name="T14" fmla="*/ 87 w 107"/>
                <a:gd name="T15" fmla="*/ 82 h 174"/>
                <a:gd name="T16" fmla="*/ 87 w 107"/>
                <a:gd name="T17" fmla="*/ 36 h 174"/>
                <a:gd name="T18" fmla="*/ 82 w 107"/>
                <a:gd name="T19" fmla="*/ 36 h 174"/>
                <a:gd name="T20" fmla="*/ 82 w 107"/>
                <a:gd name="T21" fmla="*/ 36 h 174"/>
                <a:gd name="T22" fmla="*/ 82 w 107"/>
                <a:gd name="T23" fmla="*/ 156 h 174"/>
                <a:gd name="T24" fmla="*/ 56 w 107"/>
                <a:gd name="T25" fmla="*/ 156 h 174"/>
                <a:gd name="T26" fmla="*/ 56 w 107"/>
                <a:gd name="T27" fmla="*/ 87 h 174"/>
                <a:gd name="T28" fmla="*/ 51 w 107"/>
                <a:gd name="T29" fmla="*/ 87 h 174"/>
                <a:gd name="T30" fmla="*/ 51 w 107"/>
                <a:gd name="T31" fmla="*/ 156 h 174"/>
                <a:gd name="T32" fmla="*/ 25 w 107"/>
                <a:gd name="T33" fmla="*/ 156 h 174"/>
                <a:gd name="T34" fmla="*/ 25 w 107"/>
                <a:gd name="T35" fmla="*/ 36 h 174"/>
                <a:gd name="T36" fmla="*/ 25 w 107"/>
                <a:gd name="T37" fmla="*/ 36 h 174"/>
                <a:gd name="T38" fmla="*/ 20 w 107"/>
                <a:gd name="T39" fmla="*/ 36 h 174"/>
                <a:gd name="T40" fmla="*/ 20 w 107"/>
                <a:gd name="T41" fmla="*/ 82 h 174"/>
                <a:gd name="T42" fmla="*/ 0 w 107"/>
                <a:gd name="T43" fmla="*/ 82 h 174"/>
                <a:gd name="T44" fmla="*/ 0 w 107"/>
                <a:gd name="T45" fmla="*/ 31 h 174"/>
                <a:gd name="T46" fmla="*/ 0 w 107"/>
                <a:gd name="T47" fmla="*/ 30 h 174"/>
                <a:gd name="T48" fmla="*/ 29 w 107"/>
                <a:gd name="T49" fmla="*/ 0 h 174"/>
                <a:gd name="T50" fmla="*/ 29 w 107"/>
                <a:gd name="T51" fmla="*/ 0 h 174"/>
                <a:gd name="T52" fmla="*/ 29 w 107"/>
                <a:gd name="T53" fmla="*/ 0 h 174"/>
                <a:gd name="T54" fmla="*/ 29 w 107"/>
                <a:gd name="T55" fmla="*/ 0 h 174"/>
                <a:gd name="T56" fmla="*/ 77 w 107"/>
                <a:gd name="T57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7" h="174">
                  <a:moveTo>
                    <a:pt x="77" y="0"/>
                  </a:moveTo>
                  <a:cubicBezTo>
                    <a:pt x="77" y="0"/>
                    <a:pt x="77" y="0"/>
                    <a:pt x="77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94" y="0"/>
                    <a:pt x="107" y="13"/>
                    <a:pt x="107" y="30"/>
                  </a:cubicBezTo>
                  <a:cubicBezTo>
                    <a:pt x="107" y="31"/>
                    <a:pt x="107" y="31"/>
                    <a:pt x="107" y="31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95"/>
                    <a:pt x="87" y="95"/>
                    <a:pt x="87" y="82"/>
                  </a:cubicBezTo>
                  <a:cubicBezTo>
                    <a:pt x="87" y="36"/>
                    <a:pt x="87" y="36"/>
                    <a:pt x="87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156"/>
                    <a:pt x="82" y="156"/>
                    <a:pt x="82" y="156"/>
                  </a:cubicBezTo>
                  <a:cubicBezTo>
                    <a:pt x="82" y="174"/>
                    <a:pt x="56" y="174"/>
                    <a:pt x="56" y="156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156"/>
                    <a:pt x="51" y="156"/>
                    <a:pt x="51" y="156"/>
                  </a:cubicBezTo>
                  <a:cubicBezTo>
                    <a:pt x="51" y="174"/>
                    <a:pt x="25" y="174"/>
                    <a:pt x="25" y="15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0" y="95"/>
                    <a:pt x="0" y="95"/>
                    <a:pt x="0" y="82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7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31" name="Oval 16"/>
            <p:cNvSpPr>
              <a:spLocks noChangeArrowheads="1"/>
            </p:cNvSpPr>
            <p:nvPr/>
          </p:nvSpPr>
          <p:spPr bwMode="auto">
            <a:xfrm>
              <a:off x="2171702" y="1476374"/>
              <a:ext cx="123825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33" name="Freeform 17"/>
            <p:cNvSpPr>
              <a:spLocks/>
            </p:cNvSpPr>
            <p:nvPr/>
          </p:nvSpPr>
          <p:spPr bwMode="auto">
            <a:xfrm>
              <a:off x="2103440" y="1614486"/>
              <a:ext cx="265113" cy="428625"/>
            </a:xfrm>
            <a:custGeom>
              <a:avLst/>
              <a:gdLst>
                <a:gd name="T0" fmla="*/ 78 w 107"/>
                <a:gd name="T1" fmla="*/ 0 h 173"/>
                <a:gd name="T2" fmla="*/ 78 w 107"/>
                <a:gd name="T3" fmla="*/ 0 h 173"/>
                <a:gd name="T4" fmla="*/ 107 w 107"/>
                <a:gd name="T5" fmla="*/ 29 h 173"/>
                <a:gd name="T6" fmla="*/ 107 w 107"/>
                <a:gd name="T7" fmla="*/ 31 h 173"/>
                <a:gd name="T8" fmla="*/ 107 w 107"/>
                <a:gd name="T9" fmla="*/ 49 h 173"/>
                <a:gd name="T10" fmla="*/ 107 w 107"/>
                <a:gd name="T11" fmla="*/ 50 h 173"/>
                <a:gd name="T12" fmla="*/ 107 w 107"/>
                <a:gd name="T13" fmla="*/ 51 h 173"/>
                <a:gd name="T14" fmla="*/ 107 w 107"/>
                <a:gd name="T15" fmla="*/ 81 h 173"/>
                <a:gd name="T16" fmla="*/ 87 w 107"/>
                <a:gd name="T17" fmla="*/ 81 h 173"/>
                <a:gd name="T18" fmla="*/ 87 w 107"/>
                <a:gd name="T19" fmla="*/ 51 h 173"/>
                <a:gd name="T20" fmla="*/ 87 w 107"/>
                <a:gd name="T21" fmla="*/ 50 h 173"/>
                <a:gd name="T22" fmla="*/ 87 w 107"/>
                <a:gd name="T23" fmla="*/ 49 h 173"/>
                <a:gd name="T24" fmla="*/ 87 w 107"/>
                <a:gd name="T25" fmla="*/ 35 h 173"/>
                <a:gd name="T26" fmla="*/ 82 w 107"/>
                <a:gd name="T27" fmla="*/ 35 h 173"/>
                <a:gd name="T28" fmla="*/ 82 w 107"/>
                <a:gd name="T29" fmla="*/ 35 h 173"/>
                <a:gd name="T30" fmla="*/ 82 w 107"/>
                <a:gd name="T31" fmla="*/ 70 h 173"/>
                <a:gd name="T32" fmla="*/ 82 w 107"/>
                <a:gd name="T33" fmla="*/ 86 h 173"/>
                <a:gd name="T34" fmla="*/ 82 w 107"/>
                <a:gd name="T35" fmla="*/ 115 h 173"/>
                <a:gd name="T36" fmla="*/ 82 w 107"/>
                <a:gd name="T37" fmla="*/ 115 h 173"/>
                <a:gd name="T38" fmla="*/ 82 w 107"/>
                <a:gd name="T39" fmla="*/ 115 h 173"/>
                <a:gd name="T40" fmla="*/ 82 w 107"/>
                <a:gd name="T41" fmla="*/ 155 h 173"/>
                <a:gd name="T42" fmla="*/ 56 w 107"/>
                <a:gd name="T43" fmla="*/ 155 h 173"/>
                <a:gd name="T44" fmla="*/ 56 w 107"/>
                <a:gd name="T45" fmla="*/ 115 h 173"/>
                <a:gd name="T46" fmla="*/ 56 w 107"/>
                <a:gd name="T47" fmla="*/ 115 h 173"/>
                <a:gd name="T48" fmla="*/ 56 w 107"/>
                <a:gd name="T49" fmla="*/ 115 h 173"/>
                <a:gd name="T50" fmla="*/ 56 w 107"/>
                <a:gd name="T51" fmla="*/ 86 h 173"/>
                <a:gd name="T52" fmla="*/ 51 w 107"/>
                <a:gd name="T53" fmla="*/ 86 h 173"/>
                <a:gd name="T54" fmla="*/ 51 w 107"/>
                <a:gd name="T55" fmla="*/ 115 h 173"/>
                <a:gd name="T56" fmla="*/ 51 w 107"/>
                <a:gd name="T57" fmla="*/ 115 h 173"/>
                <a:gd name="T58" fmla="*/ 51 w 107"/>
                <a:gd name="T59" fmla="*/ 115 h 173"/>
                <a:gd name="T60" fmla="*/ 51 w 107"/>
                <a:gd name="T61" fmla="*/ 155 h 173"/>
                <a:gd name="T62" fmla="*/ 25 w 107"/>
                <a:gd name="T63" fmla="*/ 155 h 173"/>
                <a:gd name="T64" fmla="*/ 25 w 107"/>
                <a:gd name="T65" fmla="*/ 115 h 173"/>
                <a:gd name="T66" fmla="*/ 25 w 107"/>
                <a:gd name="T67" fmla="*/ 115 h 173"/>
                <a:gd name="T68" fmla="*/ 25 w 107"/>
                <a:gd name="T69" fmla="*/ 115 h 173"/>
                <a:gd name="T70" fmla="*/ 25 w 107"/>
                <a:gd name="T71" fmla="*/ 86 h 173"/>
                <a:gd name="T72" fmla="*/ 25 w 107"/>
                <a:gd name="T73" fmla="*/ 70 h 173"/>
                <a:gd name="T74" fmla="*/ 25 w 107"/>
                <a:gd name="T75" fmla="*/ 35 h 173"/>
                <a:gd name="T76" fmla="*/ 25 w 107"/>
                <a:gd name="T77" fmla="*/ 35 h 173"/>
                <a:gd name="T78" fmla="*/ 20 w 107"/>
                <a:gd name="T79" fmla="*/ 35 h 173"/>
                <a:gd name="T80" fmla="*/ 20 w 107"/>
                <a:gd name="T81" fmla="*/ 49 h 173"/>
                <a:gd name="T82" fmla="*/ 20 w 107"/>
                <a:gd name="T83" fmla="*/ 50 h 173"/>
                <a:gd name="T84" fmla="*/ 20 w 107"/>
                <a:gd name="T85" fmla="*/ 51 h 173"/>
                <a:gd name="T86" fmla="*/ 20 w 107"/>
                <a:gd name="T87" fmla="*/ 81 h 173"/>
                <a:gd name="T88" fmla="*/ 0 w 107"/>
                <a:gd name="T89" fmla="*/ 81 h 173"/>
                <a:gd name="T90" fmla="*/ 0 w 107"/>
                <a:gd name="T91" fmla="*/ 51 h 173"/>
                <a:gd name="T92" fmla="*/ 0 w 107"/>
                <a:gd name="T93" fmla="*/ 50 h 173"/>
                <a:gd name="T94" fmla="*/ 0 w 107"/>
                <a:gd name="T95" fmla="*/ 49 h 173"/>
                <a:gd name="T96" fmla="*/ 0 w 107"/>
                <a:gd name="T97" fmla="*/ 31 h 173"/>
                <a:gd name="T98" fmla="*/ 0 w 107"/>
                <a:gd name="T99" fmla="*/ 29 h 173"/>
                <a:gd name="T100" fmla="*/ 29 w 107"/>
                <a:gd name="T101" fmla="*/ 0 h 173"/>
                <a:gd name="T102" fmla="*/ 29 w 107"/>
                <a:gd name="T103" fmla="*/ 0 h 173"/>
                <a:gd name="T104" fmla="*/ 29 w 107"/>
                <a:gd name="T105" fmla="*/ 0 h 173"/>
                <a:gd name="T106" fmla="*/ 29 w 107"/>
                <a:gd name="T107" fmla="*/ 0 h 173"/>
                <a:gd name="T108" fmla="*/ 78 w 107"/>
                <a:gd name="T10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" h="173"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94" y="0"/>
                    <a:pt x="107" y="13"/>
                    <a:pt x="107" y="29"/>
                  </a:cubicBezTo>
                  <a:cubicBezTo>
                    <a:pt x="107" y="31"/>
                    <a:pt x="107" y="31"/>
                    <a:pt x="107" y="31"/>
                  </a:cubicBezTo>
                  <a:cubicBezTo>
                    <a:pt x="107" y="49"/>
                    <a:pt x="107" y="49"/>
                    <a:pt x="107" y="49"/>
                  </a:cubicBezTo>
                  <a:cubicBezTo>
                    <a:pt x="107" y="50"/>
                    <a:pt x="107" y="50"/>
                    <a:pt x="107" y="50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107" y="81"/>
                    <a:pt x="107" y="81"/>
                    <a:pt x="107" y="81"/>
                  </a:cubicBezTo>
                  <a:cubicBezTo>
                    <a:pt x="107" y="95"/>
                    <a:pt x="87" y="95"/>
                    <a:pt x="87" y="8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ubicBezTo>
                    <a:pt x="82" y="70"/>
                    <a:pt x="82" y="70"/>
                    <a:pt x="82" y="70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55"/>
                    <a:pt x="82" y="155"/>
                    <a:pt x="82" y="155"/>
                  </a:cubicBezTo>
                  <a:cubicBezTo>
                    <a:pt x="82" y="173"/>
                    <a:pt x="56" y="173"/>
                    <a:pt x="56" y="155"/>
                  </a:cubicBezTo>
                  <a:cubicBezTo>
                    <a:pt x="56" y="115"/>
                    <a:pt x="56" y="115"/>
                    <a:pt x="56" y="115"/>
                  </a:cubicBezTo>
                  <a:cubicBezTo>
                    <a:pt x="56" y="115"/>
                    <a:pt x="56" y="115"/>
                    <a:pt x="56" y="115"/>
                  </a:cubicBezTo>
                  <a:cubicBezTo>
                    <a:pt x="56" y="115"/>
                    <a:pt x="56" y="115"/>
                    <a:pt x="56" y="115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1" y="115"/>
                    <a:pt x="51" y="115"/>
                    <a:pt x="51" y="115"/>
                  </a:cubicBezTo>
                  <a:cubicBezTo>
                    <a:pt x="51" y="155"/>
                    <a:pt x="51" y="155"/>
                    <a:pt x="51" y="155"/>
                  </a:cubicBezTo>
                  <a:cubicBezTo>
                    <a:pt x="51" y="173"/>
                    <a:pt x="25" y="173"/>
                    <a:pt x="25" y="155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20" y="95"/>
                    <a:pt x="0" y="95"/>
                    <a:pt x="0" y="8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lnTo>
                    <a:pt x="7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34" name="Freeform 18"/>
            <p:cNvSpPr>
              <a:spLocks/>
            </p:cNvSpPr>
            <p:nvPr/>
          </p:nvSpPr>
          <p:spPr bwMode="auto">
            <a:xfrm>
              <a:off x="1955802" y="1282699"/>
              <a:ext cx="254000" cy="250825"/>
            </a:xfrm>
            <a:custGeom>
              <a:avLst/>
              <a:gdLst>
                <a:gd name="T0" fmla="*/ 87 w 103"/>
                <a:gd name="T1" fmla="*/ 0 h 101"/>
                <a:gd name="T2" fmla="*/ 16 w 103"/>
                <a:gd name="T3" fmla="*/ 0 h 101"/>
                <a:gd name="T4" fmla="*/ 0 w 103"/>
                <a:gd name="T5" fmla="*/ 15 h 101"/>
                <a:gd name="T6" fmla="*/ 0 w 103"/>
                <a:gd name="T7" fmla="*/ 62 h 101"/>
                <a:gd name="T8" fmla="*/ 16 w 103"/>
                <a:gd name="T9" fmla="*/ 77 h 101"/>
                <a:gd name="T10" fmla="*/ 65 w 103"/>
                <a:gd name="T11" fmla="*/ 77 h 101"/>
                <a:gd name="T12" fmla="*/ 83 w 103"/>
                <a:gd name="T13" fmla="*/ 101 h 101"/>
                <a:gd name="T14" fmla="*/ 80 w 103"/>
                <a:gd name="T15" fmla="*/ 77 h 101"/>
                <a:gd name="T16" fmla="*/ 87 w 103"/>
                <a:gd name="T17" fmla="*/ 77 h 101"/>
                <a:gd name="T18" fmla="*/ 103 w 103"/>
                <a:gd name="T19" fmla="*/ 62 h 101"/>
                <a:gd name="T20" fmla="*/ 103 w 103"/>
                <a:gd name="T21" fmla="*/ 15 h 101"/>
                <a:gd name="T22" fmla="*/ 87 w 103"/>
                <a:gd name="T2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3" h="101">
                  <a:moveTo>
                    <a:pt x="87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70"/>
                    <a:pt x="7" y="77"/>
                    <a:pt x="16" y="77"/>
                  </a:cubicBezTo>
                  <a:cubicBezTo>
                    <a:pt x="65" y="77"/>
                    <a:pt x="65" y="77"/>
                    <a:pt x="65" y="77"/>
                  </a:cubicBezTo>
                  <a:cubicBezTo>
                    <a:pt x="83" y="101"/>
                    <a:pt x="83" y="101"/>
                    <a:pt x="83" y="101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7" y="77"/>
                    <a:pt x="87" y="77"/>
                    <a:pt x="87" y="77"/>
                  </a:cubicBezTo>
                  <a:cubicBezTo>
                    <a:pt x="95" y="77"/>
                    <a:pt x="103" y="70"/>
                    <a:pt x="103" y="62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3" y="7"/>
                    <a:pt x="95" y="0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  <p:sp>
          <p:nvSpPr>
            <p:cNvPr id="35" name="Freeform 19"/>
            <p:cNvSpPr>
              <a:spLocks/>
            </p:cNvSpPr>
            <p:nvPr/>
          </p:nvSpPr>
          <p:spPr bwMode="auto">
            <a:xfrm>
              <a:off x="1895477" y="1235074"/>
              <a:ext cx="255588" cy="250825"/>
            </a:xfrm>
            <a:custGeom>
              <a:avLst/>
              <a:gdLst>
                <a:gd name="T0" fmla="*/ 16 w 103"/>
                <a:gd name="T1" fmla="*/ 0 h 101"/>
                <a:gd name="T2" fmla="*/ 87 w 103"/>
                <a:gd name="T3" fmla="*/ 0 h 101"/>
                <a:gd name="T4" fmla="*/ 103 w 103"/>
                <a:gd name="T5" fmla="*/ 16 h 101"/>
                <a:gd name="T6" fmla="*/ 103 w 103"/>
                <a:gd name="T7" fmla="*/ 62 h 101"/>
                <a:gd name="T8" fmla="*/ 87 w 103"/>
                <a:gd name="T9" fmla="*/ 78 h 101"/>
                <a:gd name="T10" fmla="*/ 37 w 103"/>
                <a:gd name="T11" fmla="*/ 78 h 101"/>
                <a:gd name="T12" fmla="*/ 20 w 103"/>
                <a:gd name="T13" fmla="*/ 101 h 101"/>
                <a:gd name="T14" fmla="*/ 23 w 103"/>
                <a:gd name="T15" fmla="*/ 78 h 101"/>
                <a:gd name="T16" fmla="*/ 16 w 103"/>
                <a:gd name="T17" fmla="*/ 78 h 101"/>
                <a:gd name="T18" fmla="*/ 0 w 103"/>
                <a:gd name="T19" fmla="*/ 62 h 101"/>
                <a:gd name="T20" fmla="*/ 0 w 103"/>
                <a:gd name="T21" fmla="*/ 16 h 101"/>
                <a:gd name="T22" fmla="*/ 16 w 103"/>
                <a:gd name="T2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3" h="101">
                  <a:moveTo>
                    <a:pt x="16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96" y="0"/>
                    <a:pt x="103" y="7"/>
                    <a:pt x="103" y="16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71"/>
                    <a:pt x="96" y="78"/>
                    <a:pt x="87" y="78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7" y="78"/>
                    <a:pt x="0" y="71"/>
                    <a:pt x="0" y="6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orbel" panose="020B0503020204020204" pitchFamily="34" charset="0"/>
              </a:endParaRPr>
            </a:p>
          </p:txBody>
        </p:sp>
      </p:grpSp>
      <p:sp>
        <p:nvSpPr>
          <p:cNvPr id="42" name="Freeform 12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263867" y="4966890"/>
            <a:ext cx="348659" cy="348659"/>
          </a:xfrm>
          <a:custGeom>
            <a:avLst/>
            <a:gdLst>
              <a:gd name="T0" fmla="*/ 80 w 2080"/>
              <a:gd name="T1" fmla="*/ 720 h 2080"/>
              <a:gd name="T2" fmla="*/ 1120 w 2080"/>
              <a:gd name="T3" fmla="*/ 800 h 2080"/>
              <a:gd name="T4" fmla="*/ 1080 w 2080"/>
              <a:gd name="T5" fmla="*/ 1000 h 2080"/>
              <a:gd name="T6" fmla="*/ 0 w 2080"/>
              <a:gd name="T7" fmla="*/ 960 h 2080"/>
              <a:gd name="T8" fmla="*/ 0 w 2080"/>
              <a:gd name="T9" fmla="*/ 1840 h 2080"/>
              <a:gd name="T10" fmla="*/ 1080 w 2080"/>
              <a:gd name="T11" fmla="*/ 1800 h 2080"/>
              <a:gd name="T12" fmla="*/ 1120 w 2080"/>
              <a:gd name="T13" fmla="*/ 2000 h 2080"/>
              <a:gd name="T14" fmla="*/ 80 w 2080"/>
              <a:gd name="T15" fmla="*/ 2080 h 2080"/>
              <a:gd name="T16" fmla="*/ 0 w 2080"/>
              <a:gd name="T17" fmla="*/ 1840 h 2080"/>
              <a:gd name="T18" fmla="*/ 40 w 2080"/>
              <a:gd name="T19" fmla="*/ 1440 h 2080"/>
              <a:gd name="T20" fmla="*/ 1120 w 2080"/>
              <a:gd name="T21" fmla="*/ 1480 h 2080"/>
              <a:gd name="T22" fmla="*/ 1080 w 2080"/>
              <a:gd name="T23" fmla="*/ 1720 h 2080"/>
              <a:gd name="T24" fmla="*/ 0 w 2080"/>
              <a:gd name="T25" fmla="*/ 1680 h 2080"/>
              <a:gd name="T26" fmla="*/ 0 w 2080"/>
              <a:gd name="T27" fmla="*/ 1120 h 2080"/>
              <a:gd name="T28" fmla="*/ 1080 w 2080"/>
              <a:gd name="T29" fmla="*/ 1080 h 2080"/>
              <a:gd name="T30" fmla="*/ 1120 w 2080"/>
              <a:gd name="T31" fmla="*/ 1320 h 2080"/>
              <a:gd name="T32" fmla="*/ 40 w 2080"/>
              <a:gd name="T33" fmla="*/ 1360 h 2080"/>
              <a:gd name="T34" fmla="*/ 0 w 2080"/>
              <a:gd name="T35" fmla="*/ 1120 h 2080"/>
              <a:gd name="T36" fmla="*/ 2080 w 2080"/>
              <a:gd name="T37" fmla="*/ 1440 h 2080"/>
              <a:gd name="T38" fmla="*/ 1200 w 2080"/>
              <a:gd name="T39" fmla="*/ 640 h 2080"/>
              <a:gd name="T40" fmla="*/ 400 w 2080"/>
              <a:gd name="T41" fmla="*/ 0 h 2080"/>
              <a:gd name="T42" fmla="*/ 1280 w 2080"/>
              <a:gd name="T43" fmla="*/ 560 h 2080"/>
              <a:gd name="T44" fmla="*/ 1600 w 2080"/>
              <a:gd name="T45" fmla="*/ 240 h 2080"/>
              <a:gd name="T46" fmla="*/ 1280 w 2080"/>
              <a:gd name="T47" fmla="*/ 560 h 2080"/>
              <a:gd name="T48" fmla="*/ 2000 w 2080"/>
              <a:gd name="T49" fmla="*/ 560 h 2080"/>
              <a:gd name="T50" fmla="*/ 1680 w 2080"/>
              <a:gd name="T51" fmla="*/ 240 h 2080"/>
              <a:gd name="T52" fmla="*/ 2000 w 2080"/>
              <a:gd name="T53" fmla="*/ 640 h 2080"/>
              <a:gd name="T54" fmla="*/ 1680 w 2080"/>
              <a:gd name="T55" fmla="*/ 960 h 2080"/>
              <a:gd name="T56" fmla="*/ 2000 w 2080"/>
              <a:gd name="T57" fmla="*/ 640 h 2080"/>
              <a:gd name="T58" fmla="*/ 1280 w 2080"/>
              <a:gd name="T59" fmla="*/ 640 h 2080"/>
              <a:gd name="T60" fmla="*/ 1600 w 2080"/>
              <a:gd name="T61" fmla="*/ 960 h 2080"/>
              <a:gd name="T62" fmla="*/ 2000 w 2080"/>
              <a:gd name="T63" fmla="*/ 1040 h 2080"/>
              <a:gd name="T64" fmla="*/ 1680 w 2080"/>
              <a:gd name="T65" fmla="*/ 1360 h 2080"/>
              <a:gd name="T66" fmla="*/ 2000 w 2080"/>
              <a:gd name="T67" fmla="*/ 1040 h 2080"/>
              <a:gd name="T68" fmla="*/ 1280 w 2080"/>
              <a:gd name="T69" fmla="*/ 1040 h 2080"/>
              <a:gd name="T70" fmla="*/ 1600 w 2080"/>
              <a:gd name="T71" fmla="*/ 1360 h 2080"/>
              <a:gd name="T72" fmla="*/ 800 w 2080"/>
              <a:gd name="T73" fmla="*/ 560 h 2080"/>
              <a:gd name="T74" fmla="*/ 480 w 2080"/>
              <a:gd name="T75" fmla="*/ 240 h 2080"/>
              <a:gd name="T76" fmla="*/ 800 w 2080"/>
              <a:gd name="T77" fmla="*/ 560 h 2080"/>
              <a:gd name="T78" fmla="*/ 880 w 2080"/>
              <a:gd name="T79" fmla="*/ 560 h 2080"/>
              <a:gd name="T80" fmla="*/ 1200 w 2080"/>
              <a:gd name="T81" fmla="*/ 24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80" h="2080">
                <a:moveTo>
                  <a:pt x="0" y="800"/>
                </a:moveTo>
                <a:cubicBezTo>
                  <a:pt x="80" y="720"/>
                  <a:pt x="80" y="720"/>
                  <a:pt x="80" y="720"/>
                </a:cubicBezTo>
                <a:cubicBezTo>
                  <a:pt x="1040" y="720"/>
                  <a:pt x="1040" y="720"/>
                  <a:pt x="1040" y="720"/>
                </a:cubicBezTo>
                <a:cubicBezTo>
                  <a:pt x="1120" y="800"/>
                  <a:pt x="1120" y="800"/>
                  <a:pt x="1120" y="800"/>
                </a:cubicBezTo>
                <a:cubicBezTo>
                  <a:pt x="1120" y="960"/>
                  <a:pt x="1120" y="960"/>
                  <a:pt x="1120" y="960"/>
                </a:cubicBezTo>
                <a:cubicBezTo>
                  <a:pt x="1080" y="1000"/>
                  <a:pt x="1080" y="1000"/>
                  <a:pt x="1080" y="1000"/>
                </a:cubicBezTo>
                <a:cubicBezTo>
                  <a:pt x="40" y="1000"/>
                  <a:pt x="40" y="1000"/>
                  <a:pt x="40" y="1000"/>
                </a:cubicBezTo>
                <a:cubicBezTo>
                  <a:pt x="0" y="960"/>
                  <a:pt x="0" y="960"/>
                  <a:pt x="0" y="960"/>
                </a:cubicBezTo>
                <a:lnTo>
                  <a:pt x="0" y="800"/>
                </a:lnTo>
                <a:close/>
                <a:moveTo>
                  <a:pt x="0" y="1840"/>
                </a:moveTo>
                <a:cubicBezTo>
                  <a:pt x="40" y="1800"/>
                  <a:pt x="40" y="1800"/>
                  <a:pt x="40" y="1800"/>
                </a:cubicBezTo>
                <a:cubicBezTo>
                  <a:pt x="1080" y="1800"/>
                  <a:pt x="1080" y="1800"/>
                  <a:pt x="1080" y="1800"/>
                </a:cubicBezTo>
                <a:cubicBezTo>
                  <a:pt x="1120" y="1840"/>
                  <a:pt x="1120" y="1840"/>
                  <a:pt x="1120" y="1840"/>
                </a:cubicBezTo>
                <a:cubicBezTo>
                  <a:pt x="1120" y="2000"/>
                  <a:pt x="1120" y="2000"/>
                  <a:pt x="1120" y="2000"/>
                </a:cubicBezTo>
                <a:cubicBezTo>
                  <a:pt x="1040" y="2080"/>
                  <a:pt x="1040" y="2080"/>
                  <a:pt x="1040" y="2080"/>
                </a:cubicBezTo>
                <a:cubicBezTo>
                  <a:pt x="80" y="2080"/>
                  <a:pt x="80" y="2080"/>
                  <a:pt x="80" y="2080"/>
                </a:cubicBezTo>
                <a:cubicBezTo>
                  <a:pt x="0" y="2000"/>
                  <a:pt x="0" y="2000"/>
                  <a:pt x="0" y="2000"/>
                </a:cubicBezTo>
                <a:lnTo>
                  <a:pt x="0" y="1840"/>
                </a:lnTo>
                <a:close/>
                <a:moveTo>
                  <a:pt x="0" y="1480"/>
                </a:moveTo>
                <a:cubicBezTo>
                  <a:pt x="40" y="1440"/>
                  <a:pt x="40" y="1440"/>
                  <a:pt x="40" y="1440"/>
                </a:cubicBezTo>
                <a:cubicBezTo>
                  <a:pt x="1080" y="1440"/>
                  <a:pt x="1080" y="1440"/>
                  <a:pt x="1080" y="1440"/>
                </a:cubicBezTo>
                <a:cubicBezTo>
                  <a:pt x="1120" y="1480"/>
                  <a:pt x="1120" y="1480"/>
                  <a:pt x="1120" y="1480"/>
                </a:cubicBezTo>
                <a:cubicBezTo>
                  <a:pt x="1120" y="1680"/>
                  <a:pt x="1120" y="1680"/>
                  <a:pt x="1120" y="1680"/>
                </a:cubicBezTo>
                <a:cubicBezTo>
                  <a:pt x="1080" y="1720"/>
                  <a:pt x="1080" y="1720"/>
                  <a:pt x="1080" y="1720"/>
                </a:cubicBezTo>
                <a:cubicBezTo>
                  <a:pt x="40" y="1720"/>
                  <a:pt x="40" y="1720"/>
                  <a:pt x="40" y="1720"/>
                </a:cubicBezTo>
                <a:cubicBezTo>
                  <a:pt x="0" y="1680"/>
                  <a:pt x="0" y="1680"/>
                  <a:pt x="0" y="1680"/>
                </a:cubicBezTo>
                <a:lnTo>
                  <a:pt x="0" y="1480"/>
                </a:lnTo>
                <a:close/>
                <a:moveTo>
                  <a:pt x="0" y="1120"/>
                </a:moveTo>
                <a:cubicBezTo>
                  <a:pt x="40" y="1080"/>
                  <a:pt x="40" y="1080"/>
                  <a:pt x="40" y="1080"/>
                </a:cubicBezTo>
                <a:cubicBezTo>
                  <a:pt x="1080" y="1080"/>
                  <a:pt x="1080" y="1080"/>
                  <a:pt x="1080" y="1080"/>
                </a:cubicBezTo>
                <a:cubicBezTo>
                  <a:pt x="1120" y="1120"/>
                  <a:pt x="1120" y="1120"/>
                  <a:pt x="1120" y="1120"/>
                </a:cubicBezTo>
                <a:cubicBezTo>
                  <a:pt x="1120" y="1320"/>
                  <a:pt x="1120" y="1320"/>
                  <a:pt x="1120" y="1320"/>
                </a:cubicBezTo>
                <a:cubicBezTo>
                  <a:pt x="1080" y="1360"/>
                  <a:pt x="1080" y="1360"/>
                  <a:pt x="1080" y="1360"/>
                </a:cubicBezTo>
                <a:cubicBezTo>
                  <a:pt x="40" y="1360"/>
                  <a:pt x="40" y="1360"/>
                  <a:pt x="40" y="1360"/>
                </a:cubicBezTo>
                <a:cubicBezTo>
                  <a:pt x="0" y="1320"/>
                  <a:pt x="0" y="1320"/>
                  <a:pt x="0" y="1320"/>
                </a:cubicBezTo>
                <a:lnTo>
                  <a:pt x="0" y="1120"/>
                </a:lnTo>
                <a:close/>
                <a:moveTo>
                  <a:pt x="2080" y="0"/>
                </a:moveTo>
                <a:cubicBezTo>
                  <a:pt x="2080" y="1440"/>
                  <a:pt x="2080" y="1440"/>
                  <a:pt x="2080" y="1440"/>
                </a:cubicBezTo>
                <a:cubicBezTo>
                  <a:pt x="1200" y="1440"/>
                  <a:pt x="1200" y="1440"/>
                  <a:pt x="1200" y="1440"/>
                </a:cubicBezTo>
                <a:cubicBezTo>
                  <a:pt x="1200" y="1173"/>
                  <a:pt x="1200" y="907"/>
                  <a:pt x="1200" y="640"/>
                </a:cubicBezTo>
                <a:cubicBezTo>
                  <a:pt x="933" y="640"/>
                  <a:pt x="667" y="640"/>
                  <a:pt x="400" y="640"/>
                </a:cubicBezTo>
                <a:cubicBezTo>
                  <a:pt x="400" y="0"/>
                  <a:pt x="400" y="0"/>
                  <a:pt x="400" y="0"/>
                </a:cubicBezTo>
                <a:lnTo>
                  <a:pt x="2080" y="0"/>
                </a:lnTo>
                <a:close/>
                <a:moveTo>
                  <a:pt x="1280" y="560"/>
                </a:moveTo>
                <a:cubicBezTo>
                  <a:pt x="1600" y="560"/>
                  <a:pt x="1600" y="560"/>
                  <a:pt x="1600" y="560"/>
                </a:cubicBezTo>
                <a:cubicBezTo>
                  <a:pt x="1600" y="240"/>
                  <a:pt x="1600" y="240"/>
                  <a:pt x="1600" y="240"/>
                </a:cubicBezTo>
                <a:cubicBezTo>
                  <a:pt x="1280" y="240"/>
                  <a:pt x="1280" y="240"/>
                  <a:pt x="1280" y="240"/>
                </a:cubicBezTo>
                <a:lnTo>
                  <a:pt x="1280" y="560"/>
                </a:lnTo>
                <a:close/>
                <a:moveTo>
                  <a:pt x="1680" y="560"/>
                </a:moveTo>
                <a:cubicBezTo>
                  <a:pt x="2000" y="560"/>
                  <a:pt x="2000" y="560"/>
                  <a:pt x="2000" y="560"/>
                </a:cubicBezTo>
                <a:cubicBezTo>
                  <a:pt x="2000" y="240"/>
                  <a:pt x="2000" y="240"/>
                  <a:pt x="2000" y="240"/>
                </a:cubicBezTo>
                <a:cubicBezTo>
                  <a:pt x="1680" y="240"/>
                  <a:pt x="1680" y="240"/>
                  <a:pt x="1680" y="240"/>
                </a:cubicBezTo>
                <a:lnTo>
                  <a:pt x="1680" y="560"/>
                </a:lnTo>
                <a:close/>
                <a:moveTo>
                  <a:pt x="2000" y="640"/>
                </a:moveTo>
                <a:cubicBezTo>
                  <a:pt x="1680" y="640"/>
                  <a:pt x="1680" y="640"/>
                  <a:pt x="1680" y="640"/>
                </a:cubicBezTo>
                <a:cubicBezTo>
                  <a:pt x="1680" y="960"/>
                  <a:pt x="1680" y="960"/>
                  <a:pt x="1680" y="960"/>
                </a:cubicBezTo>
                <a:cubicBezTo>
                  <a:pt x="2000" y="960"/>
                  <a:pt x="2000" y="960"/>
                  <a:pt x="2000" y="960"/>
                </a:cubicBezTo>
                <a:lnTo>
                  <a:pt x="2000" y="640"/>
                </a:lnTo>
                <a:close/>
                <a:moveTo>
                  <a:pt x="1600" y="640"/>
                </a:moveTo>
                <a:cubicBezTo>
                  <a:pt x="1280" y="640"/>
                  <a:pt x="1280" y="640"/>
                  <a:pt x="1280" y="640"/>
                </a:cubicBezTo>
                <a:cubicBezTo>
                  <a:pt x="1280" y="961"/>
                  <a:pt x="1280" y="961"/>
                  <a:pt x="1280" y="961"/>
                </a:cubicBezTo>
                <a:cubicBezTo>
                  <a:pt x="1600" y="960"/>
                  <a:pt x="1600" y="960"/>
                  <a:pt x="1600" y="960"/>
                </a:cubicBezTo>
                <a:lnTo>
                  <a:pt x="1600" y="640"/>
                </a:lnTo>
                <a:close/>
                <a:moveTo>
                  <a:pt x="2000" y="1040"/>
                </a:moveTo>
                <a:cubicBezTo>
                  <a:pt x="1680" y="1040"/>
                  <a:pt x="1680" y="1040"/>
                  <a:pt x="1680" y="1040"/>
                </a:cubicBezTo>
                <a:cubicBezTo>
                  <a:pt x="1680" y="1360"/>
                  <a:pt x="1680" y="1360"/>
                  <a:pt x="1680" y="1360"/>
                </a:cubicBezTo>
                <a:cubicBezTo>
                  <a:pt x="2000" y="1360"/>
                  <a:pt x="2000" y="1360"/>
                  <a:pt x="2000" y="1360"/>
                </a:cubicBezTo>
                <a:lnTo>
                  <a:pt x="2000" y="1040"/>
                </a:lnTo>
                <a:close/>
                <a:moveTo>
                  <a:pt x="1600" y="1040"/>
                </a:moveTo>
                <a:cubicBezTo>
                  <a:pt x="1280" y="1040"/>
                  <a:pt x="1280" y="1040"/>
                  <a:pt x="1280" y="1040"/>
                </a:cubicBezTo>
                <a:cubicBezTo>
                  <a:pt x="1280" y="1360"/>
                  <a:pt x="1280" y="1360"/>
                  <a:pt x="1280" y="1360"/>
                </a:cubicBezTo>
                <a:cubicBezTo>
                  <a:pt x="1600" y="1360"/>
                  <a:pt x="1600" y="1360"/>
                  <a:pt x="1600" y="1360"/>
                </a:cubicBezTo>
                <a:lnTo>
                  <a:pt x="1600" y="1040"/>
                </a:lnTo>
                <a:close/>
                <a:moveTo>
                  <a:pt x="800" y="560"/>
                </a:moveTo>
                <a:cubicBezTo>
                  <a:pt x="800" y="240"/>
                  <a:pt x="800" y="240"/>
                  <a:pt x="800" y="240"/>
                </a:cubicBezTo>
                <a:cubicBezTo>
                  <a:pt x="480" y="240"/>
                  <a:pt x="480" y="240"/>
                  <a:pt x="480" y="240"/>
                </a:cubicBezTo>
                <a:cubicBezTo>
                  <a:pt x="480" y="560"/>
                  <a:pt x="480" y="560"/>
                  <a:pt x="480" y="560"/>
                </a:cubicBezTo>
                <a:lnTo>
                  <a:pt x="800" y="560"/>
                </a:lnTo>
                <a:close/>
                <a:moveTo>
                  <a:pt x="880" y="240"/>
                </a:moveTo>
                <a:cubicBezTo>
                  <a:pt x="880" y="560"/>
                  <a:pt x="880" y="560"/>
                  <a:pt x="880" y="560"/>
                </a:cubicBezTo>
                <a:cubicBezTo>
                  <a:pt x="1200" y="560"/>
                  <a:pt x="1200" y="560"/>
                  <a:pt x="1200" y="560"/>
                </a:cubicBezTo>
                <a:cubicBezTo>
                  <a:pt x="1200" y="240"/>
                  <a:pt x="1200" y="240"/>
                  <a:pt x="1200" y="240"/>
                </a:cubicBezTo>
                <a:lnTo>
                  <a:pt x="880" y="24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 dirty="0">
              <a:latin typeface="Corbel" panose="020B0503020204020204" pitchFamily="34" charset="0"/>
            </a:endParaRPr>
          </a:p>
        </p:txBody>
      </p:sp>
      <p:sp>
        <p:nvSpPr>
          <p:cNvPr id="23" name="Rectángulo 22"/>
          <p:cNvSpPr/>
          <p:nvPr/>
        </p:nvSpPr>
        <p:spPr bwMode="gray">
          <a:xfrm>
            <a:off x="6723292" y="6340308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93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rgbClr val="008442"/>
          </a:solidFill>
        </p:spPr>
        <p:txBody>
          <a:bodyPr/>
          <a:lstStyle/>
          <a:p>
            <a:pPr>
              <a:spcAft>
                <a:spcPts val="400"/>
              </a:spcAft>
            </a:pPr>
            <a:r>
              <a:rPr lang="es-419" sz="4400" dirty="0" smtClean="0">
                <a:latin typeface="Corbel" panose="020B0503020204020204" pitchFamily="34" charset="0"/>
              </a:rPr>
              <a:t>¡Muchas gracias!</a:t>
            </a:r>
            <a:endParaRPr lang="es-PE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3566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343990" y="527406"/>
            <a:ext cx="8545185" cy="422643"/>
          </a:xfrm>
        </p:spPr>
        <p:txBody>
          <a:bodyPr/>
          <a:lstStyle/>
          <a:p>
            <a:r>
              <a:rPr lang="es-PE" sz="2800" dirty="0" smtClean="0">
                <a:latin typeface="Corbel" panose="020B0503020204020204" pitchFamily="34" charset="0"/>
              </a:rPr>
              <a:t>Composición de la muestra</a:t>
            </a:r>
            <a:endParaRPr lang="es-PE" sz="2800" dirty="0">
              <a:latin typeface="Corbel" panose="020B0503020204020204" pitchFamily="34" charset="0"/>
            </a:endParaRPr>
          </a:p>
        </p:txBody>
      </p:sp>
      <p:graphicFrame>
        <p:nvGraphicFramePr>
          <p:cNvPr id="56" name="Tabla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222171"/>
              </p:ext>
            </p:extLst>
          </p:nvPr>
        </p:nvGraphicFramePr>
        <p:xfrm>
          <a:off x="4585248" y="2262544"/>
          <a:ext cx="7248942" cy="3289697"/>
        </p:xfrm>
        <a:graphic>
          <a:graphicData uri="http://schemas.openxmlformats.org/drawingml/2006/table">
            <a:tbl>
              <a:tblPr/>
              <a:tblGrid>
                <a:gridCol w="2835943">
                  <a:extLst>
                    <a:ext uri="{9D8B030D-6E8A-4147-A177-3AD203B41FA5}">
                      <a16:colId xmlns:a16="http://schemas.microsoft.com/office/drawing/2014/main" xmlns="" val="7275612"/>
                    </a:ext>
                  </a:extLst>
                </a:gridCol>
                <a:gridCol w="1189712">
                  <a:extLst>
                    <a:ext uri="{9D8B030D-6E8A-4147-A177-3AD203B41FA5}">
                      <a16:colId xmlns:a16="http://schemas.microsoft.com/office/drawing/2014/main" xmlns="" val="3736120154"/>
                    </a:ext>
                  </a:extLst>
                </a:gridCol>
                <a:gridCol w="32232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68723"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s-PE" sz="18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Corbel" panose="020B0503020204020204" pitchFamily="34" charset="0"/>
                          <a:ea typeface="+mn-ea"/>
                          <a:cs typeface="+mn-cs"/>
                        </a:rPr>
                        <a:t>Zona</a:t>
                      </a:r>
                      <a:endParaRPr lang="es-PE" sz="1800" b="0" i="0" u="none" strike="noStrike" kern="1200" dirty="0">
                        <a:solidFill>
                          <a:schemeClr val="bg1"/>
                        </a:solidFill>
                        <a:effectLst/>
                        <a:latin typeface="Corbel" panose="020B050302020402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orbel" panose="020B0503020204020204" pitchFamily="34" charset="0"/>
                        </a:rPr>
                        <a:t>Muestra</a:t>
                      </a:r>
                      <a:endParaRPr lang="es-PE" sz="1800" b="0" i="0" u="none" strike="noStrike" dirty="0">
                        <a:solidFill>
                          <a:schemeClr val="bg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orbel" panose="020B0503020204020204" pitchFamily="34" charset="0"/>
                        </a:rPr>
                        <a:t>Ciudades</a:t>
                      </a:r>
                      <a:endParaRPr lang="es-PE" sz="1800" b="0" i="0" u="none" strike="noStrike" dirty="0">
                        <a:solidFill>
                          <a:schemeClr val="bg1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2366143"/>
                  </a:ext>
                </a:extLst>
              </a:tr>
              <a:tr h="323712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osta Nort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9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PE" sz="1800" dirty="0">
                          <a:solidFill>
                            <a:srgbClr val="000000"/>
                          </a:solidFill>
                          <a:latin typeface="Corbel" panose="020B0503020204020204" pitchFamily="34" charset="0"/>
                        </a:rPr>
                        <a:t>Piura, Chiclayo, Chimbote, Trujillo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35230223"/>
                  </a:ext>
                </a:extLst>
              </a:tr>
              <a:tr h="323712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osta Centro (inc. Lima </a:t>
                      </a:r>
                      <a:r>
                        <a:rPr lang="es-P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Metropolitana)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608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Lima, Callao, Cañet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6375735"/>
                  </a:ext>
                </a:extLst>
              </a:tr>
              <a:tr h="323712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osta Sur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0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Arequipa, Ica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86724052"/>
                  </a:ext>
                </a:extLst>
              </a:tr>
              <a:tr h="323712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Sierra Nort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8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ajamarca,</a:t>
                      </a:r>
                      <a:r>
                        <a:rPr lang="es-PE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 Huaraz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01857001"/>
                  </a:ext>
                </a:extLst>
              </a:tr>
              <a:tr h="323712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Sierra Centro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3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Huancayo,</a:t>
                      </a:r>
                      <a:r>
                        <a:rPr lang="es-PE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 Huánuco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98784751"/>
                  </a:ext>
                </a:extLst>
              </a:tr>
              <a:tr h="323712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Sierra Sur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05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Cusco,</a:t>
                      </a:r>
                      <a:r>
                        <a:rPr lang="es-PE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 Juliaca, Ayacucho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84964779"/>
                  </a:ext>
                </a:extLst>
              </a:tr>
              <a:tr h="323712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Oriente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224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Iquitos,</a:t>
                      </a:r>
                      <a:r>
                        <a:rPr lang="es-PE" sz="18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 Pucallpa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56165855"/>
                  </a:ext>
                </a:extLst>
              </a:tr>
              <a:tr h="323712">
                <a:tc>
                  <a:txBody>
                    <a:bodyPr/>
                    <a:lstStyle/>
                    <a:p>
                      <a:pPr algn="l" rtl="0" fontAlgn="ctr"/>
                      <a:r>
                        <a:rPr lang="es-PE" sz="1800" b="0" i="0" u="none" strike="noStrike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Total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PE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orbel" panose="020B0503020204020204" pitchFamily="34" charset="0"/>
                        </a:rPr>
                        <a:t>1857</a:t>
                      </a:r>
                      <a:endParaRPr lang="es-PE" sz="18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s-PE" sz="2000" b="0" i="0" u="none" strike="noStrike" dirty="0">
                        <a:solidFill>
                          <a:srgbClr val="000000"/>
                        </a:solidFill>
                        <a:effectLst/>
                        <a:latin typeface="Corbel" panose="020B0503020204020204" pitchFamily="34" charset="0"/>
                      </a:endParaRPr>
                    </a:p>
                  </a:txBody>
                  <a:tcPr marL="6350" marR="6350" marT="6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96190638"/>
                  </a:ext>
                </a:extLst>
              </a:tr>
            </a:tbl>
          </a:graphicData>
        </a:graphic>
      </p:graphicFrame>
      <p:sp>
        <p:nvSpPr>
          <p:cNvPr id="57" name="AutoShape 3"/>
          <p:cNvSpPr>
            <a:spLocks noChangeAspect="1" noChangeArrowheads="1" noTextEdit="1"/>
          </p:cNvSpPr>
          <p:nvPr/>
        </p:nvSpPr>
        <p:spPr bwMode="auto">
          <a:xfrm>
            <a:off x="540233" y="1075094"/>
            <a:ext cx="3743325" cy="549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s-P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PE">
              <a:latin typeface="Corbel" panose="020B0503020204020204" pitchFamily="34" charset="0"/>
            </a:endParaRPr>
          </a:p>
        </p:txBody>
      </p:sp>
      <p:grpSp>
        <p:nvGrpSpPr>
          <p:cNvPr id="58" name="Agrupar 1"/>
          <p:cNvGrpSpPr/>
          <p:nvPr/>
        </p:nvGrpSpPr>
        <p:grpSpPr>
          <a:xfrm>
            <a:off x="1564171" y="3542069"/>
            <a:ext cx="1314450" cy="1735137"/>
            <a:chOff x="4732338" y="3519488"/>
            <a:chExt cx="1314450" cy="1735137"/>
          </a:xfrm>
          <a:solidFill>
            <a:schemeClr val="accent2"/>
          </a:solidFill>
        </p:grpSpPr>
        <p:sp>
          <p:nvSpPr>
            <p:cNvPr id="59" name="Freeform 5"/>
            <p:cNvSpPr>
              <a:spLocks/>
            </p:cNvSpPr>
            <p:nvPr/>
          </p:nvSpPr>
          <p:spPr bwMode="auto">
            <a:xfrm>
              <a:off x="5067300" y="3898900"/>
              <a:ext cx="763588" cy="434975"/>
            </a:xfrm>
            <a:custGeom>
              <a:avLst/>
              <a:gdLst>
                <a:gd name="T0" fmla="*/ 477 w 481"/>
                <a:gd name="T1" fmla="*/ 169 h 274"/>
                <a:gd name="T2" fmla="*/ 457 w 481"/>
                <a:gd name="T3" fmla="*/ 162 h 274"/>
                <a:gd name="T4" fmla="*/ 455 w 481"/>
                <a:gd name="T5" fmla="*/ 151 h 274"/>
                <a:gd name="T6" fmla="*/ 444 w 481"/>
                <a:gd name="T7" fmla="*/ 125 h 274"/>
                <a:gd name="T8" fmla="*/ 446 w 481"/>
                <a:gd name="T9" fmla="*/ 92 h 274"/>
                <a:gd name="T10" fmla="*/ 433 w 481"/>
                <a:gd name="T11" fmla="*/ 66 h 274"/>
                <a:gd name="T12" fmla="*/ 431 w 481"/>
                <a:gd name="T13" fmla="*/ 44 h 274"/>
                <a:gd name="T14" fmla="*/ 420 w 481"/>
                <a:gd name="T15" fmla="*/ 9 h 274"/>
                <a:gd name="T16" fmla="*/ 369 w 481"/>
                <a:gd name="T17" fmla="*/ 20 h 274"/>
                <a:gd name="T18" fmla="*/ 308 w 481"/>
                <a:gd name="T19" fmla="*/ 24 h 274"/>
                <a:gd name="T20" fmla="*/ 266 w 481"/>
                <a:gd name="T21" fmla="*/ 42 h 274"/>
                <a:gd name="T22" fmla="*/ 233 w 481"/>
                <a:gd name="T23" fmla="*/ 48 h 274"/>
                <a:gd name="T24" fmla="*/ 196 w 481"/>
                <a:gd name="T25" fmla="*/ 48 h 274"/>
                <a:gd name="T26" fmla="*/ 180 w 481"/>
                <a:gd name="T27" fmla="*/ 55 h 274"/>
                <a:gd name="T28" fmla="*/ 174 w 481"/>
                <a:gd name="T29" fmla="*/ 66 h 274"/>
                <a:gd name="T30" fmla="*/ 172 w 481"/>
                <a:gd name="T31" fmla="*/ 86 h 274"/>
                <a:gd name="T32" fmla="*/ 180 w 481"/>
                <a:gd name="T33" fmla="*/ 132 h 274"/>
                <a:gd name="T34" fmla="*/ 143 w 481"/>
                <a:gd name="T35" fmla="*/ 140 h 274"/>
                <a:gd name="T36" fmla="*/ 97 w 481"/>
                <a:gd name="T37" fmla="*/ 134 h 274"/>
                <a:gd name="T38" fmla="*/ 90 w 481"/>
                <a:gd name="T39" fmla="*/ 129 h 274"/>
                <a:gd name="T40" fmla="*/ 86 w 481"/>
                <a:gd name="T41" fmla="*/ 123 h 274"/>
                <a:gd name="T42" fmla="*/ 68 w 481"/>
                <a:gd name="T43" fmla="*/ 116 h 274"/>
                <a:gd name="T44" fmla="*/ 33 w 481"/>
                <a:gd name="T45" fmla="*/ 118 h 274"/>
                <a:gd name="T46" fmla="*/ 13 w 481"/>
                <a:gd name="T47" fmla="*/ 143 h 274"/>
                <a:gd name="T48" fmla="*/ 7 w 481"/>
                <a:gd name="T49" fmla="*/ 162 h 274"/>
                <a:gd name="T50" fmla="*/ 18 w 481"/>
                <a:gd name="T51" fmla="*/ 189 h 274"/>
                <a:gd name="T52" fmla="*/ 22 w 481"/>
                <a:gd name="T53" fmla="*/ 206 h 274"/>
                <a:gd name="T54" fmla="*/ 33 w 481"/>
                <a:gd name="T55" fmla="*/ 224 h 274"/>
                <a:gd name="T56" fmla="*/ 35 w 481"/>
                <a:gd name="T57" fmla="*/ 252 h 274"/>
                <a:gd name="T58" fmla="*/ 44 w 481"/>
                <a:gd name="T59" fmla="*/ 261 h 274"/>
                <a:gd name="T60" fmla="*/ 49 w 481"/>
                <a:gd name="T61" fmla="*/ 272 h 274"/>
                <a:gd name="T62" fmla="*/ 64 w 481"/>
                <a:gd name="T63" fmla="*/ 274 h 274"/>
                <a:gd name="T64" fmla="*/ 90 w 481"/>
                <a:gd name="T65" fmla="*/ 261 h 274"/>
                <a:gd name="T66" fmla="*/ 88 w 481"/>
                <a:gd name="T67" fmla="*/ 239 h 274"/>
                <a:gd name="T68" fmla="*/ 90 w 481"/>
                <a:gd name="T69" fmla="*/ 237 h 274"/>
                <a:gd name="T70" fmla="*/ 95 w 481"/>
                <a:gd name="T71" fmla="*/ 239 h 274"/>
                <a:gd name="T72" fmla="*/ 112 w 481"/>
                <a:gd name="T73" fmla="*/ 239 h 274"/>
                <a:gd name="T74" fmla="*/ 132 w 481"/>
                <a:gd name="T75" fmla="*/ 226 h 274"/>
                <a:gd name="T76" fmla="*/ 136 w 481"/>
                <a:gd name="T77" fmla="*/ 233 h 274"/>
                <a:gd name="T78" fmla="*/ 141 w 481"/>
                <a:gd name="T79" fmla="*/ 235 h 274"/>
                <a:gd name="T80" fmla="*/ 226 w 481"/>
                <a:gd name="T81" fmla="*/ 222 h 274"/>
                <a:gd name="T82" fmla="*/ 268 w 481"/>
                <a:gd name="T83" fmla="*/ 215 h 274"/>
                <a:gd name="T84" fmla="*/ 305 w 481"/>
                <a:gd name="T85" fmla="*/ 204 h 274"/>
                <a:gd name="T86" fmla="*/ 314 w 481"/>
                <a:gd name="T87" fmla="*/ 195 h 274"/>
                <a:gd name="T88" fmla="*/ 323 w 481"/>
                <a:gd name="T89" fmla="*/ 195 h 274"/>
                <a:gd name="T90" fmla="*/ 343 w 481"/>
                <a:gd name="T91" fmla="*/ 206 h 274"/>
                <a:gd name="T92" fmla="*/ 367 w 481"/>
                <a:gd name="T93" fmla="*/ 222 h 274"/>
                <a:gd name="T94" fmla="*/ 426 w 481"/>
                <a:gd name="T95" fmla="*/ 222 h 274"/>
                <a:gd name="T96" fmla="*/ 450 w 481"/>
                <a:gd name="T97" fmla="*/ 200 h 274"/>
                <a:gd name="T98" fmla="*/ 470 w 481"/>
                <a:gd name="T99" fmla="*/ 184 h 274"/>
                <a:gd name="T100" fmla="*/ 481 w 481"/>
                <a:gd name="T101" fmla="*/ 178 h 274"/>
                <a:gd name="T102" fmla="*/ 479 w 481"/>
                <a:gd name="T103" fmla="*/ 17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81" h="274">
                  <a:moveTo>
                    <a:pt x="479" y="173"/>
                  </a:moveTo>
                  <a:lnTo>
                    <a:pt x="479" y="171"/>
                  </a:lnTo>
                  <a:lnTo>
                    <a:pt x="477" y="169"/>
                  </a:lnTo>
                  <a:lnTo>
                    <a:pt x="472" y="169"/>
                  </a:lnTo>
                  <a:lnTo>
                    <a:pt x="459" y="162"/>
                  </a:lnTo>
                  <a:lnTo>
                    <a:pt x="457" y="162"/>
                  </a:lnTo>
                  <a:lnTo>
                    <a:pt x="457" y="160"/>
                  </a:lnTo>
                  <a:lnTo>
                    <a:pt x="457" y="160"/>
                  </a:lnTo>
                  <a:lnTo>
                    <a:pt x="455" y="151"/>
                  </a:lnTo>
                  <a:lnTo>
                    <a:pt x="450" y="143"/>
                  </a:lnTo>
                  <a:lnTo>
                    <a:pt x="448" y="140"/>
                  </a:lnTo>
                  <a:lnTo>
                    <a:pt x="444" y="125"/>
                  </a:lnTo>
                  <a:lnTo>
                    <a:pt x="442" y="123"/>
                  </a:lnTo>
                  <a:lnTo>
                    <a:pt x="442" y="121"/>
                  </a:lnTo>
                  <a:lnTo>
                    <a:pt x="446" y="92"/>
                  </a:lnTo>
                  <a:lnTo>
                    <a:pt x="444" y="88"/>
                  </a:lnTo>
                  <a:lnTo>
                    <a:pt x="442" y="83"/>
                  </a:lnTo>
                  <a:lnTo>
                    <a:pt x="433" y="66"/>
                  </a:lnTo>
                  <a:lnTo>
                    <a:pt x="431" y="57"/>
                  </a:lnTo>
                  <a:lnTo>
                    <a:pt x="431" y="50"/>
                  </a:lnTo>
                  <a:lnTo>
                    <a:pt x="431" y="44"/>
                  </a:lnTo>
                  <a:lnTo>
                    <a:pt x="431" y="37"/>
                  </a:lnTo>
                  <a:lnTo>
                    <a:pt x="422" y="18"/>
                  </a:lnTo>
                  <a:lnTo>
                    <a:pt x="420" y="9"/>
                  </a:lnTo>
                  <a:lnTo>
                    <a:pt x="417" y="7"/>
                  </a:lnTo>
                  <a:lnTo>
                    <a:pt x="411" y="0"/>
                  </a:lnTo>
                  <a:lnTo>
                    <a:pt x="369" y="20"/>
                  </a:lnTo>
                  <a:lnTo>
                    <a:pt x="330" y="26"/>
                  </a:lnTo>
                  <a:lnTo>
                    <a:pt x="330" y="26"/>
                  </a:lnTo>
                  <a:lnTo>
                    <a:pt x="308" y="24"/>
                  </a:lnTo>
                  <a:lnTo>
                    <a:pt x="303" y="24"/>
                  </a:lnTo>
                  <a:lnTo>
                    <a:pt x="301" y="24"/>
                  </a:lnTo>
                  <a:lnTo>
                    <a:pt x="266" y="42"/>
                  </a:lnTo>
                  <a:lnTo>
                    <a:pt x="259" y="44"/>
                  </a:lnTo>
                  <a:lnTo>
                    <a:pt x="246" y="46"/>
                  </a:lnTo>
                  <a:lnTo>
                    <a:pt x="233" y="48"/>
                  </a:lnTo>
                  <a:lnTo>
                    <a:pt x="211" y="46"/>
                  </a:lnTo>
                  <a:lnTo>
                    <a:pt x="198" y="48"/>
                  </a:lnTo>
                  <a:lnTo>
                    <a:pt x="196" y="48"/>
                  </a:lnTo>
                  <a:lnTo>
                    <a:pt x="189" y="50"/>
                  </a:lnTo>
                  <a:lnTo>
                    <a:pt x="187" y="53"/>
                  </a:lnTo>
                  <a:lnTo>
                    <a:pt x="180" y="55"/>
                  </a:lnTo>
                  <a:lnTo>
                    <a:pt x="178" y="59"/>
                  </a:lnTo>
                  <a:lnTo>
                    <a:pt x="176" y="61"/>
                  </a:lnTo>
                  <a:lnTo>
                    <a:pt x="174" y="66"/>
                  </a:lnTo>
                  <a:lnTo>
                    <a:pt x="172" y="77"/>
                  </a:lnTo>
                  <a:lnTo>
                    <a:pt x="172" y="81"/>
                  </a:lnTo>
                  <a:lnTo>
                    <a:pt x="172" y="86"/>
                  </a:lnTo>
                  <a:lnTo>
                    <a:pt x="178" y="118"/>
                  </a:lnTo>
                  <a:lnTo>
                    <a:pt x="182" y="129"/>
                  </a:lnTo>
                  <a:lnTo>
                    <a:pt x="180" y="132"/>
                  </a:lnTo>
                  <a:lnTo>
                    <a:pt x="176" y="136"/>
                  </a:lnTo>
                  <a:lnTo>
                    <a:pt x="150" y="147"/>
                  </a:lnTo>
                  <a:lnTo>
                    <a:pt x="143" y="140"/>
                  </a:lnTo>
                  <a:lnTo>
                    <a:pt x="134" y="138"/>
                  </a:lnTo>
                  <a:lnTo>
                    <a:pt x="97" y="136"/>
                  </a:lnTo>
                  <a:lnTo>
                    <a:pt x="97" y="134"/>
                  </a:lnTo>
                  <a:lnTo>
                    <a:pt x="95" y="134"/>
                  </a:lnTo>
                  <a:lnTo>
                    <a:pt x="92" y="134"/>
                  </a:lnTo>
                  <a:lnTo>
                    <a:pt x="90" y="129"/>
                  </a:lnTo>
                  <a:lnTo>
                    <a:pt x="90" y="127"/>
                  </a:lnTo>
                  <a:lnTo>
                    <a:pt x="88" y="123"/>
                  </a:lnTo>
                  <a:lnTo>
                    <a:pt x="86" y="123"/>
                  </a:lnTo>
                  <a:lnTo>
                    <a:pt x="81" y="121"/>
                  </a:lnTo>
                  <a:lnTo>
                    <a:pt x="75" y="116"/>
                  </a:lnTo>
                  <a:lnTo>
                    <a:pt x="68" y="116"/>
                  </a:lnTo>
                  <a:lnTo>
                    <a:pt x="44" y="116"/>
                  </a:lnTo>
                  <a:lnTo>
                    <a:pt x="35" y="118"/>
                  </a:lnTo>
                  <a:lnTo>
                    <a:pt x="33" y="118"/>
                  </a:lnTo>
                  <a:lnTo>
                    <a:pt x="31" y="121"/>
                  </a:lnTo>
                  <a:lnTo>
                    <a:pt x="18" y="138"/>
                  </a:lnTo>
                  <a:lnTo>
                    <a:pt x="13" y="143"/>
                  </a:lnTo>
                  <a:lnTo>
                    <a:pt x="0" y="149"/>
                  </a:lnTo>
                  <a:lnTo>
                    <a:pt x="5" y="158"/>
                  </a:lnTo>
                  <a:lnTo>
                    <a:pt x="7" y="162"/>
                  </a:lnTo>
                  <a:lnTo>
                    <a:pt x="11" y="176"/>
                  </a:lnTo>
                  <a:lnTo>
                    <a:pt x="11" y="180"/>
                  </a:lnTo>
                  <a:lnTo>
                    <a:pt x="18" y="189"/>
                  </a:lnTo>
                  <a:lnTo>
                    <a:pt x="18" y="191"/>
                  </a:lnTo>
                  <a:lnTo>
                    <a:pt x="20" y="195"/>
                  </a:lnTo>
                  <a:lnTo>
                    <a:pt x="22" y="206"/>
                  </a:lnTo>
                  <a:lnTo>
                    <a:pt x="24" y="213"/>
                  </a:lnTo>
                  <a:lnTo>
                    <a:pt x="31" y="219"/>
                  </a:lnTo>
                  <a:lnTo>
                    <a:pt x="33" y="224"/>
                  </a:lnTo>
                  <a:lnTo>
                    <a:pt x="35" y="239"/>
                  </a:lnTo>
                  <a:lnTo>
                    <a:pt x="33" y="250"/>
                  </a:lnTo>
                  <a:lnTo>
                    <a:pt x="35" y="252"/>
                  </a:lnTo>
                  <a:lnTo>
                    <a:pt x="35" y="255"/>
                  </a:lnTo>
                  <a:lnTo>
                    <a:pt x="35" y="257"/>
                  </a:lnTo>
                  <a:lnTo>
                    <a:pt x="44" y="261"/>
                  </a:lnTo>
                  <a:lnTo>
                    <a:pt x="49" y="263"/>
                  </a:lnTo>
                  <a:lnTo>
                    <a:pt x="49" y="268"/>
                  </a:lnTo>
                  <a:lnTo>
                    <a:pt x="49" y="272"/>
                  </a:lnTo>
                  <a:lnTo>
                    <a:pt x="49" y="274"/>
                  </a:lnTo>
                  <a:lnTo>
                    <a:pt x="60" y="274"/>
                  </a:lnTo>
                  <a:lnTo>
                    <a:pt x="64" y="274"/>
                  </a:lnTo>
                  <a:lnTo>
                    <a:pt x="88" y="272"/>
                  </a:lnTo>
                  <a:lnTo>
                    <a:pt x="90" y="263"/>
                  </a:lnTo>
                  <a:lnTo>
                    <a:pt x="90" y="261"/>
                  </a:lnTo>
                  <a:lnTo>
                    <a:pt x="88" y="255"/>
                  </a:lnTo>
                  <a:lnTo>
                    <a:pt x="88" y="244"/>
                  </a:lnTo>
                  <a:lnTo>
                    <a:pt x="88" y="239"/>
                  </a:lnTo>
                  <a:lnTo>
                    <a:pt x="88" y="237"/>
                  </a:lnTo>
                  <a:lnTo>
                    <a:pt x="90" y="237"/>
                  </a:lnTo>
                  <a:lnTo>
                    <a:pt x="90" y="237"/>
                  </a:lnTo>
                  <a:lnTo>
                    <a:pt x="92" y="237"/>
                  </a:lnTo>
                  <a:lnTo>
                    <a:pt x="92" y="239"/>
                  </a:lnTo>
                  <a:lnTo>
                    <a:pt x="95" y="239"/>
                  </a:lnTo>
                  <a:lnTo>
                    <a:pt x="103" y="241"/>
                  </a:lnTo>
                  <a:lnTo>
                    <a:pt x="108" y="241"/>
                  </a:lnTo>
                  <a:lnTo>
                    <a:pt x="112" y="239"/>
                  </a:lnTo>
                  <a:lnTo>
                    <a:pt x="117" y="237"/>
                  </a:lnTo>
                  <a:lnTo>
                    <a:pt x="130" y="228"/>
                  </a:lnTo>
                  <a:lnTo>
                    <a:pt x="132" y="226"/>
                  </a:lnTo>
                  <a:lnTo>
                    <a:pt x="134" y="228"/>
                  </a:lnTo>
                  <a:lnTo>
                    <a:pt x="134" y="228"/>
                  </a:lnTo>
                  <a:lnTo>
                    <a:pt x="136" y="233"/>
                  </a:lnTo>
                  <a:lnTo>
                    <a:pt x="139" y="233"/>
                  </a:lnTo>
                  <a:lnTo>
                    <a:pt x="139" y="235"/>
                  </a:lnTo>
                  <a:lnTo>
                    <a:pt x="141" y="235"/>
                  </a:lnTo>
                  <a:lnTo>
                    <a:pt x="141" y="235"/>
                  </a:lnTo>
                  <a:lnTo>
                    <a:pt x="187" y="235"/>
                  </a:lnTo>
                  <a:lnTo>
                    <a:pt x="226" y="222"/>
                  </a:lnTo>
                  <a:lnTo>
                    <a:pt x="244" y="217"/>
                  </a:lnTo>
                  <a:lnTo>
                    <a:pt x="262" y="215"/>
                  </a:lnTo>
                  <a:lnTo>
                    <a:pt x="268" y="215"/>
                  </a:lnTo>
                  <a:lnTo>
                    <a:pt x="275" y="213"/>
                  </a:lnTo>
                  <a:lnTo>
                    <a:pt x="303" y="204"/>
                  </a:lnTo>
                  <a:lnTo>
                    <a:pt x="305" y="204"/>
                  </a:lnTo>
                  <a:lnTo>
                    <a:pt x="308" y="200"/>
                  </a:lnTo>
                  <a:lnTo>
                    <a:pt x="310" y="200"/>
                  </a:lnTo>
                  <a:lnTo>
                    <a:pt x="314" y="195"/>
                  </a:lnTo>
                  <a:lnTo>
                    <a:pt x="319" y="195"/>
                  </a:lnTo>
                  <a:lnTo>
                    <a:pt x="321" y="195"/>
                  </a:lnTo>
                  <a:lnTo>
                    <a:pt x="323" y="195"/>
                  </a:lnTo>
                  <a:lnTo>
                    <a:pt x="325" y="195"/>
                  </a:lnTo>
                  <a:lnTo>
                    <a:pt x="334" y="200"/>
                  </a:lnTo>
                  <a:lnTo>
                    <a:pt x="343" y="206"/>
                  </a:lnTo>
                  <a:lnTo>
                    <a:pt x="356" y="217"/>
                  </a:lnTo>
                  <a:lnTo>
                    <a:pt x="360" y="219"/>
                  </a:lnTo>
                  <a:lnTo>
                    <a:pt x="367" y="222"/>
                  </a:lnTo>
                  <a:lnTo>
                    <a:pt x="384" y="228"/>
                  </a:lnTo>
                  <a:lnTo>
                    <a:pt x="417" y="226"/>
                  </a:lnTo>
                  <a:lnTo>
                    <a:pt x="426" y="222"/>
                  </a:lnTo>
                  <a:lnTo>
                    <a:pt x="435" y="213"/>
                  </a:lnTo>
                  <a:lnTo>
                    <a:pt x="446" y="202"/>
                  </a:lnTo>
                  <a:lnTo>
                    <a:pt x="450" y="200"/>
                  </a:lnTo>
                  <a:lnTo>
                    <a:pt x="457" y="191"/>
                  </a:lnTo>
                  <a:lnTo>
                    <a:pt x="461" y="189"/>
                  </a:lnTo>
                  <a:lnTo>
                    <a:pt x="470" y="184"/>
                  </a:lnTo>
                  <a:lnTo>
                    <a:pt x="477" y="182"/>
                  </a:lnTo>
                  <a:lnTo>
                    <a:pt x="479" y="180"/>
                  </a:lnTo>
                  <a:lnTo>
                    <a:pt x="481" y="178"/>
                  </a:lnTo>
                  <a:lnTo>
                    <a:pt x="481" y="176"/>
                  </a:lnTo>
                  <a:lnTo>
                    <a:pt x="479" y="173"/>
                  </a:lnTo>
                  <a:lnTo>
                    <a:pt x="479" y="173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67" name="Freeform 6"/>
            <p:cNvSpPr>
              <a:spLocks/>
            </p:cNvSpPr>
            <p:nvPr/>
          </p:nvSpPr>
          <p:spPr bwMode="auto">
            <a:xfrm>
              <a:off x="5145088" y="4208463"/>
              <a:ext cx="901700" cy="603250"/>
            </a:xfrm>
            <a:custGeom>
              <a:avLst/>
              <a:gdLst>
                <a:gd name="T0" fmla="*/ 568 w 568"/>
                <a:gd name="T1" fmla="*/ 121 h 380"/>
                <a:gd name="T2" fmla="*/ 553 w 568"/>
                <a:gd name="T3" fmla="*/ 92 h 380"/>
                <a:gd name="T4" fmla="*/ 537 w 568"/>
                <a:gd name="T5" fmla="*/ 27 h 380"/>
                <a:gd name="T6" fmla="*/ 516 w 568"/>
                <a:gd name="T7" fmla="*/ 18 h 380"/>
                <a:gd name="T8" fmla="*/ 483 w 568"/>
                <a:gd name="T9" fmla="*/ 51 h 380"/>
                <a:gd name="T10" fmla="*/ 456 w 568"/>
                <a:gd name="T11" fmla="*/ 55 h 380"/>
                <a:gd name="T12" fmla="*/ 430 w 568"/>
                <a:gd name="T13" fmla="*/ 62 h 380"/>
                <a:gd name="T14" fmla="*/ 404 w 568"/>
                <a:gd name="T15" fmla="*/ 66 h 380"/>
                <a:gd name="T16" fmla="*/ 375 w 568"/>
                <a:gd name="T17" fmla="*/ 60 h 380"/>
                <a:gd name="T18" fmla="*/ 311 w 568"/>
                <a:gd name="T19" fmla="*/ 24 h 380"/>
                <a:gd name="T20" fmla="*/ 272 w 568"/>
                <a:gd name="T21" fmla="*/ 0 h 380"/>
                <a:gd name="T22" fmla="*/ 254 w 568"/>
                <a:gd name="T23" fmla="*/ 9 h 380"/>
                <a:gd name="T24" fmla="*/ 138 w 568"/>
                <a:gd name="T25" fmla="*/ 40 h 380"/>
                <a:gd name="T26" fmla="*/ 85 w 568"/>
                <a:gd name="T27" fmla="*/ 33 h 380"/>
                <a:gd name="T28" fmla="*/ 59 w 568"/>
                <a:gd name="T29" fmla="*/ 46 h 380"/>
                <a:gd name="T30" fmla="*/ 41 w 568"/>
                <a:gd name="T31" fmla="*/ 42 h 380"/>
                <a:gd name="T32" fmla="*/ 41 w 568"/>
                <a:gd name="T33" fmla="*/ 68 h 380"/>
                <a:gd name="T34" fmla="*/ 2 w 568"/>
                <a:gd name="T35" fmla="*/ 112 h 380"/>
                <a:gd name="T36" fmla="*/ 24 w 568"/>
                <a:gd name="T37" fmla="*/ 161 h 380"/>
                <a:gd name="T38" fmla="*/ 37 w 568"/>
                <a:gd name="T39" fmla="*/ 171 h 380"/>
                <a:gd name="T40" fmla="*/ 50 w 568"/>
                <a:gd name="T41" fmla="*/ 176 h 380"/>
                <a:gd name="T42" fmla="*/ 63 w 568"/>
                <a:gd name="T43" fmla="*/ 213 h 380"/>
                <a:gd name="T44" fmla="*/ 76 w 568"/>
                <a:gd name="T45" fmla="*/ 231 h 380"/>
                <a:gd name="T46" fmla="*/ 103 w 568"/>
                <a:gd name="T47" fmla="*/ 248 h 380"/>
                <a:gd name="T48" fmla="*/ 129 w 568"/>
                <a:gd name="T49" fmla="*/ 257 h 380"/>
                <a:gd name="T50" fmla="*/ 155 w 568"/>
                <a:gd name="T51" fmla="*/ 283 h 380"/>
                <a:gd name="T52" fmla="*/ 175 w 568"/>
                <a:gd name="T53" fmla="*/ 347 h 380"/>
                <a:gd name="T54" fmla="*/ 173 w 568"/>
                <a:gd name="T55" fmla="*/ 369 h 380"/>
                <a:gd name="T56" fmla="*/ 193 w 568"/>
                <a:gd name="T57" fmla="*/ 371 h 380"/>
                <a:gd name="T58" fmla="*/ 202 w 568"/>
                <a:gd name="T59" fmla="*/ 360 h 380"/>
                <a:gd name="T60" fmla="*/ 228 w 568"/>
                <a:gd name="T61" fmla="*/ 338 h 380"/>
                <a:gd name="T62" fmla="*/ 252 w 568"/>
                <a:gd name="T63" fmla="*/ 321 h 380"/>
                <a:gd name="T64" fmla="*/ 248 w 568"/>
                <a:gd name="T65" fmla="*/ 308 h 380"/>
                <a:gd name="T66" fmla="*/ 254 w 568"/>
                <a:gd name="T67" fmla="*/ 303 h 380"/>
                <a:gd name="T68" fmla="*/ 265 w 568"/>
                <a:gd name="T69" fmla="*/ 281 h 380"/>
                <a:gd name="T70" fmla="*/ 256 w 568"/>
                <a:gd name="T71" fmla="*/ 266 h 380"/>
                <a:gd name="T72" fmla="*/ 261 w 568"/>
                <a:gd name="T73" fmla="*/ 253 h 380"/>
                <a:gd name="T74" fmla="*/ 267 w 568"/>
                <a:gd name="T75" fmla="*/ 246 h 380"/>
                <a:gd name="T76" fmla="*/ 278 w 568"/>
                <a:gd name="T77" fmla="*/ 257 h 380"/>
                <a:gd name="T78" fmla="*/ 303 w 568"/>
                <a:gd name="T79" fmla="*/ 255 h 380"/>
                <a:gd name="T80" fmla="*/ 327 w 568"/>
                <a:gd name="T81" fmla="*/ 255 h 380"/>
                <a:gd name="T82" fmla="*/ 333 w 568"/>
                <a:gd name="T83" fmla="*/ 248 h 380"/>
                <a:gd name="T84" fmla="*/ 353 w 568"/>
                <a:gd name="T85" fmla="*/ 250 h 380"/>
                <a:gd name="T86" fmla="*/ 390 w 568"/>
                <a:gd name="T87" fmla="*/ 279 h 380"/>
                <a:gd name="T88" fmla="*/ 397 w 568"/>
                <a:gd name="T89" fmla="*/ 290 h 380"/>
                <a:gd name="T90" fmla="*/ 412 w 568"/>
                <a:gd name="T91" fmla="*/ 301 h 380"/>
                <a:gd name="T92" fmla="*/ 432 w 568"/>
                <a:gd name="T93" fmla="*/ 310 h 380"/>
                <a:gd name="T94" fmla="*/ 447 w 568"/>
                <a:gd name="T95" fmla="*/ 301 h 380"/>
                <a:gd name="T96" fmla="*/ 461 w 568"/>
                <a:gd name="T97" fmla="*/ 303 h 380"/>
                <a:gd name="T98" fmla="*/ 524 w 568"/>
                <a:gd name="T99" fmla="*/ 292 h 380"/>
                <a:gd name="T100" fmla="*/ 535 w 568"/>
                <a:gd name="T101" fmla="*/ 277 h 380"/>
                <a:gd name="T102" fmla="*/ 537 w 568"/>
                <a:gd name="T103" fmla="*/ 253 h 380"/>
                <a:gd name="T104" fmla="*/ 557 w 568"/>
                <a:gd name="T105" fmla="*/ 200 h 380"/>
                <a:gd name="T106" fmla="*/ 540 w 568"/>
                <a:gd name="T107" fmla="*/ 189 h 380"/>
                <a:gd name="T108" fmla="*/ 522 w 568"/>
                <a:gd name="T109" fmla="*/ 185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68" h="380">
                  <a:moveTo>
                    <a:pt x="524" y="180"/>
                  </a:moveTo>
                  <a:lnTo>
                    <a:pt x="531" y="176"/>
                  </a:lnTo>
                  <a:lnTo>
                    <a:pt x="548" y="161"/>
                  </a:lnTo>
                  <a:lnTo>
                    <a:pt x="557" y="145"/>
                  </a:lnTo>
                  <a:lnTo>
                    <a:pt x="566" y="128"/>
                  </a:lnTo>
                  <a:lnTo>
                    <a:pt x="568" y="121"/>
                  </a:lnTo>
                  <a:lnTo>
                    <a:pt x="564" y="119"/>
                  </a:lnTo>
                  <a:lnTo>
                    <a:pt x="559" y="114"/>
                  </a:lnTo>
                  <a:lnTo>
                    <a:pt x="557" y="108"/>
                  </a:lnTo>
                  <a:lnTo>
                    <a:pt x="553" y="97"/>
                  </a:lnTo>
                  <a:lnTo>
                    <a:pt x="553" y="95"/>
                  </a:lnTo>
                  <a:lnTo>
                    <a:pt x="553" y="92"/>
                  </a:lnTo>
                  <a:lnTo>
                    <a:pt x="557" y="68"/>
                  </a:lnTo>
                  <a:lnTo>
                    <a:pt x="557" y="62"/>
                  </a:lnTo>
                  <a:lnTo>
                    <a:pt x="557" y="60"/>
                  </a:lnTo>
                  <a:lnTo>
                    <a:pt x="551" y="46"/>
                  </a:lnTo>
                  <a:lnTo>
                    <a:pt x="544" y="35"/>
                  </a:lnTo>
                  <a:lnTo>
                    <a:pt x="537" y="27"/>
                  </a:lnTo>
                  <a:lnTo>
                    <a:pt x="533" y="24"/>
                  </a:lnTo>
                  <a:lnTo>
                    <a:pt x="531" y="22"/>
                  </a:lnTo>
                  <a:lnTo>
                    <a:pt x="529" y="20"/>
                  </a:lnTo>
                  <a:lnTo>
                    <a:pt x="526" y="20"/>
                  </a:lnTo>
                  <a:lnTo>
                    <a:pt x="518" y="18"/>
                  </a:lnTo>
                  <a:lnTo>
                    <a:pt x="516" y="18"/>
                  </a:lnTo>
                  <a:lnTo>
                    <a:pt x="511" y="16"/>
                  </a:lnTo>
                  <a:lnTo>
                    <a:pt x="507" y="13"/>
                  </a:lnTo>
                  <a:lnTo>
                    <a:pt x="505" y="16"/>
                  </a:lnTo>
                  <a:lnTo>
                    <a:pt x="498" y="29"/>
                  </a:lnTo>
                  <a:lnTo>
                    <a:pt x="485" y="49"/>
                  </a:lnTo>
                  <a:lnTo>
                    <a:pt x="483" y="51"/>
                  </a:lnTo>
                  <a:lnTo>
                    <a:pt x="478" y="53"/>
                  </a:lnTo>
                  <a:lnTo>
                    <a:pt x="476" y="55"/>
                  </a:lnTo>
                  <a:lnTo>
                    <a:pt x="474" y="55"/>
                  </a:lnTo>
                  <a:lnTo>
                    <a:pt x="467" y="55"/>
                  </a:lnTo>
                  <a:lnTo>
                    <a:pt x="461" y="55"/>
                  </a:lnTo>
                  <a:lnTo>
                    <a:pt x="456" y="55"/>
                  </a:lnTo>
                  <a:lnTo>
                    <a:pt x="454" y="55"/>
                  </a:lnTo>
                  <a:lnTo>
                    <a:pt x="447" y="57"/>
                  </a:lnTo>
                  <a:lnTo>
                    <a:pt x="445" y="57"/>
                  </a:lnTo>
                  <a:lnTo>
                    <a:pt x="443" y="57"/>
                  </a:lnTo>
                  <a:lnTo>
                    <a:pt x="432" y="60"/>
                  </a:lnTo>
                  <a:lnTo>
                    <a:pt x="430" y="62"/>
                  </a:lnTo>
                  <a:lnTo>
                    <a:pt x="425" y="62"/>
                  </a:lnTo>
                  <a:lnTo>
                    <a:pt x="421" y="64"/>
                  </a:lnTo>
                  <a:lnTo>
                    <a:pt x="412" y="62"/>
                  </a:lnTo>
                  <a:lnTo>
                    <a:pt x="408" y="64"/>
                  </a:lnTo>
                  <a:lnTo>
                    <a:pt x="406" y="64"/>
                  </a:lnTo>
                  <a:lnTo>
                    <a:pt x="404" y="66"/>
                  </a:lnTo>
                  <a:lnTo>
                    <a:pt x="399" y="68"/>
                  </a:lnTo>
                  <a:lnTo>
                    <a:pt x="390" y="71"/>
                  </a:lnTo>
                  <a:lnTo>
                    <a:pt x="386" y="71"/>
                  </a:lnTo>
                  <a:lnTo>
                    <a:pt x="382" y="68"/>
                  </a:lnTo>
                  <a:lnTo>
                    <a:pt x="379" y="66"/>
                  </a:lnTo>
                  <a:lnTo>
                    <a:pt x="375" y="60"/>
                  </a:lnTo>
                  <a:lnTo>
                    <a:pt x="373" y="57"/>
                  </a:lnTo>
                  <a:lnTo>
                    <a:pt x="373" y="49"/>
                  </a:lnTo>
                  <a:lnTo>
                    <a:pt x="368" y="31"/>
                  </a:lnTo>
                  <a:lnTo>
                    <a:pt x="335" y="33"/>
                  </a:lnTo>
                  <a:lnTo>
                    <a:pt x="318" y="27"/>
                  </a:lnTo>
                  <a:lnTo>
                    <a:pt x="311" y="24"/>
                  </a:lnTo>
                  <a:lnTo>
                    <a:pt x="307" y="22"/>
                  </a:lnTo>
                  <a:lnTo>
                    <a:pt x="294" y="11"/>
                  </a:lnTo>
                  <a:lnTo>
                    <a:pt x="285" y="5"/>
                  </a:lnTo>
                  <a:lnTo>
                    <a:pt x="276" y="0"/>
                  </a:lnTo>
                  <a:lnTo>
                    <a:pt x="274" y="0"/>
                  </a:lnTo>
                  <a:lnTo>
                    <a:pt x="272" y="0"/>
                  </a:lnTo>
                  <a:lnTo>
                    <a:pt x="270" y="0"/>
                  </a:lnTo>
                  <a:lnTo>
                    <a:pt x="265" y="0"/>
                  </a:lnTo>
                  <a:lnTo>
                    <a:pt x="261" y="5"/>
                  </a:lnTo>
                  <a:lnTo>
                    <a:pt x="259" y="5"/>
                  </a:lnTo>
                  <a:lnTo>
                    <a:pt x="256" y="9"/>
                  </a:lnTo>
                  <a:lnTo>
                    <a:pt x="254" y="9"/>
                  </a:lnTo>
                  <a:lnTo>
                    <a:pt x="226" y="18"/>
                  </a:lnTo>
                  <a:lnTo>
                    <a:pt x="219" y="20"/>
                  </a:lnTo>
                  <a:lnTo>
                    <a:pt x="213" y="20"/>
                  </a:lnTo>
                  <a:lnTo>
                    <a:pt x="195" y="22"/>
                  </a:lnTo>
                  <a:lnTo>
                    <a:pt x="177" y="27"/>
                  </a:lnTo>
                  <a:lnTo>
                    <a:pt x="138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0" y="40"/>
                  </a:lnTo>
                  <a:lnTo>
                    <a:pt x="90" y="38"/>
                  </a:lnTo>
                  <a:lnTo>
                    <a:pt x="87" y="38"/>
                  </a:lnTo>
                  <a:lnTo>
                    <a:pt x="85" y="33"/>
                  </a:lnTo>
                  <a:lnTo>
                    <a:pt x="85" y="33"/>
                  </a:lnTo>
                  <a:lnTo>
                    <a:pt x="83" y="31"/>
                  </a:lnTo>
                  <a:lnTo>
                    <a:pt x="81" y="33"/>
                  </a:lnTo>
                  <a:lnTo>
                    <a:pt x="68" y="42"/>
                  </a:lnTo>
                  <a:lnTo>
                    <a:pt x="63" y="44"/>
                  </a:lnTo>
                  <a:lnTo>
                    <a:pt x="59" y="46"/>
                  </a:lnTo>
                  <a:lnTo>
                    <a:pt x="54" y="46"/>
                  </a:lnTo>
                  <a:lnTo>
                    <a:pt x="46" y="44"/>
                  </a:lnTo>
                  <a:lnTo>
                    <a:pt x="43" y="44"/>
                  </a:lnTo>
                  <a:lnTo>
                    <a:pt x="43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39" y="42"/>
                  </a:lnTo>
                  <a:lnTo>
                    <a:pt x="39" y="44"/>
                  </a:lnTo>
                  <a:lnTo>
                    <a:pt x="39" y="49"/>
                  </a:lnTo>
                  <a:lnTo>
                    <a:pt x="39" y="60"/>
                  </a:lnTo>
                  <a:lnTo>
                    <a:pt x="41" y="66"/>
                  </a:lnTo>
                  <a:lnTo>
                    <a:pt x="41" y="68"/>
                  </a:lnTo>
                  <a:lnTo>
                    <a:pt x="39" y="77"/>
                  </a:lnTo>
                  <a:lnTo>
                    <a:pt x="15" y="79"/>
                  </a:lnTo>
                  <a:lnTo>
                    <a:pt x="11" y="79"/>
                  </a:lnTo>
                  <a:lnTo>
                    <a:pt x="0" y="79"/>
                  </a:lnTo>
                  <a:lnTo>
                    <a:pt x="0" y="92"/>
                  </a:lnTo>
                  <a:lnTo>
                    <a:pt x="2" y="112"/>
                  </a:lnTo>
                  <a:lnTo>
                    <a:pt x="2" y="119"/>
                  </a:lnTo>
                  <a:lnTo>
                    <a:pt x="13" y="130"/>
                  </a:lnTo>
                  <a:lnTo>
                    <a:pt x="15" y="132"/>
                  </a:lnTo>
                  <a:lnTo>
                    <a:pt x="15" y="136"/>
                  </a:lnTo>
                  <a:lnTo>
                    <a:pt x="22" y="156"/>
                  </a:lnTo>
                  <a:lnTo>
                    <a:pt x="24" y="161"/>
                  </a:lnTo>
                  <a:lnTo>
                    <a:pt x="26" y="163"/>
                  </a:lnTo>
                  <a:lnTo>
                    <a:pt x="28" y="165"/>
                  </a:lnTo>
                  <a:lnTo>
                    <a:pt x="32" y="167"/>
                  </a:lnTo>
                  <a:lnTo>
                    <a:pt x="35" y="169"/>
                  </a:lnTo>
                  <a:lnTo>
                    <a:pt x="37" y="171"/>
                  </a:lnTo>
                  <a:lnTo>
                    <a:pt x="37" y="171"/>
                  </a:lnTo>
                  <a:lnTo>
                    <a:pt x="41" y="169"/>
                  </a:lnTo>
                  <a:lnTo>
                    <a:pt x="43" y="169"/>
                  </a:lnTo>
                  <a:lnTo>
                    <a:pt x="48" y="169"/>
                  </a:lnTo>
                  <a:lnTo>
                    <a:pt x="48" y="171"/>
                  </a:lnTo>
                  <a:lnTo>
                    <a:pt x="50" y="174"/>
                  </a:lnTo>
                  <a:lnTo>
                    <a:pt x="50" y="176"/>
                  </a:lnTo>
                  <a:lnTo>
                    <a:pt x="50" y="185"/>
                  </a:lnTo>
                  <a:lnTo>
                    <a:pt x="52" y="193"/>
                  </a:lnTo>
                  <a:lnTo>
                    <a:pt x="52" y="200"/>
                  </a:lnTo>
                  <a:lnTo>
                    <a:pt x="52" y="202"/>
                  </a:lnTo>
                  <a:lnTo>
                    <a:pt x="54" y="204"/>
                  </a:lnTo>
                  <a:lnTo>
                    <a:pt x="63" y="213"/>
                  </a:lnTo>
                  <a:lnTo>
                    <a:pt x="63" y="215"/>
                  </a:lnTo>
                  <a:lnTo>
                    <a:pt x="65" y="222"/>
                  </a:lnTo>
                  <a:lnTo>
                    <a:pt x="65" y="224"/>
                  </a:lnTo>
                  <a:lnTo>
                    <a:pt x="68" y="224"/>
                  </a:lnTo>
                  <a:lnTo>
                    <a:pt x="72" y="226"/>
                  </a:lnTo>
                  <a:lnTo>
                    <a:pt x="76" y="231"/>
                  </a:lnTo>
                  <a:lnTo>
                    <a:pt x="85" y="248"/>
                  </a:lnTo>
                  <a:lnTo>
                    <a:pt x="85" y="250"/>
                  </a:lnTo>
                  <a:lnTo>
                    <a:pt x="90" y="253"/>
                  </a:lnTo>
                  <a:lnTo>
                    <a:pt x="90" y="253"/>
                  </a:lnTo>
                  <a:lnTo>
                    <a:pt x="94" y="253"/>
                  </a:lnTo>
                  <a:lnTo>
                    <a:pt x="103" y="248"/>
                  </a:lnTo>
                  <a:lnTo>
                    <a:pt x="105" y="248"/>
                  </a:lnTo>
                  <a:lnTo>
                    <a:pt x="109" y="248"/>
                  </a:lnTo>
                  <a:lnTo>
                    <a:pt x="112" y="248"/>
                  </a:lnTo>
                  <a:lnTo>
                    <a:pt x="127" y="255"/>
                  </a:lnTo>
                  <a:lnTo>
                    <a:pt x="129" y="255"/>
                  </a:lnTo>
                  <a:lnTo>
                    <a:pt x="129" y="257"/>
                  </a:lnTo>
                  <a:lnTo>
                    <a:pt x="133" y="259"/>
                  </a:lnTo>
                  <a:lnTo>
                    <a:pt x="149" y="266"/>
                  </a:lnTo>
                  <a:lnTo>
                    <a:pt x="158" y="272"/>
                  </a:lnTo>
                  <a:lnTo>
                    <a:pt x="160" y="275"/>
                  </a:lnTo>
                  <a:lnTo>
                    <a:pt x="160" y="277"/>
                  </a:lnTo>
                  <a:lnTo>
                    <a:pt x="155" y="283"/>
                  </a:lnTo>
                  <a:lnTo>
                    <a:pt x="158" y="288"/>
                  </a:lnTo>
                  <a:lnTo>
                    <a:pt x="160" y="292"/>
                  </a:lnTo>
                  <a:lnTo>
                    <a:pt x="173" y="319"/>
                  </a:lnTo>
                  <a:lnTo>
                    <a:pt x="175" y="323"/>
                  </a:lnTo>
                  <a:lnTo>
                    <a:pt x="177" y="329"/>
                  </a:lnTo>
                  <a:lnTo>
                    <a:pt x="175" y="347"/>
                  </a:lnTo>
                  <a:lnTo>
                    <a:pt x="175" y="349"/>
                  </a:lnTo>
                  <a:lnTo>
                    <a:pt x="171" y="356"/>
                  </a:lnTo>
                  <a:lnTo>
                    <a:pt x="171" y="362"/>
                  </a:lnTo>
                  <a:lnTo>
                    <a:pt x="171" y="367"/>
                  </a:lnTo>
                  <a:lnTo>
                    <a:pt x="171" y="369"/>
                  </a:lnTo>
                  <a:lnTo>
                    <a:pt x="173" y="369"/>
                  </a:lnTo>
                  <a:lnTo>
                    <a:pt x="180" y="373"/>
                  </a:lnTo>
                  <a:lnTo>
                    <a:pt x="191" y="380"/>
                  </a:lnTo>
                  <a:lnTo>
                    <a:pt x="191" y="378"/>
                  </a:lnTo>
                  <a:lnTo>
                    <a:pt x="191" y="376"/>
                  </a:lnTo>
                  <a:lnTo>
                    <a:pt x="193" y="373"/>
                  </a:lnTo>
                  <a:lnTo>
                    <a:pt x="193" y="371"/>
                  </a:lnTo>
                  <a:lnTo>
                    <a:pt x="195" y="371"/>
                  </a:lnTo>
                  <a:lnTo>
                    <a:pt x="197" y="369"/>
                  </a:lnTo>
                  <a:lnTo>
                    <a:pt x="199" y="369"/>
                  </a:lnTo>
                  <a:lnTo>
                    <a:pt x="199" y="367"/>
                  </a:lnTo>
                  <a:lnTo>
                    <a:pt x="202" y="365"/>
                  </a:lnTo>
                  <a:lnTo>
                    <a:pt x="202" y="360"/>
                  </a:lnTo>
                  <a:lnTo>
                    <a:pt x="204" y="358"/>
                  </a:lnTo>
                  <a:lnTo>
                    <a:pt x="206" y="356"/>
                  </a:lnTo>
                  <a:lnTo>
                    <a:pt x="219" y="340"/>
                  </a:lnTo>
                  <a:lnTo>
                    <a:pt x="221" y="338"/>
                  </a:lnTo>
                  <a:lnTo>
                    <a:pt x="226" y="338"/>
                  </a:lnTo>
                  <a:lnTo>
                    <a:pt x="228" y="338"/>
                  </a:lnTo>
                  <a:lnTo>
                    <a:pt x="230" y="336"/>
                  </a:lnTo>
                  <a:lnTo>
                    <a:pt x="232" y="334"/>
                  </a:lnTo>
                  <a:lnTo>
                    <a:pt x="239" y="327"/>
                  </a:lnTo>
                  <a:lnTo>
                    <a:pt x="243" y="323"/>
                  </a:lnTo>
                  <a:lnTo>
                    <a:pt x="254" y="321"/>
                  </a:lnTo>
                  <a:lnTo>
                    <a:pt x="252" y="321"/>
                  </a:lnTo>
                  <a:lnTo>
                    <a:pt x="252" y="321"/>
                  </a:lnTo>
                  <a:lnTo>
                    <a:pt x="252" y="321"/>
                  </a:lnTo>
                  <a:lnTo>
                    <a:pt x="250" y="316"/>
                  </a:lnTo>
                  <a:lnTo>
                    <a:pt x="250" y="316"/>
                  </a:lnTo>
                  <a:lnTo>
                    <a:pt x="250" y="312"/>
                  </a:lnTo>
                  <a:lnTo>
                    <a:pt x="248" y="308"/>
                  </a:lnTo>
                  <a:lnTo>
                    <a:pt x="248" y="308"/>
                  </a:lnTo>
                  <a:lnTo>
                    <a:pt x="245" y="305"/>
                  </a:lnTo>
                  <a:lnTo>
                    <a:pt x="248" y="305"/>
                  </a:lnTo>
                  <a:lnTo>
                    <a:pt x="248" y="305"/>
                  </a:lnTo>
                  <a:lnTo>
                    <a:pt x="250" y="305"/>
                  </a:lnTo>
                  <a:lnTo>
                    <a:pt x="254" y="303"/>
                  </a:lnTo>
                  <a:lnTo>
                    <a:pt x="256" y="301"/>
                  </a:lnTo>
                  <a:lnTo>
                    <a:pt x="259" y="301"/>
                  </a:lnTo>
                  <a:lnTo>
                    <a:pt x="259" y="299"/>
                  </a:lnTo>
                  <a:lnTo>
                    <a:pt x="265" y="286"/>
                  </a:lnTo>
                  <a:lnTo>
                    <a:pt x="265" y="283"/>
                  </a:lnTo>
                  <a:lnTo>
                    <a:pt x="265" y="281"/>
                  </a:lnTo>
                  <a:lnTo>
                    <a:pt x="265" y="277"/>
                  </a:lnTo>
                  <a:lnTo>
                    <a:pt x="265" y="275"/>
                  </a:lnTo>
                  <a:lnTo>
                    <a:pt x="263" y="272"/>
                  </a:lnTo>
                  <a:lnTo>
                    <a:pt x="263" y="272"/>
                  </a:lnTo>
                  <a:lnTo>
                    <a:pt x="259" y="268"/>
                  </a:lnTo>
                  <a:lnTo>
                    <a:pt x="256" y="266"/>
                  </a:lnTo>
                  <a:lnTo>
                    <a:pt x="254" y="264"/>
                  </a:lnTo>
                  <a:lnTo>
                    <a:pt x="254" y="261"/>
                  </a:lnTo>
                  <a:lnTo>
                    <a:pt x="254" y="259"/>
                  </a:lnTo>
                  <a:lnTo>
                    <a:pt x="254" y="259"/>
                  </a:lnTo>
                  <a:lnTo>
                    <a:pt x="256" y="257"/>
                  </a:lnTo>
                  <a:lnTo>
                    <a:pt x="261" y="253"/>
                  </a:lnTo>
                  <a:lnTo>
                    <a:pt x="261" y="253"/>
                  </a:lnTo>
                  <a:lnTo>
                    <a:pt x="263" y="250"/>
                  </a:lnTo>
                  <a:lnTo>
                    <a:pt x="263" y="248"/>
                  </a:lnTo>
                  <a:lnTo>
                    <a:pt x="265" y="246"/>
                  </a:lnTo>
                  <a:lnTo>
                    <a:pt x="265" y="246"/>
                  </a:lnTo>
                  <a:lnTo>
                    <a:pt x="267" y="246"/>
                  </a:lnTo>
                  <a:lnTo>
                    <a:pt x="270" y="248"/>
                  </a:lnTo>
                  <a:lnTo>
                    <a:pt x="272" y="253"/>
                  </a:lnTo>
                  <a:lnTo>
                    <a:pt x="274" y="255"/>
                  </a:lnTo>
                  <a:lnTo>
                    <a:pt x="274" y="255"/>
                  </a:lnTo>
                  <a:lnTo>
                    <a:pt x="276" y="255"/>
                  </a:lnTo>
                  <a:lnTo>
                    <a:pt x="278" y="257"/>
                  </a:lnTo>
                  <a:lnTo>
                    <a:pt x="283" y="259"/>
                  </a:lnTo>
                  <a:lnTo>
                    <a:pt x="285" y="259"/>
                  </a:lnTo>
                  <a:lnTo>
                    <a:pt x="287" y="259"/>
                  </a:lnTo>
                  <a:lnTo>
                    <a:pt x="294" y="257"/>
                  </a:lnTo>
                  <a:lnTo>
                    <a:pt x="300" y="255"/>
                  </a:lnTo>
                  <a:lnTo>
                    <a:pt x="303" y="255"/>
                  </a:lnTo>
                  <a:lnTo>
                    <a:pt x="305" y="257"/>
                  </a:lnTo>
                  <a:lnTo>
                    <a:pt x="307" y="257"/>
                  </a:lnTo>
                  <a:lnTo>
                    <a:pt x="309" y="257"/>
                  </a:lnTo>
                  <a:lnTo>
                    <a:pt x="314" y="257"/>
                  </a:lnTo>
                  <a:lnTo>
                    <a:pt x="318" y="257"/>
                  </a:lnTo>
                  <a:lnTo>
                    <a:pt x="327" y="255"/>
                  </a:lnTo>
                  <a:lnTo>
                    <a:pt x="327" y="255"/>
                  </a:lnTo>
                  <a:lnTo>
                    <a:pt x="329" y="253"/>
                  </a:lnTo>
                  <a:lnTo>
                    <a:pt x="329" y="250"/>
                  </a:lnTo>
                  <a:lnTo>
                    <a:pt x="331" y="248"/>
                  </a:lnTo>
                  <a:lnTo>
                    <a:pt x="331" y="248"/>
                  </a:lnTo>
                  <a:lnTo>
                    <a:pt x="333" y="248"/>
                  </a:lnTo>
                  <a:lnTo>
                    <a:pt x="333" y="246"/>
                  </a:lnTo>
                  <a:lnTo>
                    <a:pt x="335" y="246"/>
                  </a:lnTo>
                  <a:lnTo>
                    <a:pt x="338" y="246"/>
                  </a:lnTo>
                  <a:lnTo>
                    <a:pt x="344" y="248"/>
                  </a:lnTo>
                  <a:lnTo>
                    <a:pt x="349" y="248"/>
                  </a:lnTo>
                  <a:lnTo>
                    <a:pt x="353" y="250"/>
                  </a:lnTo>
                  <a:lnTo>
                    <a:pt x="362" y="257"/>
                  </a:lnTo>
                  <a:lnTo>
                    <a:pt x="366" y="257"/>
                  </a:lnTo>
                  <a:lnTo>
                    <a:pt x="368" y="257"/>
                  </a:lnTo>
                  <a:lnTo>
                    <a:pt x="368" y="259"/>
                  </a:lnTo>
                  <a:lnTo>
                    <a:pt x="382" y="270"/>
                  </a:lnTo>
                  <a:lnTo>
                    <a:pt x="390" y="279"/>
                  </a:lnTo>
                  <a:lnTo>
                    <a:pt x="395" y="281"/>
                  </a:lnTo>
                  <a:lnTo>
                    <a:pt x="395" y="283"/>
                  </a:lnTo>
                  <a:lnTo>
                    <a:pt x="397" y="286"/>
                  </a:lnTo>
                  <a:lnTo>
                    <a:pt x="397" y="290"/>
                  </a:lnTo>
                  <a:lnTo>
                    <a:pt x="397" y="290"/>
                  </a:lnTo>
                  <a:lnTo>
                    <a:pt x="397" y="290"/>
                  </a:lnTo>
                  <a:lnTo>
                    <a:pt x="399" y="292"/>
                  </a:lnTo>
                  <a:lnTo>
                    <a:pt x="399" y="292"/>
                  </a:lnTo>
                  <a:lnTo>
                    <a:pt x="406" y="294"/>
                  </a:lnTo>
                  <a:lnTo>
                    <a:pt x="408" y="294"/>
                  </a:lnTo>
                  <a:lnTo>
                    <a:pt x="410" y="297"/>
                  </a:lnTo>
                  <a:lnTo>
                    <a:pt x="412" y="301"/>
                  </a:lnTo>
                  <a:lnTo>
                    <a:pt x="417" y="303"/>
                  </a:lnTo>
                  <a:lnTo>
                    <a:pt x="419" y="305"/>
                  </a:lnTo>
                  <a:lnTo>
                    <a:pt x="421" y="305"/>
                  </a:lnTo>
                  <a:lnTo>
                    <a:pt x="423" y="308"/>
                  </a:lnTo>
                  <a:lnTo>
                    <a:pt x="430" y="310"/>
                  </a:lnTo>
                  <a:lnTo>
                    <a:pt x="432" y="310"/>
                  </a:lnTo>
                  <a:lnTo>
                    <a:pt x="434" y="310"/>
                  </a:lnTo>
                  <a:lnTo>
                    <a:pt x="436" y="308"/>
                  </a:lnTo>
                  <a:lnTo>
                    <a:pt x="439" y="308"/>
                  </a:lnTo>
                  <a:lnTo>
                    <a:pt x="445" y="303"/>
                  </a:lnTo>
                  <a:lnTo>
                    <a:pt x="447" y="301"/>
                  </a:lnTo>
                  <a:lnTo>
                    <a:pt x="447" y="301"/>
                  </a:lnTo>
                  <a:lnTo>
                    <a:pt x="450" y="299"/>
                  </a:lnTo>
                  <a:lnTo>
                    <a:pt x="452" y="299"/>
                  </a:lnTo>
                  <a:lnTo>
                    <a:pt x="454" y="301"/>
                  </a:lnTo>
                  <a:lnTo>
                    <a:pt x="456" y="303"/>
                  </a:lnTo>
                  <a:lnTo>
                    <a:pt x="458" y="303"/>
                  </a:lnTo>
                  <a:lnTo>
                    <a:pt x="461" y="303"/>
                  </a:lnTo>
                  <a:lnTo>
                    <a:pt x="463" y="303"/>
                  </a:lnTo>
                  <a:lnTo>
                    <a:pt x="469" y="303"/>
                  </a:lnTo>
                  <a:lnTo>
                    <a:pt x="489" y="303"/>
                  </a:lnTo>
                  <a:lnTo>
                    <a:pt x="496" y="301"/>
                  </a:lnTo>
                  <a:lnTo>
                    <a:pt x="518" y="297"/>
                  </a:lnTo>
                  <a:lnTo>
                    <a:pt x="524" y="292"/>
                  </a:lnTo>
                  <a:lnTo>
                    <a:pt x="524" y="292"/>
                  </a:lnTo>
                  <a:lnTo>
                    <a:pt x="526" y="290"/>
                  </a:lnTo>
                  <a:lnTo>
                    <a:pt x="529" y="288"/>
                  </a:lnTo>
                  <a:lnTo>
                    <a:pt x="531" y="288"/>
                  </a:lnTo>
                  <a:lnTo>
                    <a:pt x="533" y="279"/>
                  </a:lnTo>
                  <a:lnTo>
                    <a:pt x="535" y="277"/>
                  </a:lnTo>
                  <a:lnTo>
                    <a:pt x="535" y="272"/>
                  </a:lnTo>
                  <a:lnTo>
                    <a:pt x="535" y="268"/>
                  </a:lnTo>
                  <a:lnTo>
                    <a:pt x="535" y="259"/>
                  </a:lnTo>
                  <a:lnTo>
                    <a:pt x="535" y="257"/>
                  </a:lnTo>
                  <a:lnTo>
                    <a:pt x="535" y="253"/>
                  </a:lnTo>
                  <a:lnTo>
                    <a:pt x="537" y="253"/>
                  </a:lnTo>
                  <a:lnTo>
                    <a:pt x="555" y="224"/>
                  </a:lnTo>
                  <a:lnTo>
                    <a:pt x="555" y="224"/>
                  </a:lnTo>
                  <a:lnTo>
                    <a:pt x="557" y="207"/>
                  </a:lnTo>
                  <a:lnTo>
                    <a:pt x="557" y="204"/>
                  </a:lnTo>
                  <a:lnTo>
                    <a:pt x="557" y="202"/>
                  </a:lnTo>
                  <a:lnTo>
                    <a:pt x="557" y="200"/>
                  </a:lnTo>
                  <a:lnTo>
                    <a:pt x="557" y="198"/>
                  </a:lnTo>
                  <a:lnTo>
                    <a:pt x="555" y="198"/>
                  </a:lnTo>
                  <a:lnTo>
                    <a:pt x="551" y="193"/>
                  </a:lnTo>
                  <a:lnTo>
                    <a:pt x="548" y="191"/>
                  </a:lnTo>
                  <a:lnTo>
                    <a:pt x="546" y="191"/>
                  </a:lnTo>
                  <a:lnTo>
                    <a:pt x="540" y="189"/>
                  </a:lnTo>
                  <a:lnTo>
                    <a:pt x="533" y="187"/>
                  </a:lnTo>
                  <a:lnTo>
                    <a:pt x="531" y="185"/>
                  </a:lnTo>
                  <a:lnTo>
                    <a:pt x="529" y="185"/>
                  </a:lnTo>
                  <a:lnTo>
                    <a:pt x="524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2" y="182"/>
                  </a:lnTo>
                  <a:lnTo>
                    <a:pt x="522" y="180"/>
                  </a:lnTo>
                  <a:lnTo>
                    <a:pt x="524" y="180"/>
                  </a:lnTo>
                  <a:lnTo>
                    <a:pt x="524" y="180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68" name="Freeform 7"/>
            <p:cNvSpPr>
              <a:spLocks/>
            </p:cNvSpPr>
            <p:nvPr/>
          </p:nvSpPr>
          <p:spPr bwMode="auto">
            <a:xfrm>
              <a:off x="4900613" y="3519488"/>
              <a:ext cx="828675" cy="615950"/>
            </a:xfrm>
            <a:custGeom>
              <a:avLst/>
              <a:gdLst>
                <a:gd name="T0" fmla="*/ 518 w 522"/>
                <a:gd name="T1" fmla="*/ 55 h 388"/>
                <a:gd name="T2" fmla="*/ 509 w 522"/>
                <a:gd name="T3" fmla="*/ 48 h 388"/>
                <a:gd name="T4" fmla="*/ 468 w 522"/>
                <a:gd name="T5" fmla="*/ 52 h 388"/>
                <a:gd name="T6" fmla="*/ 432 w 522"/>
                <a:gd name="T7" fmla="*/ 77 h 388"/>
                <a:gd name="T8" fmla="*/ 399 w 522"/>
                <a:gd name="T9" fmla="*/ 120 h 388"/>
                <a:gd name="T10" fmla="*/ 391 w 522"/>
                <a:gd name="T11" fmla="*/ 138 h 388"/>
                <a:gd name="T12" fmla="*/ 373 w 522"/>
                <a:gd name="T13" fmla="*/ 162 h 388"/>
                <a:gd name="T14" fmla="*/ 349 w 522"/>
                <a:gd name="T15" fmla="*/ 171 h 388"/>
                <a:gd name="T16" fmla="*/ 309 w 522"/>
                <a:gd name="T17" fmla="*/ 193 h 388"/>
                <a:gd name="T18" fmla="*/ 294 w 522"/>
                <a:gd name="T19" fmla="*/ 169 h 388"/>
                <a:gd name="T20" fmla="*/ 283 w 522"/>
                <a:gd name="T21" fmla="*/ 151 h 388"/>
                <a:gd name="T22" fmla="*/ 283 w 522"/>
                <a:gd name="T23" fmla="*/ 138 h 388"/>
                <a:gd name="T24" fmla="*/ 274 w 522"/>
                <a:gd name="T25" fmla="*/ 120 h 388"/>
                <a:gd name="T26" fmla="*/ 268 w 522"/>
                <a:gd name="T27" fmla="*/ 118 h 388"/>
                <a:gd name="T28" fmla="*/ 261 w 522"/>
                <a:gd name="T29" fmla="*/ 74 h 388"/>
                <a:gd name="T30" fmla="*/ 246 w 522"/>
                <a:gd name="T31" fmla="*/ 41 h 388"/>
                <a:gd name="T32" fmla="*/ 230 w 522"/>
                <a:gd name="T33" fmla="*/ 63 h 388"/>
                <a:gd name="T34" fmla="*/ 215 w 522"/>
                <a:gd name="T35" fmla="*/ 61 h 388"/>
                <a:gd name="T36" fmla="*/ 208 w 522"/>
                <a:gd name="T37" fmla="*/ 41 h 388"/>
                <a:gd name="T38" fmla="*/ 202 w 522"/>
                <a:gd name="T39" fmla="*/ 28 h 388"/>
                <a:gd name="T40" fmla="*/ 195 w 522"/>
                <a:gd name="T41" fmla="*/ 20 h 388"/>
                <a:gd name="T42" fmla="*/ 191 w 522"/>
                <a:gd name="T43" fmla="*/ 9 h 388"/>
                <a:gd name="T44" fmla="*/ 180 w 522"/>
                <a:gd name="T45" fmla="*/ 4 h 388"/>
                <a:gd name="T46" fmla="*/ 176 w 522"/>
                <a:gd name="T47" fmla="*/ 37 h 388"/>
                <a:gd name="T48" fmla="*/ 134 w 522"/>
                <a:gd name="T49" fmla="*/ 37 h 388"/>
                <a:gd name="T50" fmla="*/ 85 w 522"/>
                <a:gd name="T51" fmla="*/ 33 h 388"/>
                <a:gd name="T52" fmla="*/ 68 w 522"/>
                <a:gd name="T53" fmla="*/ 41 h 388"/>
                <a:gd name="T54" fmla="*/ 57 w 522"/>
                <a:gd name="T55" fmla="*/ 39 h 388"/>
                <a:gd name="T56" fmla="*/ 50 w 522"/>
                <a:gd name="T57" fmla="*/ 22 h 388"/>
                <a:gd name="T58" fmla="*/ 28 w 522"/>
                <a:gd name="T59" fmla="*/ 28 h 388"/>
                <a:gd name="T60" fmla="*/ 2 w 522"/>
                <a:gd name="T61" fmla="*/ 39 h 388"/>
                <a:gd name="T62" fmla="*/ 6 w 522"/>
                <a:gd name="T63" fmla="*/ 59 h 388"/>
                <a:gd name="T64" fmla="*/ 22 w 522"/>
                <a:gd name="T65" fmla="*/ 77 h 388"/>
                <a:gd name="T66" fmla="*/ 35 w 522"/>
                <a:gd name="T67" fmla="*/ 99 h 388"/>
                <a:gd name="T68" fmla="*/ 59 w 522"/>
                <a:gd name="T69" fmla="*/ 120 h 388"/>
                <a:gd name="T70" fmla="*/ 77 w 522"/>
                <a:gd name="T71" fmla="*/ 127 h 388"/>
                <a:gd name="T72" fmla="*/ 85 w 522"/>
                <a:gd name="T73" fmla="*/ 136 h 388"/>
                <a:gd name="T74" fmla="*/ 107 w 522"/>
                <a:gd name="T75" fmla="*/ 156 h 388"/>
                <a:gd name="T76" fmla="*/ 85 w 522"/>
                <a:gd name="T77" fmla="*/ 178 h 388"/>
                <a:gd name="T78" fmla="*/ 48 w 522"/>
                <a:gd name="T79" fmla="*/ 259 h 388"/>
                <a:gd name="T80" fmla="*/ 50 w 522"/>
                <a:gd name="T81" fmla="*/ 274 h 388"/>
                <a:gd name="T82" fmla="*/ 61 w 522"/>
                <a:gd name="T83" fmla="*/ 316 h 388"/>
                <a:gd name="T84" fmla="*/ 72 w 522"/>
                <a:gd name="T85" fmla="*/ 322 h 388"/>
                <a:gd name="T86" fmla="*/ 77 w 522"/>
                <a:gd name="T87" fmla="*/ 331 h 388"/>
                <a:gd name="T88" fmla="*/ 72 w 522"/>
                <a:gd name="T89" fmla="*/ 366 h 388"/>
                <a:gd name="T90" fmla="*/ 83 w 522"/>
                <a:gd name="T91" fmla="*/ 371 h 388"/>
                <a:gd name="T92" fmla="*/ 92 w 522"/>
                <a:gd name="T93" fmla="*/ 379 h 388"/>
                <a:gd name="T94" fmla="*/ 118 w 522"/>
                <a:gd name="T95" fmla="*/ 382 h 388"/>
                <a:gd name="T96" fmla="*/ 149 w 522"/>
                <a:gd name="T97" fmla="*/ 355 h 388"/>
                <a:gd name="T98" fmla="*/ 193 w 522"/>
                <a:gd name="T99" fmla="*/ 362 h 388"/>
                <a:gd name="T100" fmla="*/ 202 w 522"/>
                <a:gd name="T101" fmla="*/ 373 h 388"/>
                <a:gd name="T102" fmla="*/ 281 w 522"/>
                <a:gd name="T103" fmla="*/ 375 h 388"/>
                <a:gd name="T104" fmla="*/ 277 w 522"/>
                <a:gd name="T105" fmla="*/ 320 h 388"/>
                <a:gd name="T106" fmla="*/ 285 w 522"/>
                <a:gd name="T107" fmla="*/ 294 h 388"/>
                <a:gd name="T108" fmla="*/ 316 w 522"/>
                <a:gd name="T109" fmla="*/ 285 h 388"/>
                <a:gd name="T110" fmla="*/ 406 w 522"/>
                <a:gd name="T111" fmla="*/ 263 h 388"/>
                <a:gd name="T112" fmla="*/ 474 w 522"/>
                <a:gd name="T113" fmla="*/ 259 h 388"/>
                <a:gd name="T114" fmla="*/ 483 w 522"/>
                <a:gd name="T115" fmla="*/ 188 h 388"/>
                <a:gd name="T116" fmla="*/ 489 w 522"/>
                <a:gd name="T117" fmla="*/ 158 h 388"/>
                <a:gd name="T118" fmla="*/ 489 w 522"/>
                <a:gd name="T119" fmla="*/ 131 h 388"/>
                <a:gd name="T120" fmla="*/ 500 w 522"/>
                <a:gd name="T121" fmla="*/ 112 h 388"/>
                <a:gd name="T122" fmla="*/ 505 w 522"/>
                <a:gd name="T123" fmla="*/ 81 h 388"/>
                <a:gd name="T124" fmla="*/ 522 w 522"/>
                <a:gd name="T125" fmla="*/ 68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22" h="388">
                  <a:moveTo>
                    <a:pt x="522" y="66"/>
                  </a:moveTo>
                  <a:lnTo>
                    <a:pt x="522" y="63"/>
                  </a:lnTo>
                  <a:lnTo>
                    <a:pt x="520" y="59"/>
                  </a:lnTo>
                  <a:lnTo>
                    <a:pt x="520" y="57"/>
                  </a:lnTo>
                  <a:lnTo>
                    <a:pt x="518" y="55"/>
                  </a:lnTo>
                  <a:lnTo>
                    <a:pt x="518" y="52"/>
                  </a:lnTo>
                  <a:lnTo>
                    <a:pt x="516" y="50"/>
                  </a:lnTo>
                  <a:lnTo>
                    <a:pt x="516" y="50"/>
                  </a:lnTo>
                  <a:lnTo>
                    <a:pt x="511" y="48"/>
                  </a:lnTo>
                  <a:lnTo>
                    <a:pt x="509" y="48"/>
                  </a:lnTo>
                  <a:lnTo>
                    <a:pt x="507" y="46"/>
                  </a:lnTo>
                  <a:lnTo>
                    <a:pt x="492" y="46"/>
                  </a:lnTo>
                  <a:lnTo>
                    <a:pt x="487" y="46"/>
                  </a:lnTo>
                  <a:lnTo>
                    <a:pt x="481" y="48"/>
                  </a:lnTo>
                  <a:lnTo>
                    <a:pt x="468" y="52"/>
                  </a:lnTo>
                  <a:lnTo>
                    <a:pt x="465" y="55"/>
                  </a:lnTo>
                  <a:lnTo>
                    <a:pt x="448" y="68"/>
                  </a:lnTo>
                  <a:lnTo>
                    <a:pt x="448" y="70"/>
                  </a:lnTo>
                  <a:lnTo>
                    <a:pt x="437" y="74"/>
                  </a:lnTo>
                  <a:lnTo>
                    <a:pt x="432" y="77"/>
                  </a:lnTo>
                  <a:lnTo>
                    <a:pt x="424" y="88"/>
                  </a:lnTo>
                  <a:lnTo>
                    <a:pt x="417" y="94"/>
                  </a:lnTo>
                  <a:lnTo>
                    <a:pt x="406" y="112"/>
                  </a:lnTo>
                  <a:lnTo>
                    <a:pt x="402" y="118"/>
                  </a:lnTo>
                  <a:lnTo>
                    <a:pt x="399" y="120"/>
                  </a:lnTo>
                  <a:lnTo>
                    <a:pt x="399" y="123"/>
                  </a:lnTo>
                  <a:lnTo>
                    <a:pt x="397" y="127"/>
                  </a:lnTo>
                  <a:lnTo>
                    <a:pt x="395" y="129"/>
                  </a:lnTo>
                  <a:lnTo>
                    <a:pt x="391" y="136"/>
                  </a:lnTo>
                  <a:lnTo>
                    <a:pt x="391" y="138"/>
                  </a:lnTo>
                  <a:lnTo>
                    <a:pt x="386" y="147"/>
                  </a:lnTo>
                  <a:lnTo>
                    <a:pt x="386" y="149"/>
                  </a:lnTo>
                  <a:lnTo>
                    <a:pt x="380" y="153"/>
                  </a:lnTo>
                  <a:lnTo>
                    <a:pt x="375" y="160"/>
                  </a:lnTo>
                  <a:lnTo>
                    <a:pt x="373" y="162"/>
                  </a:lnTo>
                  <a:lnTo>
                    <a:pt x="369" y="164"/>
                  </a:lnTo>
                  <a:lnTo>
                    <a:pt x="360" y="169"/>
                  </a:lnTo>
                  <a:lnTo>
                    <a:pt x="358" y="169"/>
                  </a:lnTo>
                  <a:lnTo>
                    <a:pt x="351" y="169"/>
                  </a:lnTo>
                  <a:lnTo>
                    <a:pt x="349" y="171"/>
                  </a:lnTo>
                  <a:lnTo>
                    <a:pt x="327" y="188"/>
                  </a:lnTo>
                  <a:lnTo>
                    <a:pt x="325" y="191"/>
                  </a:lnTo>
                  <a:lnTo>
                    <a:pt x="320" y="193"/>
                  </a:lnTo>
                  <a:lnTo>
                    <a:pt x="316" y="193"/>
                  </a:lnTo>
                  <a:lnTo>
                    <a:pt x="309" y="193"/>
                  </a:lnTo>
                  <a:lnTo>
                    <a:pt x="307" y="191"/>
                  </a:lnTo>
                  <a:lnTo>
                    <a:pt x="305" y="188"/>
                  </a:lnTo>
                  <a:lnTo>
                    <a:pt x="296" y="171"/>
                  </a:lnTo>
                  <a:lnTo>
                    <a:pt x="296" y="171"/>
                  </a:lnTo>
                  <a:lnTo>
                    <a:pt x="294" y="169"/>
                  </a:lnTo>
                  <a:lnTo>
                    <a:pt x="287" y="164"/>
                  </a:lnTo>
                  <a:lnTo>
                    <a:pt x="287" y="162"/>
                  </a:lnTo>
                  <a:lnTo>
                    <a:pt x="285" y="160"/>
                  </a:lnTo>
                  <a:lnTo>
                    <a:pt x="285" y="158"/>
                  </a:lnTo>
                  <a:lnTo>
                    <a:pt x="283" y="151"/>
                  </a:lnTo>
                  <a:lnTo>
                    <a:pt x="283" y="149"/>
                  </a:lnTo>
                  <a:lnTo>
                    <a:pt x="283" y="145"/>
                  </a:lnTo>
                  <a:lnTo>
                    <a:pt x="283" y="142"/>
                  </a:lnTo>
                  <a:lnTo>
                    <a:pt x="283" y="140"/>
                  </a:lnTo>
                  <a:lnTo>
                    <a:pt x="283" y="138"/>
                  </a:lnTo>
                  <a:lnTo>
                    <a:pt x="283" y="134"/>
                  </a:lnTo>
                  <a:lnTo>
                    <a:pt x="281" y="131"/>
                  </a:lnTo>
                  <a:lnTo>
                    <a:pt x="279" y="125"/>
                  </a:lnTo>
                  <a:lnTo>
                    <a:pt x="277" y="123"/>
                  </a:lnTo>
                  <a:lnTo>
                    <a:pt x="274" y="120"/>
                  </a:lnTo>
                  <a:lnTo>
                    <a:pt x="272" y="120"/>
                  </a:lnTo>
                  <a:lnTo>
                    <a:pt x="270" y="120"/>
                  </a:lnTo>
                  <a:lnTo>
                    <a:pt x="270" y="118"/>
                  </a:lnTo>
                  <a:lnTo>
                    <a:pt x="268" y="118"/>
                  </a:lnTo>
                  <a:lnTo>
                    <a:pt x="268" y="118"/>
                  </a:lnTo>
                  <a:lnTo>
                    <a:pt x="268" y="116"/>
                  </a:lnTo>
                  <a:lnTo>
                    <a:pt x="266" y="114"/>
                  </a:lnTo>
                  <a:lnTo>
                    <a:pt x="263" y="83"/>
                  </a:lnTo>
                  <a:lnTo>
                    <a:pt x="263" y="79"/>
                  </a:lnTo>
                  <a:lnTo>
                    <a:pt x="261" y="74"/>
                  </a:lnTo>
                  <a:lnTo>
                    <a:pt x="252" y="63"/>
                  </a:lnTo>
                  <a:lnTo>
                    <a:pt x="250" y="57"/>
                  </a:lnTo>
                  <a:lnTo>
                    <a:pt x="250" y="50"/>
                  </a:lnTo>
                  <a:lnTo>
                    <a:pt x="255" y="35"/>
                  </a:lnTo>
                  <a:lnTo>
                    <a:pt x="246" y="41"/>
                  </a:lnTo>
                  <a:lnTo>
                    <a:pt x="244" y="44"/>
                  </a:lnTo>
                  <a:lnTo>
                    <a:pt x="239" y="46"/>
                  </a:lnTo>
                  <a:lnTo>
                    <a:pt x="235" y="57"/>
                  </a:lnTo>
                  <a:lnTo>
                    <a:pt x="233" y="61"/>
                  </a:lnTo>
                  <a:lnTo>
                    <a:pt x="230" y="63"/>
                  </a:lnTo>
                  <a:lnTo>
                    <a:pt x="226" y="68"/>
                  </a:lnTo>
                  <a:lnTo>
                    <a:pt x="219" y="68"/>
                  </a:lnTo>
                  <a:lnTo>
                    <a:pt x="217" y="66"/>
                  </a:lnTo>
                  <a:lnTo>
                    <a:pt x="215" y="63"/>
                  </a:lnTo>
                  <a:lnTo>
                    <a:pt x="215" y="61"/>
                  </a:lnTo>
                  <a:lnTo>
                    <a:pt x="213" y="59"/>
                  </a:lnTo>
                  <a:lnTo>
                    <a:pt x="213" y="52"/>
                  </a:lnTo>
                  <a:lnTo>
                    <a:pt x="208" y="44"/>
                  </a:lnTo>
                  <a:lnTo>
                    <a:pt x="208" y="41"/>
                  </a:lnTo>
                  <a:lnTo>
                    <a:pt x="208" y="41"/>
                  </a:lnTo>
                  <a:lnTo>
                    <a:pt x="206" y="37"/>
                  </a:lnTo>
                  <a:lnTo>
                    <a:pt x="206" y="35"/>
                  </a:lnTo>
                  <a:lnTo>
                    <a:pt x="204" y="33"/>
                  </a:lnTo>
                  <a:lnTo>
                    <a:pt x="202" y="30"/>
                  </a:lnTo>
                  <a:lnTo>
                    <a:pt x="202" y="28"/>
                  </a:lnTo>
                  <a:lnTo>
                    <a:pt x="200" y="28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197" y="22"/>
                  </a:lnTo>
                  <a:lnTo>
                    <a:pt x="195" y="20"/>
                  </a:lnTo>
                  <a:lnTo>
                    <a:pt x="193" y="17"/>
                  </a:lnTo>
                  <a:lnTo>
                    <a:pt x="193" y="15"/>
                  </a:lnTo>
                  <a:lnTo>
                    <a:pt x="193" y="11"/>
                  </a:lnTo>
                  <a:lnTo>
                    <a:pt x="193" y="9"/>
                  </a:lnTo>
                  <a:lnTo>
                    <a:pt x="191" y="9"/>
                  </a:lnTo>
                  <a:lnTo>
                    <a:pt x="189" y="2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2" y="2"/>
                  </a:lnTo>
                  <a:lnTo>
                    <a:pt x="180" y="4"/>
                  </a:lnTo>
                  <a:lnTo>
                    <a:pt x="178" y="6"/>
                  </a:lnTo>
                  <a:lnTo>
                    <a:pt x="178" y="11"/>
                  </a:lnTo>
                  <a:lnTo>
                    <a:pt x="178" y="24"/>
                  </a:lnTo>
                  <a:lnTo>
                    <a:pt x="178" y="33"/>
                  </a:lnTo>
                  <a:lnTo>
                    <a:pt x="176" y="37"/>
                  </a:lnTo>
                  <a:lnTo>
                    <a:pt x="173" y="39"/>
                  </a:lnTo>
                  <a:lnTo>
                    <a:pt x="173" y="39"/>
                  </a:lnTo>
                  <a:lnTo>
                    <a:pt x="167" y="41"/>
                  </a:lnTo>
                  <a:lnTo>
                    <a:pt x="160" y="41"/>
                  </a:lnTo>
                  <a:lnTo>
                    <a:pt x="134" y="37"/>
                  </a:lnTo>
                  <a:lnTo>
                    <a:pt x="129" y="37"/>
                  </a:lnTo>
                  <a:lnTo>
                    <a:pt x="114" y="33"/>
                  </a:lnTo>
                  <a:lnTo>
                    <a:pt x="107" y="30"/>
                  </a:lnTo>
                  <a:lnTo>
                    <a:pt x="101" y="30"/>
                  </a:lnTo>
                  <a:lnTo>
                    <a:pt x="85" y="33"/>
                  </a:lnTo>
                  <a:lnTo>
                    <a:pt x="83" y="37"/>
                  </a:lnTo>
                  <a:lnTo>
                    <a:pt x="81" y="44"/>
                  </a:lnTo>
                  <a:lnTo>
                    <a:pt x="79" y="44"/>
                  </a:lnTo>
                  <a:lnTo>
                    <a:pt x="77" y="44"/>
                  </a:lnTo>
                  <a:lnTo>
                    <a:pt x="68" y="41"/>
                  </a:lnTo>
                  <a:lnTo>
                    <a:pt x="66" y="41"/>
                  </a:lnTo>
                  <a:lnTo>
                    <a:pt x="64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7" y="39"/>
                  </a:lnTo>
                  <a:lnTo>
                    <a:pt x="57" y="30"/>
                  </a:lnTo>
                  <a:lnTo>
                    <a:pt x="55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0" y="22"/>
                  </a:lnTo>
                  <a:lnTo>
                    <a:pt x="48" y="22"/>
                  </a:lnTo>
                  <a:lnTo>
                    <a:pt x="39" y="26"/>
                  </a:lnTo>
                  <a:lnTo>
                    <a:pt x="35" y="28"/>
                  </a:lnTo>
                  <a:lnTo>
                    <a:pt x="33" y="28"/>
                  </a:lnTo>
                  <a:lnTo>
                    <a:pt x="28" y="28"/>
                  </a:lnTo>
                  <a:lnTo>
                    <a:pt x="11" y="28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3"/>
                  </a:lnTo>
                  <a:lnTo>
                    <a:pt x="2" y="39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6" y="59"/>
                  </a:lnTo>
                  <a:lnTo>
                    <a:pt x="13" y="61"/>
                  </a:lnTo>
                  <a:lnTo>
                    <a:pt x="13" y="63"/>
                  </a:lnTo>
                  <a:lnTo>
                    <a:pt x="20" y="72"/>
                  </a:lnTo>
                  <a:lnTo>
                    <a:pt x="20" y="74"/>
                  </a:lnTo>
                  <a:lnTo>
                    <a:pt x="22" y="77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3"/>
                  </a:lnTo>
                  <a:lnTo>
                    <a:pt x="24" y="88"/>
                  </a:lnTo>
                  <a:lnTo>
                    <a:pt x="35" y="99"/>
                  </a:lnTo>
                  <a:lnTo>
                    <a:pt x="37" y="99"/>
                  </a:lnTo>
                  <a:lnTo>
                    <a:pt x="46" y="103"/>
                  </a:lnTo>
                  <a:lnTo>
                    <a:pt x="46" y="105"/>
                  </a:lnTo>
                  <a:lnTo>
                    <a:pt x="55" y="112"/>
                  </a:lnTo>
                  <a:lnTo>
                    <a:pt x="59" y="120"/>
                  </a:lnTo>
                  <a:lnTo>
                    <a:pt x="61" y="120"/>
                  </a:lnTo>
                  <a:lnTo>
                    <a:pt x="64" y="123"/>
                  </a:lnTo>
                  <a:lnTo>
                    <a:pt x="75" y="125"/>
                  </a:lnTo>
                  <a:lnTo>
                    <a:pt x="75" y="125"/>
                  </a:lnTo>
                  <a:lnTo>
                    <a:pt x="77" y="127"/>
                  </a:lnTo>
                  <a:lnTo>
                    <a:pt x="77" y="129"/>
                  </a:lnTo>
                  <a:lnTo>
                    <a:pt x="77" y="129"/>
                  </a:lnTo>
                  <a:lnTo>
                    <a:pt x="79" y="129"/>
                  </a:lnTo>
                  <a:lnTo>
                    <a:pt x="81" y="134"/>
                  </a:lnTo>
                  <a:lnTo>
                    <a:pt x="85" y="136"/>
                  </a:lnTo>
                  <a:lnTo>
                    <a:pt x="94" y="140"/>
                  </a:lnTo>
                  <a:lnTo>
                    <a:pt x="101" y="142"/>
                  </a:lnTo>
                  <a:lnTo>
                    <a:pt x="105" y="147"/>
                  </a:lnTo>
                  <a:lnTo>
                    <a:pt x="107" y="149"/>
                  </a:lnTo>
                  <a:lnTo>
                    <a:pt x="107" y="156"/>
                  </a:lnTo>
                  <a:lnTo>
                    <a:pt x="105" y="158"/>
                  </a:lnTo>
                  <a:lnTo>
                    <a:pt x="105" y="160"/>
                  </a:lnTo>
                  <a:lnTo>
                    <a:pt x="101" y="162"/>
                  </a:lnTo>
                  <a:lnTo>
                    <a:pt x="88" y="175"/>
                  </a:lnTo>
                  <a:lnTo>
                    <a:pt x="85" y="178"/>
                  </a:lnTo>
                  <a:lnTo>
                    <a:pt x="66" y="221"/>
                  </a:lnTo>
                  <a:lnTo>
                    <a:pt x="66" y="232"/>
                  </a:lnTo>
                  <a:lnTo>
                    <a:pt x="64" y="239"/>
                  </a:lnTo>
                  <a:lnTo>
                    <a:pt x="50" y="254"/>
                  </a:lnTo>
                  <a:lnTo>
                    <a:pt x="48" y="259"/>
                  </a:lnTo>
                  <a:lnTo>
                    <a:pt x="46" y="263"/>
                  </a:lnTo>
                  <a:lnTo>
                    <a:pt x="46" y="265"/>
                  </a:lnTo>
                  <a:lnTo>
                    <a:pt x="46" y="265"/>
                  </a:lnTo>
                  <a:lnTo>
                    <a:pt x="46" y="268"/>
                  </a:lnTo>
                  <a:lnTo>
                    <a:pt x="50" y="274"/>
                  </a:lnTo>
                  <a:lnTo>
                    <a:pt x="57" y="287"/>
                  </a:lnTo>
                  <a:lnTo>
                    <a:pt x="59" y="296"/>
                  </a:lnTo>
                  <a:lnTo>
                    <a:pt x="59" y="307"/>
                  </a:lnTo>
                  <a:lnTo>
                    <a:pt x="61" y="314"/>
                  </a:lnTo>
                  <a:lnTo>
                    <a:pt x="61" y="316"/>
                  </a:lnTo>
                  <a:lnTo>
                    <a:pt x="64" y="318"/>
                  </a:lnTo>
                  <a:lnTo>
                    <a:pt x="66" y="320"/>
                  </a:lnTo>
                  <a:lnTo>
                    <a:pt x="68" y="322"/>
                  </a:lnTo>
                  <a:lnTo>
                    <a:pt x="70" y="322"/>
                  </a:lnTo>
                  <a:lnTo>
                    <a:pt x="72" y="322"/>
                  </a:lnTo>
                  <a:lnTo>
                    <a:pt x="75" y="325"/>
                  </a:lnTo>
                  <a:lnTo>
                    <a:pt x="77" y="327"/>
                  </a:lnTo>
                  <a:lnTo>
                    <a:pt x="77" y="327"/>
                  </a:lnTo>
                  <a:lnTo>
                    <a:pt x="77" y="329"/>
                  </a:lnTo>
                  <a:lnTo>
                    <a:pt x="77" y="331"/>
                  </a:lnTo>
                  <a:lnTo>
                    <a:pt x="72" y="338"/>
                  </a:lnTo>
                  <a:lnTo>
                    <a:pt x="72" y="340"/>
                  </a:lnTo>
                  <a:lnTo>
                    <a:pt x="72" y="349"/>
                  </a:lnTo>
                  <a:lnTo>
                    <a:pt x="72" y="360"/>
                  </a:lnTo>
                  <a:lnTo>
                    <a:pt x="72" y="366"/>
                  </a:lnTo>
                  <a:lnTo>
                    <a:pt x="75" y="368"/>
                  </a:lnTo>
                  <a:lnTo>
                    <a:pt x="77" y="371"/>
                  </a:lnTo>
                  <a:lnTo>
                    <a:pt x="77" y="371"/>
                  </a:lnTo>
                  <a:lnTo>
                    <a:pt x="79" y="371"/>
                  </a:lnTo>
                  <a:lnTo>
                    <a:pt x="83" y="371"/>
                  </a:lnTo>
                  <a:lnTo>
                    <a:pt x="85" y="371"/>
                  </a:lnTo>
                  <a:lnTo>
                    <a:pt x="90" y="373"/>
                  </a:lnTo>
                  <a:lnTo>
                    <a:pt x="90" y="373"/>
                  </a:lnTo>
                  <a:lnTo>
                    <a:pt x="92" y="375"/>
                  </a:lnTo>
                  <a:lnTo>
                    <a:pt x="92" y="379"/>
                  </a:lnTo>
                  <a:lnTo>
                    <a:pt x="94" y="384"/>
                  </a:lnTo>
                  <a:lnTo>
                    <a:pt x="101" y="388"/>
                  </a:lnTo>
                  <a:lnTo>
                    <a:pt x="103" y="388"/>
                  </a:lnTo>
                  <a:lnTo>
                    <a:pt x="105" y="388"/>
                  </a:lnTo>
                  <a:lnTo>
                    <a:pt x="118" y="382"/>
                  </a:lnTo>
                  <a:lnTo>
                    <a:pt x="123" y="377"/>
                  </a:lnTo>
                  <a:lnTo>
                    <a:pt x="136" y="360"/>
                  </a:lnTo>
                  <a:lnTo>
                    <a:pt x="138" y="357"/>
                  </a:lnTo>
                  <a:lnTo>
                    <a:pt x="140" y="357"/>
                  </a:lnTo>
                  <a:lnTo>
                    <a:pt x="149" y="355"/>
                  </a:lnTo>
                  <a:lnTo>
                    <a:pt x="173" y="355"/>
                  </a:lnTo>
                  <a:lnTo>
                    <a:pt x="180" y="355"/>
                  </a:lnTo>
                  <a:lnTo>
                    <a:pt x="186" y="360"/>
                  </a:lnTo>
                  <a:lnTo>
                    <a:pt x="191" y="362"/>
                  </a:lnTo>
                  <a:lnTo>
                    <a:pt x="193" y="362"/>
                  </a:lnTo>
                  <a:lnTo>
                    <a:pt x="195" y="366"/>
                  </a:lnTo>
                  <a:lnTo>
                    <a:pt x="195" y="368"/>
                  </a:lnTo>
                  <a:lnTo>
                    <a:pt x="197" y="373"/>
                  </a:lnTo>
                  <a:lnTo>
                    <a:pt x="200" y="373"/>
                  </a:lnTo>
                  <a:lnTo>
                    <a:pt x="202" y="373"/>
                  </a:lnTo>
                  <a:lnTo>
                    <a:pt x="202" y="375"/>
                  </a:lnTo>
                  <a:lnTo>
                    <a:pt x="239" y="377"/>
                  </a:lnTo>
                  <a:lnTo>
                    <a:pt x="248" y="379"/>
                  </a:lnTo>
                  <a:lnTo>
                    <a:pt x="255" y="386"/>
                  </a:lnTo>
                  <a:lnTo>
                    <a:pt x="281" y="375"/>
                  </a:lnTo>
                  <a:lnTo>
                    <a:pt x="285" y="371"/>
                  </a:lnTo>
                  <a:lnTo>
                    <a:pt x="287" y="368"/>
                  </a:lnTo>
                  <a:lnTo>
                    <a:pt x="283" y="357"/>
                  </a:lnTo>
                  <a:lnTo>
                    <a:pt x="277" y="325"/>
                  </a:lnTo>
                  <a:lnTo>
                    <a:pt x="277" y="320"/>
                  </a:lnTo>
                  <a:lnTo>
                    <a:pt x="277" y="316"/>
                  </a:lnTo>
                  <a:lnTo>
                    <a:pt x="279" y="305"/>
                  </a:lnTo>
                  <a:lnTo>
                    <a:pt x="281" y="300"/>
                  </a:lnTo>
                  <a:lnTo>
                    <a:pt x="283" y="298"/>
                  </a:lnTo>
                  <a:lnTo>
                    <a:pt x="285" y="294"/>
                  </a:lnTo>
                  <a:lnTo>
                    <a:pt x="292" y="292"/>
                  </a:lnTo>
                  <a:lnTo>
                    <a:pt x="294" y="289"/>
                  </a:lnTo>
                  <a:lnTo>
                    <a:pt x="301" y="287"/>
                  </a:lnTo>
                  <a:lnTo>
                    <a:pt x="303" y="287"/>
                  </a:lnTo>
                  <a:lnTo>
                    <a:pt x="316" y="285"/>
                  </a:lnTo>
                  <a:lnTo>
                    <a:pt x="338" y="287"/>
                  </a:lnTo>
                  <a:lnTo>
                    <a:pt x="351" y="285"/>
                  </a:lnTo>
                  <a:lnTo>
                    <a:pt x="364" y="283"/>
                  </a:lnTo>
                  <a:lnTo>
                    <a:pt x="371" y="281"/>
                  </a:lnTo>
                  <a:lnTo>
                    <a:pt x="406" y="263"/>
                  </a:lnTo>
                  <a:lnTo>
                    <a:pt x="408" y="263"/>
                  </a:lnTo>
                  <a:lnTo>
                    <a:pt x="413" y="263"/>
                  </a:lnTo>
                  <a:lnTo>
                    <a:pt x="435" y="265"/>
                  </a:lnTo>
                  <a:lnTo>
                    <a:pt x="435" y="265"/>
                  </a:lnTo>
                  <a:lnTo>
                    <a:pt x="474" y="259"/>
                  </a:lnTo>
                  <a:lnTo>
                    <a:pt x="516" y="239"/>
                  </a:lnTo>
                  <a:lnTo>
                    <a:pt x="492" y="204"/>
                  </a:lnTo>
                  <a:lnTo>
                    <a:pt x="489" y="199"/>
                  </a:lnTo>
                  <a:lnTo>
                    <a:pt x="487" y="195"/>
                  </a:lnTo>
                  <a:lnTo>
                    <a:pt x="483" y="188"/>
                  </a:lnTo>
                  <a:lnTo>
                    <a:pt x="483" y="186"/>
                  </a:lnTo>
                  <a:lnTo>
                    <a:pt x="483" y="184"/>
                  </a:lnTo>
                  <a:lnTo>
                    <a:pt x="483" y="182"/>
                  </a:lnTo>
                  <a:lnTo>
                    <a:pt x="485" y="173"/>
                  </a:lnTo>
                  <a:lnTo>
                    <a:pt x="489" y="158"/>
                  </a:lnTo>
                  <a:lnTo>
                    <a:pt x="492" y="149"/>
                  </a:lnTo>
                  <a:lnTo>
                    <a:pt x="492" y="145"/>
                  </a:lnTo>
                  <a:lnTo>
                    <a:pt x="492" y="142"/>
                  </a:lnTo>
                  <a:lnTo>
                    <a:pt x="489" y="134"/>
                  </a:lnTo>
                  <a:lnTo>
                    <a:pt x="489" y="131"/>
                  </a:lnTo>
                  <a:lnTo>
                    <a:pt x="492" y="129"/>
                  </a:lnTo>
                  <a:lnTo>
                    <a:pt x="492" y="127"/>
                  </a:lnTo>
                  <a:lnTo>
                    <a:pt x="492" y="127"/>
                  </a:lnTo>
                  <a:lnTo>
                    <a:pt x="496" y="120"/>
                  </a:lnTo>
                  <a:lnTo>
                    <a:pt x="500" y="112"/>
                  </a:lnTo>
                  <a:lnTo>
                    <a:pt x="500" y="105"/>
                  </a:lnTo>
                  <a:lnTo>
                    <a:pt x="503" y="85"/>
                  </a:lnTo>
                  <a:lnTo>
                    <a:pt x="503" y="83"/>
                  </a:lnTo>
                  <a:lnTo>
                    <a:pt x="503" y="81"/>
                  </a:lnTo>
                  <a:lnTo>
                    <a:pt x="505" y="81"/>
                  </a:lnTo>
                  <a:lnTo>
                    <a:pt x="507" y="79"/>
                  </a:lnTo>
                  <a:lnTo>
                    <a:pt x="518" y="74"/>
                  </a:lnTo>
                  <a:lnTo>
                    <a:pt x="520" y="72"/>
                  </a:lnTo>
                  <a:lnTo>
                    <a:pt x="522" y="70"/>
                  </a:lnTo>
                  <a:lnTo>
                    <a:pt x="522" y="68"/>
                  </a:lnTo>
                  <a:lnTo>
                    <a:pt x="522" y="66"/>
                  </a:lnTo>
                  <a:lnTo>
                    <a:pt x="522" y="66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99" name="Freeform 8"/>
            <p:cNvSpPr>
              <a:spLocks/>
            </p:cNvSpPr>
            <p:nvPr/>
          </p:nvSpPr>
          <p:spPr bwMode="auto">
            <a:xfrm>
              <a:off x="5346700" y="4598988"/>
              <a:ext cx="449263" cy="655637"/>
            </a:xfrm>
            <a:custGeom>
              <a:avLst/>
              <a:gdLst>
                <a:gd name="T0" fmla="*/ 274 w 283"/>
                <a:gd name="T1" fmla="*/ 169 h 413"/>
                <a:gd name="T2" fmla="*/ 279 w 283"/>
                <a:gd name="T3" fmla="*/ 162 h 413"/>
                <a:gd name="T4" fmla="*/ 279 w 283"/>
                <a:gd name="T5" fmla="*/ 158 h 413"/>
                <a:gd name="T6" fmla="*/ 279 w 283"/>
                <a:gd name="T7" fmla="*/ 147 h 413"/>
                <a:gd name="T8" fmla="*/ 274 w 283"/>
                <a:gd name="T9" fmla="*/ 125 h 413"/>
                <a:gd name="T10" fmla="*/ 259 w 283"/>
                <a:gd name="T11" fmla="*/ 99 h 413"/>
                <a:gd name="T12" fmla="*/ 248 w 283"/>
                <a:gd name="T13" fmla="*/ 90 h 413"/>
                <a:gd name="T14" fmla="*/ 241 w 283"/>
                <a:gd name="T15" fmla="*/ 90 h 413"/>
                <a:gd name="T16" fmla="*/ 246 w 283"/>
                <a:gd name="T17" fmla="*/ 48 h 413"/>
                <a:gd name="T18" fmla="*/ 239 w 283"/>
                <a:gd name="T19" fmla="*/ 11 h 413"/>
                <a:gd name="T20" fmla="*/ 208 w 283"/>
                <a:gd name="T21" fmla="*/ 0 h 413"/>
                <a:gd name="T22" fmla="*/ 202 w 283"/>
                <a:gd name="T23" fmla="*/ 7 h 413"/>
                <a:gd name="T24" fmla="*/ 180 w 283"/>
                <a:gd name="T25" fmla="*/ 11 h 413"/>
                <a:gd name="T26" fmla="*/ 158 w 283"/>
                <a:gd name="T27" fmla="*/ 13 h 413"/>
                <a:gd name="T28" fmla="*/ 145 w 283"/>
                <a:gd name="T29" fmla="*/ 7 h 413"/>
                <a:gd name="T30" fmla="*/ 136 w 283"/>
                <a:gd name="T31" fmla="*/ 4 h 413"/>
                <a:gd name="T32" fmla="*/ 127 w 283"/>
                <a:gd name="T33" fmla="*/ 15 h 413"/>
                <a:gd name="T34" fmla="*/ 138 w 283"/>
                <a:gd name="T35" fmla="*/ 29 h 413"/>
                <a:gd name="T36" fmla="*/ 132 w 283"/>
                <a:gd name="T37" fmla="*/ 55 h 413"/>
                <a:gd name="T38" fmla="*/ 118 w 283"/>
                <a:gd name="T39" fmla="*/ 59 h 413"/>
                <a:gd name="T40" fmla="*/ 125 w 283"/>
                <a:gd name="T41" fmla="*/ 75 h 413"/>
                <a:gd name="T42" fmla="*/ 105 w 283"/>
                <a:gd name="T43" fmla="*/ 88 h 413"/>
                <a:gd name="T44" fmla="*/ 79 w 283"/>
                <a:gd name="T45" fmla="*/ 110 h 413"/>
                <a:gd name="T46" fmla="*/ 70 w 283"/>
                <a:gd name="T47" fmla="*/ 123 h 413"/>
                <a:gd name="T48" fmla="*/ 64 w 283"/>
                <a:gd name="T49" fmla="*/ 134 h 413"/>
                <a:gd name="T50" fmla="*/ 37 w 283"/>
                <a:gd name="T51" fmla="*/ 169 h 413"/>
                <a:gd name="T52" fmla="*/ 35 w 283"/>
                <a:gd name="T53" fmla="*/ 195 h 413"/>
                <a:gd name="T54" fmla="*/ 20 w 283"/>
                <a:gd name="T55" fmla="*/ 209 h 413"/>
                <a:gd name="T56" fmla="*/ 20 w 283"/>
                <a:gd name="T57" fmla="*/ 231 h 413"/>
                <a:gd name="T58" fmla="*/ 11 w 283"/>
                <a:gd name="T59" fmla="*/ 244 h 413"/>
                <a:gd name="T60" fmla="*/ 2 w 283"/>
                <a:gd name="T61" fmla="*/ 263 h 413"/>
                <a:gd name="T62" fmla="*/ 9 w 283"/>
                <a:gd name="T63" fmla="*/ 272 h 413"/>
                <a:gd name="T64" fmla="*/ 48 w 283"/>
                <a:gd name="T65" fmla="*/ 279 h 413"/>
                <a:gd name="T66" fmla="*/ 53 w 283"/>
                <a:gd name="T67" fmla="*/ 301 h 413"/>
                <a:gd name="T68" fmla="*/ 55 w 283"/>
                <a:gd name="T69" fmla="*/ 323 h 413"/>
                <a:gd name="T70" fmla="*/ 48 w 283"/>
                <a:gd name="T71" fmla="*/ 349 h 413"/>
                <a:gd name="T72" fmla="*/ 48 w 283"/>
                <a:gd name="T73" fmla="*/ 362 h 413"/>
                <a:gd name="T74" fmla="*/ 72 w 283"/>
                <a:gd name="T75" fmla="*/ 375 h 413"/>
                <a:gd name="T76" fmla="*/ 92 w 283"/>
                <a:gd name="T77" fmla="*/ 384 h 413"/>
                <a:gd name="T78" fmla="*/ 127 w 283"/>
                <a:gd name="T79" fmla="*/ 404 h 413"/>
                <a:gd name="T80" fmla="*/ 151 w 283"/>
                <a:gd name="T81" fmla="*/ 402 h 413"/>
                <a:gd name="T82" fmla="*/ 200 w 283"/>
                <a:gd name="T83" fmla="*/ 389 h 413"/>
                <a:gd name="T84" fmla="*/ 189 w 283"/>
                <a:gd name="T85" fmla="*/ 307 h 413"/>
                <a:gd name="T86" fmla="*/ 180 w 283"/>
                <a:gd name="T87" fmla="*/ 296 h 413"/>
                <a:gd name="T88" fmla="*/ 176 w 283"/>
                <a:gd name="T89" fmla="*/ 288 h 413"/>
                <a:gd name="T90" fmla="*/ 169 w 283"/>
                <a:gd name="T91" fmla="*/ 261 h 413"/>
                <a:gd name="T92" fmla="*/ 191 w 283"/>
                <a:gd name="T93" fmla="*/ 255 h 413"/>
                <a:gd name="T94" fmla="*/ 202 w 283"/>
                <a:gd name="T95" fmla="*/ 266 h 413"/>
                <a:gd name="T96" fmla="*/ 224 w 283"/>
                <a:gd name="T97" fmla="*/ 261 h 413"/>
                <a:gd name="T98" fmla="*/ 211 w 283"/>
                <a:gd name="T99" fmla="*/ 250 h 413"/>
                <a:gd name="T100" fmla="*/ 226 w 283"/>
                <a:gd name="T101" fmla="*/ 233 h 413"/>
                <a:gd name="T102" fmla="*/ 237 w 283"/>
                <a:gd name="T103" fmla="*/ 233 h 413"/>
                <a:gd name="T104" fmla="*/ 259 w 283"/>
                <a:gd name="T105" fmla="*/ 226 h 413"/>
                <a:gd name="T106" fmla="*/ 259 w 283"/>
                <a:gd name="T107" fmla="*/ 211 h 413"/>
                <a:gd name="T108" fmla="*/ 261 w 283"/>
                <a:gd name="T109" fmla="*/ 200 h 413"/>
                <a:gd name="T110" fmla="*/ 279 w 283"/>
                <a:gd name="T111" fmla="*/ 204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3" h="413">
                  <a:moveTo>
                    <a:pt x="283" y="198"/>
                  </a:moveTo>
                  <a:lnTo>
                    <a:pt x="283" y="195"/>
                  </a:lnTo>
                  <a:lnTo>
                    <a:pt x="277" y="182"/>
                  </a:lnTo>
                  <a:lnTo>
                    <a:pt x="272" y="178"/>
                  </a:lnTo>
                  <a:lnTo>
                    <a:pt x="274" y="171"/>
                  </a:lnTo>
                  <a:lnTo>
                    <a:pt x="274" y="169"/>
                  </a:lnTo>
                  <a:lnTo>
                    <a:pt x="272" y="162"/>
                  </a:lnTo>
                  <a:lnTo>
                    <a:pt x="274" y="162"/>
                  </a:lnTo>
                  <a:lnTo>
                    <a:pt x="274" y="162"/>
                  </a:lnTo>
                  <a:lnTo>
                    <a:pt x="277" y="162"/>
                  </a:lnTo>
                  <a:lnTo>
                    <a:pt x="279" y="162"/>
                  </a:lnTo>
                  <a:lnTo>
                    <a:pt x="279" y="162"/>
                  </a:lnTo>
                  <a:lnTo>
                    <a:pt x="279" y="162"/>
                  </a:lnTo>
                  <a:lnTo>
                    <a:pt x="279" y="160"/>
                  </a:lnTo>
                  <a:lnTo>
                    <a:pt x="279" y="160"/>
                  </a:lnTo>
                  <a:lnTo>
                    <a:pt x="279" y="158"/>
                  </a:lnTo>
                  <a:lnTo>
                    <a:pt x="279" y="158"/>
                  </a:lnTo>
                  <a:lnTo>
                    <a:pt x="279" y="158"/>
                  </a:lnTo>
                  <a:lnTo>
                    <a:pt x="281" y="156"/>
                  </a:lnTo>
                  <a:lnTo>
                    <a:pt x="281" y="154"/>
                  </a:lnTo>
                  <a:lnTo>
                    <a:pt x="281" y="154"/>
                  </a:lnTo>
                  <a:lnTo>
                    <a:pt x="281" y="152"/>
                  </a:lnTo>
                  <a:lnTo>
                    <a:pt x="281" y="149"/>
                  </a:lnTo>
                  <a:lnTo>
                    <a:pt x="279" y="147"/>
                  </a:lnTo>
                  <a:lnTo>
                    <a:pt x="274" y="138"/>
                  </a:lnTo>
                  <a:lnTo>
                    <a:pt x="274" y="136"/>
                  </a:lnTo>
                  <a:lnTo>
                    <a:pt x="274" y="134"/>
                  </a:lnTo>
                  <a:lnTo>
                    <a:pt x="274" y="132"/>
                  </a:lnTo>
                  <a:lnTo>
                    <a:pt x="274" y="130"/>
                  </a:lnTo>
                  <a:lnTo>
                    <a:pt x="274" y="125"/>
                  </a:lnTo>
                  <a:lnTo>
                    <a:pt x="274" y="123"/>
                  </a:lnTo>
                  <a:lnTo>
                    <a:pt x="274" y="121"/>
                  </a:lnTo>
                  <a:lnTo>
                    <a:pt x="272" y="116"/>
                  </a:lnTo>
                  <a:lnTo>
                    <a:pt x="263" y="105"/>
                  </a:lnTo>
                  <a:lnTo>
                    <a:pt x="259" y="101"/>
                  </a:lnTo>
                  <a:lnTo>
                    <a:pt x="259" y="99"/>
                  </a:lnTo>
                  <a:lnTo>
                    <a:pt x="257" y="92"/>
                  </a:lnTo>
                  <a:lnTo>
                    <a:pt x="255" y="92"/>
                  </a:lnTo>
                  <a:lnTo>
                    <a:pt x="255" y="92"/>
                  </a:lnTo>
                  <a:lnTo>
                    <a:pt x="252" y="90"/>
                  </a:lnTo>
                  <a:lnTo>
                    <a:pt x="250" y="90"/>
                  </a:lnTo>
                  <a:lnTo>
                    <a:pt x="248" y="90"/>
                  </a:lnTo>
                  <a:lnTo>
                    <a:pt x="248" y="90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4" y="92"/>
                  </a:lnTo>
                  <a:lnTo>
                    <a:pt x="244" y="92"/>
                  </a:lnTo>
                  <a:lnTo>
                    <a:pt x="241" y="90"/>
                  </a:lnTo>
                  <a:lnTo>
                    <a:pt x="239" y="90"/>
                  </a:lnTo>
                  <a:lnTo>
                    <a:pt x="233" y="79"/>
                  </a:lnTo>
                  <a:lnTo>
                    <a:pt x="237" y="68"/>
                  </a:lnTo>
                  <a:lnTo>
                    <a:pt x="241" y="53"/>
                  </a:lnTo>
                  <a:lnTo>
                    <a:pt x="244" y="51"/>
                  </a:lnTo>
                  <a:lnTo>
                    <a:pt x="246" y="48"/>
                  </a:lnTo>
                  <a:lnTo>
                    <a:pt x="252" y="42"/>
                  </a:lnTo>
                  <a:lnTo>
                    <a:pt x="263" y="33"/>
                  </a:lnTo>
                  <a:lnTo>
                    <a:pt x="255" y="24"/>
                  </a:lnTo>
                  <a:lnTo>
                    <a:pt x="241" y="13"/>
                  </a:lnTo>
                  <a:lnTo>
                    <a:pt x="241" y="11"/>
                  </a:lnTo>
                  <a:lnTo>
                    <a:pt x="239" y="11"/>
                  </a:lnTo>
                  <a:lnTo>
                    <a:pt x="235" y="11"/>
                  </a:lnTo>
                  <a:lnTo>
                    <a:pt x="226" y="4"/>
                  </a:lnTo>
                  <a:lnTo>
                    <a:pt x="222" y="2"/>
                  </a:lnTo>
                  <a:lnTo>
                    <a:pt x="217" y="2"/>
                  </a:lnTo>
                  <a:lnTo>
                    <a:pt x="211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6" y="2"/>
                  </a:lnTo>
                  <a:lnTo>
                    <a:pt x="204" y="2"/>
                  </a:lnTo>
                  <a:lnTo>
                    <a:pt x="204" y="2"/>
                  </a:lnTo>
                  <a:lnTo>
                    <a:pt x="202" y="4"/>
                  </a:lnTo>
                  <a:lnTo>
                    <a:pt x="202" y="7"/>
                  </a:lnTo>
                  <a:lnTo>
                    <a:pt x="200" y="9"/>
                  </a:lnTo>
                  <a:lnTo>
                    <a:pt x="200" y="9"/>
                  </a:lnTo>
                  <a:lnTo>
                    <a:pt x="191" y="11"/>
                  </a:lnTo>
                  <a:lnTo>
                    <a:pt x="187" y="11"/>
                  </a:lnTo>
                  <a:lnTo>
                    <a:pt x="182" y="11"/>
                  </a:lnTo>
                  <a:lnTo>
                    <a:pt x="180" y="11"/>
                  </a:lnTo>
                  <a:lnTo>
                    <a:pt x="178" y="11"/>
                  </a:lnTo>
                  <a:lnTo>
                    <a:pt x="176" y="9"/>
                  </a:lnTo>
                  <a:lnTo>
                    <a:pt x="173" y="9"/>
                  </a:lnTo>
                  <a:lnTo>
                    <a:pt x="167" y="11"/>
                  </a:lnTo>
                  <a:lnTo>
                    <a:pt x="160" y="13"/>
                  </a:lnTo>
                  <a:lnTo>
                    <a:pt x="158" y="13"/>
                  </a:lnTo>
                  <a:lnTo>
                    <a:pt x="156" y="13"/>
                  </a:lnTo>
                  <a:lnTo>
                    <a:pt x="151" y="11"/>
                  </a:lnTo>
                  <a:lnTo>
                    <a:pt x="149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5" y="7"/>
                  </a:lnTo>
                  <a:lnTo>
                    <a:pt x="143" y="2"/>
                  </a:lnTo>
                  <a:lnTo>
                    <a:pt x="140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6" y="2"/>
                  </a:lnTo>
                  <a:lnTo>
                    <a:pt x="136" y="4"/>
                  </a:lnTo>
                  <a:lnTo>
                    <a:pt x="134" y="7"/>
                  </a:lnTo>
                  <a:lnTo>
                    <a:pt x="134" y="7"/>
                  </a:lnTo>
                  <a:lnTo>
                    <a:pt x="129" y="11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5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2" y="22"/>
                  </a:lnTo>
                  <a:lnTo>
                    <a:pt x="136" y="26"/>
                  </a:lnTo>
                  <a:lnTo>
                    <a:pt x="136" y="26"/>
                  </a:lnTo>
                  <a:lnTo>
                    <a:pt x="138" y="29"/>
                  </a:lnTo>
                  <a:lnTo>
                    <a:pt x="138" y="31"/>
                  </a:lnTo>
                  <a:lnTo>
                    <a:pt x="138" y="35"/>
                  </a:lnTo>
                  <a:lnTo>
                    <a:pt x="138" y="37"/>
                  </a:lnTo>
                  <a:lnTo>
                    <a:pt x="138" y="40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29" y="55"/>
                  </a:lnTo>
                  <a:lnTo>
                    <a:pt x="127" y="57"/>
                  </a:lnTo>
                  <a:lnTo>
                    <a:pt x="123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18" y="59"/>
                  </a:lnTo>
                  <a:lnTo>
                    <a:pt x="121" y="62"/>
                  </a:lnTo>
                  <a:lnTo>
                    <a:pt x="121" y="62"/>
                  </a:lnTo>
                  <a:lnTo>
                    <a:pt x="123" y="66"/>
                  </a:lnTo>
                  <a:lnTo>
                    <a:pt x="123" y="70"/>
                  </a:lnTo>
                  <a:lnTo>
                    <a:pt x="123" y="70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16" y="77"/>
                  </a:lnTo>
                  <a:lnTo>
                    <a:pt x="112" y="81"/>
                  </a:lnTo>
                  <a:lnTo>
                    <a:pt x="105" y="88"/>
                  </a:lnTo>
                  <a:lnTo>
                    <a:pt x="103" y="90"/>
                  </a:lnTo>
                  <a:lnTo>
                    <a:pt x="101" y="92"/>
                  </a:lnTo>
                  <a:lnTo>
                    <a:pt x="99" y="92"/>
                  </a:lnTo>
                  <a:lnTo>
                    <a:pt x="94" y="92"/>
                  </a:lnTo>
                  <a:lnTo>
                    <a:pt x="92" y="94"/>
                  </a:lnTo>
                  <a:lnTo>
                    <a:pt x="79" y="110"/>
                  </a:lnTo>
                  <a:lnTo>
                    <a:pt x="77" y="112"/>
                  </a:lnTo>
                  <a:lnTo>
                    <a:pt x="75" y="114"/>
                  </a:lnTo>
                  <a:lnTo>
                    <a:pt x="75" y="119"/>
                  </a:lnTo>
                  <a:lnTo>
                    <a:pt x="72" y="121"/>
                  </a:lnTo>
                  <a:lnTo>
                    <a:pt x="72" y="123"/>
                  </a:lnTo>
                  <a:lnTo>
                    <a:pt x="70" y="123"/>
                  </a:lnTo>
                  <a:lnTo>
                    <a:pt x="68" y="125"/>
                  </a:lnTo>
                  <a:lnTo>
                    <a:pt x="66" y="125"/>
                  </a:lnTo>
                  <a:lnTo>
                    <a:pt x="66" y="127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4" y="134"/>
                  </a:lnTo>
                  <a:lnTo>
                    <a:pt x="64" y="141"/>
                  </a:lnTo>
                  <a:lnTo>
                    <a:pt x="59" y="149"/>
                  </a:lnTo>
                  <a:lnTo>
                    <a:pt x="55" y="156"/>
                  </a:lnTo>
                  <a:lnTo>
                    <a:pt x="46" y="162"/>
                  </a:lnTo>
                  <a:lnTo>
                    <a:pt x="39" y="167"/>
                  </a:lnTo>
                  <a:lnTo>
                    <a:pt x="37" y="169"/>
                  </a:lnTo>
                  <a:lnTo>
                    <a:pt x="37" y="173"/>
                  </a:lnTo>
                  <a:lnTo>
                    <a:pt x="35" y="184"/>
                  </a:lnTo>
                  <a:lnTo>
                    <a:pt x="33" y="191"/>
                  </a:lnTo>
                  <a:lnTo>
                    <a:pt x="33" y="193"/>
                  </a:lnTo>
                  <a:lnTo>
                    <a:pt x="33" y="193"/>
                  </a:lnTo>
                  <a:lnTo>
                    <a:pt x="35" y="195"/>
                  </a:lnTo>
                  <a:lnTo>
                    <a:pt x="33" y="195"/>
                  </a:lnTo>
                  <a:lnTo>
                    <a:pt x="33" y="198"/>
                  </a:lnTo>
                  <a:lnTo>
                    <a:pt x="31" y="202"/>
                  </a:lnTo>
                  <a:lnTo>
                    <a:pt x="28" y="204"/>
                  </a:lnTo>
                  <a:lnTo>
                    <a:pt x="26" y="206"/>
                  </a:lnTo>
                  <a:lnTo>
                    <a:pt x="20" y="209"/>
                  </a:lnTo>
                  <a:lnTo>
                    <a:pt x="20" y="211"/>
                  </a:lnTo>
                  <a:lnTo>
                    <a:pt x="17" y="213"/>
                  </a:lnTo>
                  <a:lnTo>
                    <a:pt x="17" y="215"/>
                  </a:lnTo>
                  <a:lnTo>
                    <a:pt x="20" y="226"/>
                  </a:lnTo>
                  <a:lnTo>
                    <a:pt x="20" y="228"/>
                  </a:lnTo>
                  <a:lnTo>
                    <a:pt x="20" y="231"/>
                  </a:lnTo>
                  <a:lnTo>
                    <a:pt x="20" y="235"/>
                  </a:lnTo>
                  <a:lnTo>
                    <a:pt x="17" y="237"/>
                  </a:lnTo>
                  <a:lnTo>
                    <a:pt x="15" y="239"/>
                  </a:lnTo>
                  <a:lnTo>
                    <a:pt x="13" y="242"/>
                  </a:lnTo>
                  <a:lnTo>
                    <a:pt x="11" y="242"/>
                  </a:lnTo>
                  <a:lnTo>
                    <a:pt x="11" y="244"/>
                  </a:lnTo>
                  <a:lnTo>
                    <a:pt x="9" y="246"/>
                  </a:lnTo>
                  <a:lnTo>
                    <a:pt x="9" y="250"/>
                  </a:lnTo>
                  <a:lnTo>
                    <a:pt x="9" y="252"/>
                  </a:lnTo>
                  <a:lnTo>
                    <a:pt x="6" y="255"/>
                  </a:lnTo>
                  <a:lnTo>
                    <a:pt x="4" y="259"/>
                  </a:lnTo>
                  <a:lnTo>
                    <a:pt x="2" y="263"/>
                  </a:lnTo>
                  <a:lnTo>
                    <a:pt x="2" y="263"/>
                  </a:lnTo>
                  <a:lnTo>
                    <a:pt x="0" y="266"/>
                  </a:lnTo>
                  <a:lnTo>
                    <a:pt x="2" y="268"/>
                  </a:lnTo>
                  <a:lnTo>
                    <a:pt x="2" y="270"/>
                  </a:lnTo>
                  <a:lnTo>
                    <a:pt x="4" y="272"/>
                  </a:lnTo>
                  <a:lnTo>
                    <a:pt x="9" y="272"/>
                  </a:lnTo>
                  <a:lnTo>
                    <a:pt x="22" y="272"/>
                  </a:lnTo>
                  <a:lnTo>
                    <a:pt x="24" y="272"/>
                  </a:lnTo>
                  <a:lnTo>
                    <a:pt x="28" y="272"/>
                  </a:lnTo>
                  <a:lnTo>
                    <a:pt x="35" y="274"/>
                  </a:lnTo>
                  <a:lnTo>
                    <a:pt x="44" y="279"/>
                  </a:lnTo>
                  <a:lnTo>
                    <a:pt x="48" y="279"/>
                  </a:lnTo>
                  <a:lnTo>
                    <a:pt x="55" y="279"/>
                  </a:lnTo>
                  <a:lnTo>
                    <a:pt x="57" y="281"/>
                  </a:lnTo>
                  <a:lnTo>
                    <a:pt x="59" y="281"/>
                  </a:lnTo>
                  <a:lnTo>
                    <a:pt x="59" y="283"/>
                  </a:lnTo>
                  <a:lnTo>
                    <a:pt x="55" y="296"/>
                  </a:lnTo>
                  <a:lnTo>
                    <a:pt x="53" y="301"/>
                  </a:lnTo>
                  <a:lnTo>
                    <a:pt x="50" y="303"/>
                  </a:lnTo>
                  <a:lnTo>
                    <a:pt x="48" y="305"/>
                  </a:lnTo>
                  <a:lnTo>
                    <a:pt x="53" y="314"/>
                  </a:lnTo>
                  <a:lnTo>
                    <a:pt x="53" y="318"/>
                  </a:lnTo>
                  <a:lnTo>
                    <a:pt x="55" y="321"/>
                  </a:lnTo>
                  <a:lnTo>
                    <a:pt x="55" y="323"/>
                  </a:lnTo>
                  <a:lnTo>
                    <a:pt x="48" y="334"/>
                  </a:lnTo>
                  <a:lnTo>
                    <a:pt x="46" y="338"/>
                  </a:lnTo>
                  <a:lnTo>
                    <a:pt x="46" y="340"/>
                  </a:lnTo>
                  <a:lnTo>
                    <a:pt x="46" y="342"/>
                  </a:lnTo>
                  <a:lnTo>
                    <a:pt x="46" y="342"/>
                  </a:lnTo>
                  <a:lnTo>
                    <a:pt x="48" y="349"/>
                  </a:lnTo>
                  <a:lnTo>
                    <a:pt x="50" y="351"/>
                  </a:lnTo>
                  <a:lnTo>
                    <a:pt x="48" y="351"/>
                  </a:lnTo>
                  <a:lnTo>
                    <a:pt x="48" y="356"/>
                  </a:lnTo>
                  <a:lnTo>
                    <a:pt x="46" y="358"/>
                  </a:lnTo>
                  <a:lnTo>
                    <a:pt x="48" y="358"/>
                  </a:lnTo>
                  <a:lnTo>
                    <a:pt x="48" y="362"/>
                  </a:lnTo>
                  <a:lnTo>
                    <a:pt x="50" y="364"/>
                  </a:lnTo>
                  <a:lnTo>
                    <a:pt x="53" y="367"/>
                  </a:lnTo>
                  <a:lnTo>
                    <a:pt x="64" y="371"/>
                  </a:lnTo>
                  <a:lnTo>
                    <a:pt x="66" y="371"/>
                  </a:lnTo>
                  <a:lnTo>
                    <a:pt x="70" y="375"/>
                  </a:lnTo>
                  <a:lnTo>
                    <a:pt x="72" y="375"/>
                  </a:lnTo>
                  <a:lnTo>
                    <a:pt x="75" y="378"/>
                  </a:lnTo>
                  <a:lnTo>
                    <a:pt x="79" y="378"/>
                  </a:lnTo>
                  <a:lnTo>
                    <a:pt x="86" y="378"/>
                  </a:lnTo>
                  <a:lnTo>
                    <a:pt x="88" y="380"/>
                  </a:lnTo>
                  <a:lnTo>
                    <a:pt x="90" y="380"/>
                  </a:lnTo>
                  <a:lnTo>
                    <a:pt x="92" y="384"/>
                  </a:lnTo>
                  <a:lnTo>
                    <a:pt x="103" y="391"/>
                  </a:lnTo>
                  <a:lnTo>
                    <a:pt x="112" y="400"/>
                  </a:lnTo>
                  <a:lnTo>
                    <a:pt x="116" y="402"/>
                  </a:lnTo>
                  <a:lnTo>
                    <a:pt x="123" y="402"/>
                  </a:lnTo>
                  <a:lnTo>
                    <a:pt x="125" y="402"/>
                  </a:lnTo>
                  <a:lnTo>
                    <a:pt x="127" y="404"/>
                  </a:lnTo>
                  <a:lnTo>
                    <a:pt x="129" y="404"/>
                  </a:lnTo>
                  <a:lnTo>
                    <a:pt x="134" y="408"/>
                  </a:lnTo>
                  <a:lnTo>
                    <a:pt x="138" y="413"/>
                  </a:lnTo>
                  <a:lnTo>
                    <a:pt x="140" y="408"/>
                  </a:lnTo>
                  <a:lnTo>
                    <a:pt x="145" y="406"/>
                  </a:lnTo>
                  <a:lnTo>
                    <a:pt x="151" y="402"/>
                  </a:lnTo>
                  <a:lnTo>
                    <a:pt x="182" y="397"/>
                  </a:lnTo>
                  <a:lnTo>
                    <a:pt x="193" y="397"/>
                  </a:lnTo>
                  <a:lnTo>
                    <a:pt x="195" y="397"/>
                  </a:lnTo>
                  <a:lnTo>
                    <a:pt x="197" y="395"/>
                  </a:lnTo>
                  <a:lnTo>
                    <a:pt x="197" y="393"/>
                  </a:lnTo>
                  <a:lnTo>
                    <a:pt x="200" y="389"/>
                  </a:lnTo>
                  <a:lnTo>
                    <a:pt x="202" y="367"/>
                  </a:lnTo>
                  <a:lnTo>
                    <a:pt x="200" y="358"/>
                  </a:lnTo>
                  <a:lnTo>
                    <a:pt x="195" y="345"/>
                  </a:lnTo>
                  <a:lnTo>
                    <a:pt x="189" y="329"/>
                  </a:lnTo>
                  <a:lnTo>
                    <a:pt x="189" y="323"/>
                  </a:lnTo>
                  <a:lnTo>
                    <a:pt x="189" y="307"/>
                  </a:lnTo>
                  <a:lnTo>
                    <a:pt x="187" y="305"/>
                  </a:lnTo>
                  <a:lnTo>
                    <a:pt x="187" y="303"/>
                  </a:lnTo>
                  <a:lnTo>
                    <a:pt x="184" y="301"/>
                  </a:lnTo>
                  <a:lnTo>
                    <a:pt x="184" y="301"/>
                  </a:lnTo>
                  <a:lnTo>
                    <a:pt x="182" y="299"/>
                  </a:lnTo>
                  <a:lnTo>
                    <a:pt x="180" y="296"/>
                  </a:lnTo>
                  <a:lnTo>
                    <a:pt x="178" y="296"/>
                  </a:lnTo>
                  <a:lnTo>
                    <a:pt x="178" y="294"/>
                  </a:lnTo>
                  <a:lnTo>
                    <a:pt x="178" y="292"/>
                  </a:lnTo>
                  <a:lnTo>
                    <a:pt x="176" y="290"/>
                  </a:lnTo>
                  <a:lnTo>
                    <a:pt x="176" y="290"/>
                  </a:lnTo>
                  <a:lnTo>
                    <a:pt x="176" y="288"/>
                  </a:lnTo>
                  <a:lnTo>
                    <a:pt x="171" y="285"/>
                  </a:lnTo>
                  <a:lnTo>
                    <a:pt x="167" y="283"/>
                  </a:lnTo>
                  <a:lnTo>
                    <a:pt x="165" y="283"/>
                  </a:lnTo>
                  <a:lnTo>
                    <a:pt x="165" y="281"/>
                  </a:lnTo>
                  <a:lnTo>
                    <a:pt x="162" y="279"/>
                  </a:lnTo>
                  <a:lnTo>
                    <a:pt x="169" y="261"/>
                  </a:lnTo>
                  <a:lnTo>
                    <a:pt x="169" y="261"/>
                  </a:lnTo>
                  <a:lnTo>
                    <a:pt x="171" y="259"/>
                  </a:lnTo>
                  <a:lnTo>
                    <a:pt x="180" y="257"/>
                  </a:lnTo>
                  <a:lnTo>
                    <a:pt x="187" y="255"/>
                  </a:lnTo>
                  <a:lnTo>
                    <a:pt x="189" y="255"/>
                  </a:lnTo>
                  <a:lnTo>
                    <a:pt x="191" y="255"/>
                  </a:lnTo>
                  <a:lnTo>
                    <a:pt x="193" y="255"/>
                  </a:lnTo>
                  <a:lnTo>
                    <a:pt x="193" y="257"/>
                  </a:lnTo>
                  <a:lnTo>
                    <a:pt x="197" y="263"/>
                  </a:lnTo>
                  <a:lnTo>
                    <a:pt x="197" y="263"/>
                  </a:lnTo>
                  <a:lnTo>
                    <a:pt x="200" y="266"/>
                  </a:lnTo>
                  <a:lnTo>
                    <a:pt x="202" y="266"/>
                  </a:lnTo>
                  <a:lnTo>
                    <a:pt x="208" y="266"/>
                  </a:lnTo>
                  <a:lnTo>
                    <a:pt x="211" y="268"/>
                  </a:lnTo>
                  <a:lnTo>
                    <a:pt x="213" y="268"/>
                  </a:lnTo>
                  <a:lnTo>
                    <a:pt x="217" y="268"/>
                  </a:lnTo>
                  <a:lnTo>
                    <a:pt x="224" y="261"/>
                  </a:lnTo>
                  <a:lnTo>
                    <a:pt x="224" y="261"/>
                  </a:lnTo>
                  <a:lnTo>
                    <a:pt x="224" y="259"/>
                  </a:lnTo>
                  <a:lnTo>
                    <a:pt x="222" y="259"/>
                  </a:lnTo>
                  <a:lnTo>
                    <a:pt x="217" y="259"/>
                  </a:lnTo>
                  <a:lnTo>
                    <a:pt x="215" y="257"/>
                  </a:lnTo>
                  <a:lnTo>
                    <a:pt x="215" y="257"/>
                  </a:lnTo>
                  <a:lnTo>
                    <a:pt x="211" y="250"/>
                  </a:lnTo>
                  <a:lnTo>
                    <a:pt x="208" y="250"/>
                  </a:lnTo>
                  <a:lnTo>
                    <a:pt x="208" y="248"/>
                  </a:lnTo>
                  <a:lnTo>
                    <a:pt x="211" y="246"/>
                  </a:lnTo>
                  <a:lnTo>
                    <a:pt x="222" y="242"/>
                  </a:lnTo>
                  <a:lnTo>
                    <a:pt x="224" y="237"/>
                  </a:lnTo>
                  <a:lnTo>
                    <a:pt x="226" y="233"/>
                  </a:lnTo>
                  <a:lnTo>
                    <a:pt x="228" y="231"/>
                  </a:lnTo>
                  <a:lnTo>
                    <a:pt x="228" y="231"/>
                  </a:lnTo>
                  <a:lnTo>
                    <a:pt x="230" y="231"/>
                  </a:lnTo>
                  <a:lnTo>
                    <a:pt x="233" y="233"/>
                  </a:lnTo>
                  <a:lnTo>
                    <a:pt x="235" y="233"/>
                  </a:lnTo>
                  <a:lnTo>
                    <a:pt x="237" y="233"/>
                  </a:lnTo>
                  <a:lnTo>
                    <a:pt x="241" y="233"/>
                  </a:lnTo>
                  <a:lnTo>
                    <a:pt x="244" y="231"/>
                  </a:lnTo>
                  <a:lnTo>
                    <a:pt x="248" y="231"/>
                  </a:lnTo>
                  <a:lnTo>
                    <a:pt x="255" y="231"/>
                  </a:lnTo>
                  <a:lnTo>
                    <a:pt x="257" y="228"/>
                  </a:lnTo>
                  <a:lnTo>
                    <a:pt x="259" y="226"/>
                  </a:lnTo>
                  <a:lnTo>
                    <a:pt x="261" y="224"/>
                  </a:lnTo>
                  <a:lnTo>
                    <a:pt x="261" y="222"/>
                  </a:lnTo>
                  <a:lnTo>
                    <a:pt x="261" y="220"/>
                  </a:lnTo>
                  <a:lnTo>
                    <a:pt x="261" y="220"/>
                  </a:lnTo>
                  <a:lnTo>
                    <a:pt x="259" y="215"/>
                  </a:lnTo>
                  <a:lnTo>
                    <a:pt x="259" y="211"/>
                  </a:lnTo>
                  <a:lnTo>
                    <a:pt x="259" y="209"/>
                  </a:lnTo>
                  <a:lnTo>
                    <a:pt x="259" y="206"/>
                  </a:lnTo>
                  <a:lnTo>
                    <a:pt x="259" y="204"/>
                  </a:lnTo>
                  <a:lnTo>
                    <a:pt x="259" y="202"/>
                  </a:lnTo>
                  <a:lnTo>
                    <a:pt x="259" y="200"/>
                  </a:lnTo>
                  <a:lnTo>
                    <a:pt x="261" y="200"/>
                  </a:lnTo>
                  <a:lnTo>
                    <a:pt x="263" y="198"/>
                  </a:lnTo>
                  <a:lnTo>
                    <a:pt x="266" y="198"/>
                  </a:lnTo>
                  <a:lnTo>
                    <a:pt x="268" y="198"/>
                  </a:lnTo>
                  <a:lnTo>
                    <a:pt x="270" y="198"/>
                  </a:lnTo>
                  <a:lnTo>
                    <a:pt x="274" y="200"/>
                  </a:lnTo>
                  <a:lnTo>
                    <a:pt x="279" y="204"/>
                  </a:lnTo>
                  <a:lnTo>
                    <a:pt x="281" y="204"/>
                  </a:lnTo>
                  <a:lnTo>
                    <a:pt x="283" y="204"/>
                  </a:lnTo>
                  <a:lnTo>
                    <a:pt x="283" y="202"/>
                  </a:lnTo>
                  <a:lnTo>
                    <a:pt x="283" y="198"/>
                  </a:lnTo>
                  <a:lnTo>
                    <a:pt x="283" y="198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00" name="Freeform 10"/>
            <p:cNvSpPr>
              <a:spLocks/>
            </p:cNvSpPr>
            <p:nvPr/>
          </p:nvSpPr>
          <p:spPr bwMode="auto">
            <a:xfrm>
              <a:off x="4732338" y="4090988"/>
              <a:ext cx="715963" cy="912812"/>
            </a:xfrm>
            <a:custGeom>
              <a:avLst/>
              <a:gdLst>
                <a:gd name="T0" fmla="*/ 435 w 451"/>
                <a:gd name="T1" fmla="*/ 421 h 575"/>
                <a:gd name="T2" fmla="*/ 420 w 451"/>
                <a:gd name="T3" fmla="*/ 349 h 575"/>
                <a:gd name="T4" fmla="*/ 369 w 451"/>
                <a:gd name="T5" fmla="*/ 322 h 575"/>
                <a:gd name="T6" fmla="*/ 336 w 451"/>
                <a:gd name="T7" fmla="*/ 305 h 575"/>
                <a:gd name="T8" fmla="*/ 312 w 451"/>
                <a:gd name="T9" fmla="*/ 276 h 575"/>
                <a:gd name="T10" fmla="*/ 303 w 451"/>
                <a:gd name="T11" fmla="*/ 243 h 575"/>
                <a:gd name="T12" fmla="*/ 284 w 451"/>
                <a:gd name="T13" fmla="*/ 235 h 575"/>
                <a:gd name="T14" fmla="*/ 260 w 451"/>
                <a:gd name="T15" fmla="*/ 153 h 575"/>
                <a:gd name="T16" fmla="*/ 244 w 451"/>
                <a:gd name="T17" fmla="*/ 129 h 575"/>
                <a:gd name="T18" fmla="*/ 229 w 451"/>
                <a:gd name="T19" fmla="*/ 68 h 575"/>
                <a:gd name="T20" fmla="*/ 200 w 451"/>
                <a:gd name="T21" fmla="*/ 24 h 575"/>
                <a:gd name="T22" fmla="*/ 183 w 451"/>
                <a:gd name="T23" fmla="*/ 11 h 575"/>
                <a:gd name="T24" fmla="*/ 137 w 451"/>
                <a:gd name="T25" fmla="*/ 22 h 575"/>
                <a:gd name="T26" fmla="*/ 88 w 451"/>
                <a:gd name="T27" fmla="*/ 79 h 575"/>
                <a:gd name="T28" fmla="*/ 55 w 451"/>
                <a:gd name="T29" fmla="*/ 81 h 575"/>
                <a:gd name="T30" fmla="*/ 55 w 451"/>
                <a:gd name="T31" fmla="*/ 61 h 575"/>
                <a:gd name="T32" fmla="*/ 40 w 451"/>
                <a:gd name="T33" fmla="*/ 46 h 575"/>
                <a:gd name="T34" fmla="*/ 25 w 451"/>
                <a:gd name="T35" fmla="*/ 39 h 575"/>
                <a:gd name="T36" fmla="*/ 38 w 451"/>
                <a:gd name="T37" fmla="*/ 19 h 575"/>
                <a:gd name="T38" fmla="*/ 18 w 451"/>
                <a:gd name="T39" fmla="*/ 26 h 575"/>
                <a:gd name="T40" fmla="*/ 14 w 451"/>
                <a:gd name="T41" fmla="*/ 50 h 575"/>
                <a:gd name="T42" fmla="*/ 11 w 451"/>
                <a:gd name="T43" fmla="*/ 76 h 575"/>
                <a:gd name="T44" fmla="*/ 25 w 451"/>
                <a:gd name="T45" fmla="*/ 96 h 575"/>
                <a:gd name="T46" fmla="*/ 42 w 451"/>
                <a:gd name="T47" fmla="*/ 125 h 575"/>
                <a:gd name="T48" fmla="*/ 47 w 451"/>
                <a:gd name="T49" fmla="*/ 147 h 575"/>
                <a:gd name="T50" fmla="*/ 53 w 451"/>
                <a:gd name="T51" fmla="*/ 173 h 575"/>
                <a:gd name="T52" fmla="*/ 44 w 451"/>
                <a:gd name="T53" fmla="*/ 184 h 575"/>
                <a:gd name="T54" fmla="*/ 99 w 451"/>
                <a:gd name="T55" fmla="*/ 221 h 575"/>
                <a:gd name="T56" fmla="*/ 112 w 451"/>
                <a:gd name="T57" fmla="*/ 241 h 575"/>
                <a:gd name="T58" fmla="*/ 126 w 451"/>
                <a:gd name="T59" fmla="*/ 256 h 575"/>
                <a:gd name="T60" fmla="*/ 139 w 451"/>
                <a:gd name="T61" fmla="*/ 256 h 575"/>
                <a:gd name="T62" fmla="*/ 148 w 451"/>
                <a:gd name="T63" fmla="*/ 239 h 575"/>
                <a:gd name="T64" fmla="*/ 159 w 451"/>
                <a:gd name="T65" fmla="*/ 248 h 575"/>
                <a:gd name="T66" fmla="*/ 163 w 451"/>
                <a:gd name="T67" fmla="*/ 261 h 575"/>
                <a:gd name="T68" fmla="*/ 172 w 451"/>
                <a:gd name="T69" fmla="*/ 274 h 575"/>
                <a:gd name="T70" fmla="*/ 191 w 451"/>
                <a:gd name="T71" fmla="*/ 272 h 575"/>
                <a:gd name="T72" fmla="*/ 178 w 451"/>
                <a:gd name="T73" fmla="*/ 283 h 575"/>
                <a:gd name="T74" fmla="*/ 174 w 451"/>
                <a:gd name="T75" fmla="*/ 298 h 575"/>
                <a:gd name="T76" fmla="*/ 178 w 451"/>
                <a:gd name="T77" fmla="*/ 303 h 575"/>
                <a:gd name="T78" fmla="*/ 178 w 451"/>
                <a:gd name="T79" fmla="*/ 316 h 575"/>
                <a:gd name="T80" fmla="*/ 194 w 451"/>
                <a:gd name="T81" fmla="*/ 311 h 575"/>
                <a:gd name="T82" fmla="*/ 213 w 451"/>
                <a:gd name="T83" fmla="*/ 300 h 575"/>
                <a:gd name="T84" fmla="*/ 216 w 451"/>
                <a:gd name="T85" fmla="*/ 320 h 575"/>
                <a:gd name="T86" fmla="*/ 213 w 451"/>
                <a:gd name="T87" fmla="*/ 331 h 575"/>
                <a:gd name="T88" fmla="*/ 218 w 451"/>
                <a:gd name="T89" fmla="*/ 340 h 575"/>
                <a:gd name="T90" fmla="*/ 220 w 451"/>
                <a:gd name="T91" fmla="*/ 355 h 575"/>
                <a:gd name="T92" fmla="*/ 231 w 451"/>
                <a:gd name="T93" fmla="*/ 371 h 575"/>
                <a:gd name="T94" fmla="*/ 224 w 451"/>
                <a:gd name="T95" fmla="*/ 386 h 575"/>
                <a:gd name="T96" fmla="*/ 224 w 451"/>
                <a:gd name="T97" fmla="*/ 397 h 575"/>
                <a:gd name="T98" fmla="*/ 209 w 451"/>
                <a:gd name="T99" fmla="*/ 417 h 575"/>
                <a:gd name="T100" fmla="*/ 222 w 451"/>
                <a:gd name="T101" fmla="*/ 441 h 575"/>
                <a:gd name="T102" fmla="*/ 253 w 451"/>
                <a:gd name="T103" fmla="*/ 485 h 575"/>
                <a:gd name="T104" fmla="*/ 282 w 451"/>
                <a:gd name="T105" fmla="*/ 548 h 575"/>
                <a:gd name="T106" fmla="*/ 352 w 451"/>
                <a:gd name="T107" fmla="*/ 529 h 575"/>
                <a:gd name="T108" fmla="*/ 363 w 451"/>
                <a:gd name="T109" fmla="*/ 515 h 575"/>
                <a:gd name="T110" fmla="*/ 420 w 451"/>
                <a:gd name="T111" fmla="*/ 511 h 575"/>
                <a:gd name="T112" fmla="*/ 451 w 451"/>
                <a:gd name="T113" fmla="*/ 461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51" h="575">
                  <a:moveTo>
                    <a:pt x="440" y="447"/>
                  </a:moveTo>
                  <a:lnTo>
                    <a:pt x="433" y="443"/>
                  </a:lnTo>
                  <a:lnTo>
                    <a:pt x="431" y="443"/>
                  </a:lnTo>
                  <a:lnTo>
                    <a:pt x="431" y="441"/>
                  </a:lnTo>
                  <a:lnTo>
                    <a:pt x="431" y="436"/>
                  </a:lnTo>
                  <a:lnTo>
                    <a:pt x="431" y="430"/>
                  </a:lnTo>
                  <a:lnTo>
                    <a:pt x="435" y="423"/>
                  </a:lnTo>
                  <a:lnTo>
                    <a:pt x="435" y="421"/>
                  </a:lnTo>
                  <a:lnTo>
                    <a:pt x="437" y="403"/>
                  </a:lnTo>
                  <a:lnTo>
                    <a:pt x="435" y="397"/>
                  </a:lnTo>
                  <a:lnTo>
                    <a:pt x="433" y="393"/>
                  </a:lnTo>
                  <a:lnTo>
                    <a:pt x="420" y="366"/>
                  </a:lnTo>
                  <a:lnTo>
                    <a:pt x="418" y="362"/>
                  </a:lnTo>
                  <a:lnTo>
                    <a:pt x="415" y="357"/>
                  </a:lnTo>
                  <a:lnTo>
                    <a:pt x="420" y="351"/>
                  </a:lnTo>
                  <a:lnTo>
                    <a:pt x="420" y="349"/>
                  </a:lnTo>
                  <a:lnTo>
                    <a:pt x="418" y="346"/>
                  </a:lnTo>
                  <a:lnTo>
                    <a:pt x="409" y="340"/>
                  </a:lnTo>
                  <a:lnTo>
                    <a:pt x="393" y="333"/>
                  </a:lnTo>
                  <a:lnTo>
                    <a:pt x="389" y="331"/>
                  </a:lnTo>
                  <a:lnTo>
                    <a:pt x="389" y="329"/>
                  </a:lnTo>
                  <a:lnTo>
                    <a:pt x="387" y="329"/>
                  </a:lnTo>
                  <a:lnTo>
                    <a:pt x="372" y="322"/>
                  </a:lnTo>
                  <a:lnTo>
                    <a:pt x="369" y="322"/>
                  </a:lnTo>
                  <a:lnTo>
                    <a:pt x="365" y="322"/>
                  </a:lnTo>
                  <a:lnTo>
                    <a:pt x="363" y="322"/>
                  </a:lnTo>
                  <a:lnTo>
                    <a:pt x="354" y="327"/>
                  </a:lnTo>
                  <a:lnTo>
                    <a:pt x="350" y="327"/>
                  </a:lnTo>
                  <a:lnTo>
                    <a:pt x="350" y="327"/>
                  </a:lnTo>
                  <a:lnTo>
                    <a:pt x="345" y="324"/>
                  </a:lnTo>
                  <a:lnTo>
                    <a:pt x="345" y="322"/>
                  </a:lnTo>
                  <a:lnTo>
                    <a:pt x="336" y="305"/>
                  </a:lnTo>
                  <a:lnTo>
                    <a:pt x="332" y="300"/>
                  </a:lnTo>
                  <a:lnTo>
                    <a:pt x="328" y="298"/>
                  </a:lnTo>
                  <a:lnTo>
                    <a:pt x="325" y="298"/>
                  </a:lnTo>
                  <a:lnTo>
                    <a:pt x="325" y="296"/>
                  </a:lnTo>
                  <a:lnTo>
                    <a:pt x="323" y="289"/>
                  </a:lnTo>
                  <a:lnTo>
                    <a:pt x="323" y="287"/>
                  </a:lnTo>
                  <a:lnTo>
                    <a:pt x="314" y="278"/>
                  </a:lnTo>
                  <a:lnTo>
                    <a:pt x="312" y="276"/>
                  </a:lnTo>
                  <a:lnTo>
                    <a:pt x="312" y="274"/>
                  </a:lnTo>
                  <a:lnTo>
                    <a:pt x="312" y="267"/>
                  </a:lnTo>
                  <a:lnTo>
                    <a:pt x="310" y="259"/>
                  </a:lnTo>
                  <a:lnTo>
                    <a:pt x="310" y="250"/>
                  </a:lnTo>
                  <a:lnTo>
                    <a:pt x="310" y="248"/>
                  </a:lnTo>
                  <a:lnTo>
                    <a:pt x="308" y="245"/>
                  </a:lnTo>
                  <a:lnTo>
                    <a:pt x="308" y="243"/>
                  </a:lnTo>
                  <a:lnTo>
                    <a:pt x="303" y="243"/>
                  </a:lnTo>
                  <a:lnTo>
                    <a:pt x="301" y="243"/>
                  </a:lnTo>
                  <a:lnTo>
                    <a:pt x="297" y="245"/>
                  </a:lnTo>
                  <a:lnTo>
                    <a:pt x="297" y="245"/>
                  </a:lnTo>
                  <a:lnTo>
                    <a:pt x="295" y="243"/>
                  </a:lnTo>
                  <a:lnTo>
                    <a:pt x="292" y="241"/>
                  </a:lnTo>
                  <a:lnTo>
                    <a:pt x="288" y="239"/>
                  </a:lnTo>
                  <a:lnTo>
                    <a:pt x="286" y="237"/>
                  </a:lnTo>
                  <a:lnTo>
                    <a:pt x="284" y="235"/>
                  </a:lnTo>
                  <a:lnTo>
                    <a:pt x="282" y="230"/>
                  </a:lnTo>
                  <a:lnTo>
                    <a:pt x="275" y="210"/>
                  </a:lnTo>
                  <a:lnTo>
                    <a:pt x="275" y="206"/>
                  </a:lnTo>
                  <a:lnTo>
                    <a:pt x="273" y="204"/>
                  </a:lnTo>
                  <a:lnTo>
                    <a:pt x="262" y="193"/>
                  </a:lnTo>
                  <a:lnTo>
                    <a:pt x="262" y="186"/>
                  </a:lnTo>
                  <a:lnTo>
                    <a:pt x="260" y="166"/>
                  </a:lnTo>
                  <a:lnTo>
                    <a:pt x="260" y="153"/>
                  </a:lnTo>
                  <a:lnTo>
                    <a:pt x="260" y="151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55" y="140"/>
                  </a:lnTo>
                  <a:lnTo>
                    <a:pt x="246" y="136"/>
                  </a:lnTo>
                  <a:lnTo>
                    <a:pt x="246" y="134"/>
                  </a:lnTo>
                  <a:lnTo>
                    <a:pt x="246" y="131"/>
                  </a:lnTo>
                  <a:lnTo>
                    <a:pt x="244" y="129"/>
                  </a:lnTo>
                  <a:lnTo>
                    <a:pt x="246" y="118"/>
                  </a:lnTo>
                  <a:lnTo>
                    <a:pt x="244" y="103"/>
                  </a:lnTo>
                  <a:lnTo>
                    <a:pt x="242" y="98"/>
                  </a:lnTo>
                  <a:lnTo>
                    <a:pt x="235" y="92"/>
                  </a:lnTo>
                  <a:lnTo>
                    <a:pt x="233" y="85"/>
                  </a:lnTo>
                  <a:lnTo>
                    <a:pt x="231" y="74"/>
                  </a:lnTo>
                  <a:lnTo>
                    <a:pt x="229" y="70"/>
                  </a:lnTo>
                  <a:lnTo>
                    <a:pt x="229" y="68"/>
                  </a:lnTo>
                  <a:lnTo>
                    <a:pt x="222" y="59"/>
                  </a:lnTo>
                  <a:lnTo>
                    <a:pt x="222" y="55"/>
                  </a:lnTo>
                  <a:lnTo>
                    <a:pt x="218" y="41"/>
                  </a:lnTo>
                  <a:lnTo>
                    <a:pt x="216" y="37"/>
                  </a:lnTo>
                  <a:lnTo>
                    <a:pt x="211" y="28"/>
                  </a:lnTo>
                  <a:lnTo>
                    <a:pt x="209" y="28"/>
                  </a:lnTo>
                  <a:lnTo>
                    <a:pt x="207" y="28"/>
                  </a:lnTo>
                  <a:lnTo>
                    <a:pt x="200" y="24"/>
                  </a:lnTo>
                  <a:lnTo>
                    <a:pt x="198" y="19"/>
                  </a:lnTo>
                  <a:lnTo>
                    <a:pt x="198" y="15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1" y="11"/>
                  </a:lnTo>
                  <a:lnTo>
                    <a:pt x="189" y="11"/>
                  </a:lnTo>
                  <a:lnTo>
                    <a:pt x="185" y="11"/>
                  </a:lnTo>
                  <a:lnTo>
                    <a:pt x="183" y="11"/>
                  </a:lnTo>
                  <a:lnTo>
                    <a:pt x="183" y="11"/>
                  </a:lnTo>
                  <a:lnTo>
                    <a:pt x="181" y="8"/>
                  </a:lnTo>
                  <a:lnTo>
                    <a:pt x="178" y="6"/>
                  </a:lnTo>
                  <a:lnTo>
                    <a:pt x="178" y="0"/>
                  </a:lnTo>
                  <a:lnTo>
                    <a:pt x="145" y="13"/>
                  </a:lnTo>
                  <a:lnTo>
                    <a:pt x="137" y="17"/>
                  </a:lnTo>
                  <a:lnTo>
                    <a:pt x="137" y="19"/>
                  </a:lnTo>
                  <a:lnTo>
                    <a:pt x="137" y="22"/>
                  </a:lnTo>
                  <a:lnTo>
                    <a:pt x="134" y="30"/>
                  </a:lnTo>
                  <a:lnTo>
                    <a:pt x="134" y="33"/>
                  </a:lnTo>
                  <a:lnTo>
                    <a:pt x="132" y="37"/>
                  </a:lnTo>
                  <a:lnTo>
                    <a:pt x="128" y="44"/>
                  </a:lnTo>
                  <a:lnTo>
                    <a:pt x="119" y="52"/>
                  </a:lnTo>
                  <a:lnTo>
                    <a:pt x="115" y="57"/>
                  </a:lnTo>
                  <a:lnTo>
                    <a:pt x="95" y="68"/>
                  </a:lnTo>
                  <a:lnTo>
                    <a:pt x="88" y="79"/>
                  </a:lnTo>
                  <a:lnTo>
                    <a:pt x="84" y="83"/>
                  </a:lnTo>
                  <a:lnTo>
                    <a:pt x="73" y="85"/>
                  </a:lnTo>
                  <a:lnTo>
                    <a:pt x="71" y="87"/>
                  </a:lnTo>
                  <a:lnTo>
                    <a:pt x="60" y="87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3"/>
                  </a:lnTo>
                  <a:lnTo>
                    <a:pt x="55" y="81"/>
                  </a:lnTo>
                  <a:lnTo>
                    <a:pt x="55" y="79"/>
                  </a:lnTo>
                  <a:lnTo>
                    <a:pt x="55" y="76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3" y="70"/>
                  </a:lnTo>
                  <a:lnTo>
                    <a:pt x="53" y="68"/>
                  </a:lnTo>
                  <a:lnTo>
                    <a:pt x="53" y="66"/>
                  </a:lnTo>
                  <a:lnTo>
                    <a:pt x="55" y="61"/>
                  </a:lnTo>
                  <a:lnTo>
                    <a:pt x="55" y="59"/>
                  </a:lnTo>
                  <a:lnTo>
                    <a:pt x="55" y="57"/>
                  </a:lnTo>
                  <a:lnTo>
                    <a:pt x="53" y="55"/>
                  </a:lnTo>
                  <a:lnTo>
                    <a:pt x="51" y="55"/>
                  </a:lnTo>
                  <a:lnTo>
                    <a:pt x="47" y="52"/>
                  </a:lnTo>
                  <a:lnTo>
                    <a:pt x="44" y="50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8" y="46"/>
                  </a:lnTo>
                  <a:lnTo>
                    <a:pt x="33" y="46"/>
                  </a:lnTo>
                  <a:lnTo>
                    <a:pt x="29" y="46"/>
                  </a:lnTo>
                  <a:lnTo>
                    <a:pt x="27" y="46"/>
                  </a:lnTo>
                  <a:lnTo>
                    <a:pt x="25" y="44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39"/>
                  </a:lnTo>
                  <a:lnTo>
                    <a:pt x="29" y="37"/>
                  </a:lnTo>
                  <a:lnTo>
                    <a:pt x="33" y="35"/>
                  </a:lnTo>
                  <a:lnTo>
                    <a:pt x="36" y="33"/>
                  </a:lnTo>
                  <a:lnTo>
                    <a:pt x="38" y="30"/>
                  </a:lnTo>
                  <a:lnTo>
                    <a:pt x="38" y="28"/>
                  </a:lnTo>
                  <a:lnTo>
                    <a:pt x="40" y="26"/>
                  </a:lnTo>
                  <a:lnTo>
                    <a:pt x="40" y="22"/>
                  </a:lnTo>
                  <a:lnTo>
                    <a:pt x="38" y="19"/>
                  </a:lnTo>
                  <a:lnTo>
                    <a:pt x="38" y="17"/>
                  </a:lnTo>
                  <a:lnTo>
                    <a:pt x="36" y="15"/>
                  </a:lnTo>
                  <a:lnTo>
                    <a:pt x="25" y="13"/>
                  </a:lnTo>
                  <a:lnTo>
                    <a:pt x="22" y="13"/>
                  </a:lnTo>
                  <a:lnTo>
                    <a:pt x="20" y="15"/>
                  </a:lnTo>
                  <a:lnTo>
                    <a:pt x="18" y="17"/>
                  </a:lnTo>
                  <a:lnTo>
                    <a:pt x="18" y="24"/>
                  </a:lnTo>
                  <a:lnTo>
                    <a:pt x="18" y="26"/>
                  </a:lnTo>
                  <a:lnTo>
                    <a:pt x="16" y="33"/>
                  </a:lnTo>
                  <a:lnTo>
                    <a:pt x="16" y="35"/>
                  </a:lnTo>
                  <a:lnTo>
                    <a:pt x="16" y="37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4" y="50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9" y="55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0" y="59"/>
                  </a:lnTo>
                  <a:lnTo>
                    <a:pt x="7" y="72"/>
                  </a:lnTo>
                  <a:lnTo>
                    <a:pt x="11" y="76"/>
                  </a:lnTo>
                  <a:lnTo>
                    <a:pt x="14" y="79"/>
                  </a:lnTo>
                  <a:lnTo>
                    <a:pt x="14" y="81"/>
                  </a:lnTo>
                  <a:lnTo>
                    <a:pt x="16" y="83"/>
                  </a:lnTo>
                  <a:lnTo>
                    <a:pt x="18" y="85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7" y="94"/>
                  </a:lnTo>
                  <a:lnTo>
                    <a:pt x="25" y="96"/>
                  </a:lnTo>
                  <a:lnTo>
                    <a:pt x="25" y="101"/>
                  </a:lnTo>
                  <a:lnTo>
                    <a:pt x="29" y="103"/>
                  </a:lnTo>
                  <a:lnTo>
                    <a:pt x="33" y="107"/>
                  </a:lnTo>
                  <a:lnTo>
                    <a:pt x="33" y="109"/>
                  </a:lnTo>
                  <a:lnTo>
                    <a:pt x="36" y="114"/>
                  </a:lnTo>
                  <a:lnTo>
                    <a:pt x="38" y="118"/>
                  </a:lnTo>
                  <a:lnTo>
                    <a:pt x="40" y="120"/>
                  </a:lnTo>
                  <a:lnTo>
                    <a:pt x="42" y="125"/>
                  </a:lnTo>
                  <a:lnTo>
                    <a:pt x="42" y="127"/>
                  </a:lnTo>
                  <a:lnTo>
                    <a:pt x="42" y="129"/>
                  </a:lnTo>
                  <a:lnTo>
                    <a:pt x="44" y="134"/>
                  </a:lnTo>
                  <a:lnTo>
                    <a:pt x="42" y="136"/>
                  </a:lnTo>
                  <a:lnTo>
                    <a:pt x="42" y="138"/>
                  </a:lnTo>
                  <a:lnTo>
                    <a:pt x="47" y="142"/>
                  </a:lnTo>
                  <a:lnTo>
                    <a:pt x="47" y="145"/>
                  </a:lnTo>
                  <a:lnTo>
                    <a:pt x="47" y="147"/>
                  </a:lnTo>
                  <a:lnTo>
                    <a:pt x="49" y="151"/>
                  </a:lnTo>
                  <a:lnTo>
                    <a:pt x="47" y="151"/>
                  </a:lnTo>
                  <a:lnTo>
                    <a:pt x="51" y="155"/>
                  </a:lnTo>
                  <a:lnTo>
                    <a:pt x="51" y="158"/>
                  </a:lnTo>
                  <a:lnTo>
                    <a:pt x="53" y="162"/>
                  </a:lnTo>
                  <a:lnTo>
                    <a:pt x="55" y="166"/>
                  </a:lnTo>
                  <a:lnTo>
                    <a:pt x="55" y="171"/>
                  </a:lnTo>
                  <a:lnTo>
                    <a:pt x="53" y="173"/>
                  </a:lnTo>
                  <a:lnTo>
                    <a:pt x="51" y="175"/>
                  </a:lnTo>
                  <a:lnTo>
                    <a:pt x="51" y="175"/>
                  </a:lnTo>
                  <a:lnTo>
                    <a:pt x="49" y="175"/>
                  </a:lnTo>
                  <a:lnTo>
                    <a:pt x="47" y="175"/>
                  </a:lnTo>
                  <a:lnTo>
                    <a:pt x="44" y="177"/>
                  </a:lnTo>
                  <a:lnTo>
                    <a:pt x="44" y="177"/>
                  </a:lnTo>
                  <a:lnTo>
                    <a:pt x="44" y="180"/>
                  </a:lnTo>
                  <a:lnTo>
                    <a:pt x="44" y="184"/>
                  </a:lnTo>
                  <a:lnTo>
                    <a:pt x="44" y="188"/>
                  </a:lnTo>
                  <a:lnTo>
                    <a:pt x="44" y="191"/>
                  </a:lnTo>
                  <a:lnTo>
                    <a:pt x="47" y="193"/>
                  </a:lnTo>
                  <a:lnTo>
                    <a:pt x="53" y="195"/>
                  </a:lnTo>
                  <a:lnTo>
                    <a:pt x="82" y="210"/>
                  </a:lnTo>
                  <a:lnTo>
                    <a:pt x="86" y="217"/>
                  </a:lnTo>
                  <a:lnTo>
                    <a:pt x="95" y="219"/>
                  </a:lnTo>
                  <a:lnTo>
                    <a:pt x="99" y="221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4" y="228"/>
                  </a:lnTo>
                  <a:lnTo>
                    <a:pt x="106" y="228"/>
                  </a:lnTo>
                  <a:lnTo>
                    <a:pt x="108" y="230"/>
                  </a:lnTo>
                  <a:lnTo>
                    <a:pt x="110" y="235"/>
                  </a:lnTo>
                  <a:lnTo>
                    <a:pt x="112" y="239"/>
                  </a:lnTo>
                  <a:lnTo>
                    <a:pt x="112" y="241"/>
                  </a:lnTo>
                  <a:lnTo>
                    <a:pt x="115" y="241"/>
                  </a:lnTo>
                  <a:lnTo>
                    <a:pt x="112" y="243"/>
                  </a:lnTo>
                  <a:lnTo>
                    <a:pt x="112" y="245"/>
                  </a:lnTo>
                  <a:lnTo>
                    <a:pt x="117" y="250"/>
                  </a:lnTo>
                  <a:lnTo>
                    <a:pt x="119" y="250"/>
                  </a:lnTo>
                  <a:lnTo>
                    <a:pt x="121" y="252"/>
                  </a:lnTo>
                  <a:lnTo>
                    <a:pt x="123" y="254"/>
                  </a:lnTo>
                  <a:lnTo>
                    <a:pt x="126" y="256"/>
                  </a:lnTo>
                  <a:lnTo>
                    <a:pt x="128" y="261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34" y="259"/>
                  </a:lnTo>
                  <a:lnTo>
                    <a:pt x="139" y="259"/>
                  </a:lnTo>
                  <a:lnTo>
                    <a:pt x="139" y="259"/>
                  </a:lnTo>
                  <a:lnTo>
                    <a:pt x="139" y="256"/>
                  </a:lnTo>
                  <a:lnTo>
                    <a:pt x="139" y="256"/>
                  </a:lnTo>
                  <a:lnTo>
                    <a:pt x="139" y="254"/>
                  </a:lnTo>
                  <a:lnTo>
                    <a:pt x="139" y="252"/>
                  </a:lnTo>
                  <a:lnTo>
                    <a:pt x="141" y="252"/>
                  </a:lnTo>
                  <a:lnTo>
                    <a:pt x="143" y="250"/>
                  </a:lnTo>
                  <a:lnTo>
                    <a:pt x="145" y="248"/>
                  </a:lnTo>
                  <a:lnTo>
                    <a:pt x="148" y="241"/>
                  </a:lnTo>
                  <a:lnTo>
                    <a:pt x="148" y="239"/>
                  </a:lnTo>
                  <a:lnTo>
                    <a:pt x="148" y="239"/>
                  </a:lnTo>
                  <a:lnTo>
                    <a:pt x="150" y="239"/>
                  </a:lnTo>
                  <a:lnTo>
                    <a:pt x="152" y="241"/>
                  </a:lnTo>
                  <a:lnTo>
                    <a:pt x="152" y="241"/>
                  </a:lnTo>
                  <a:lnTo>
                    <a:pt x="154" y="243"/>
                  </a:lnTo>
                  <a:lnTo>
                    <a:pt x="156" y="245"/>
                  </a:lnTo>
                  <a:lnTo>
                    <a:pt x="159" y="245"/>
                  </a:lnTo>
                  <a:lnTo>
                    <a:pt x="159" y="248"/>
                  </a:lnTo>
                  <a:lnTo>
                    <a:pt x="156" y="250"/>
                  </a:lnTo>
                  <a:lnTo>
                    <a:pt x="156" y="252"/>
                  </a:lnTo>
                  <a:lnTo>
                    <a:pt x="154" y="254"/>
                  </a:lnTo>
                  <a:lnTo>
                    <a:pt x="156" y="259"/>
                  </a:lnTo>
                  <a:lnTo>
                    <a:pt x="156" y="259"/>
                  </a:lnTo>
                  <a:lnTo>
                    <a:pt x="156" y="261"/>
                  </a:lnTo>
                  <a:lnTo>
                    <a:pt x="161" y="261"/>
                  </a:lnTo>
                  <a:lnTo>
                    <a:pt x="163" y="261"/>
                  </a:lnTo>
                  <a:lnTo>
                    <a:pt x="163" y="261"/>
                  </a:lnTo>
                  <a:lnTo>
                    <a:pt x="165" y="261"/>
                  </a:lnTo>
                  <a:lnTo>
                    <a:pt x="165" y="263"/>
                  </a:lnTo>
                  <a:lnTo>
                    <a:pt x="165" y="270"/>
                  </a:lnTo>
                  <a:lnTo>
                    <a:pt x="167" y="270"/>
                  </a:lnTo>
                  <a:lnTo>
                    <a:pt x="170" y="272"/>
                  </a:lnTo>
                  <a:lnTo>
                    <a:pt x="170" y="272"/>
                  </a:lnTo>
                  <a:lnTo>
                    <a:pt x="172" y="274"/>
                  </a:lnTo>
                  <a:lnTo>
                    <a:pt x="172" y="274"/>
                  </a:lnTo>
                  <a:lnTo>
                    <a:pt x="174" y="272"/>
                  </a:lnTo>
                  <a:lnTo>
                    <a:pt x="176" y="270"/>
                  </a:lnTo>
                  <a:lnTo>
                    <a:pt x="178" y="270"/>
                  </a:lnTo>
                  <a:lnTo>
                    <a:pt x="181" y="270"/>
                  </a:lnTo>
                  <a:lnTo>
                    <a:pt x="185" y="272"/>
                  </a:lnTo>
                  <a:lnTo>
                    <a:pt x="189" y="272"/>
                  </a:lnTo>
                  <a:lnTo>
                    <a:pt x="191" y="272"/>
                  </a:lnTo>
                  <a:lnTo>
                    <a:pt x="191" y="274"/>
                  </a:lnTo>
                  <a:lnTo>
                    <a:pt x="191" y="274"/>
                  </a:lnTo>
                  <a:lnTo>
                    <a:pt x="187" y="281"/>
                  </a:lnTo>
                  <a:lnTo>
                    <a:pt x="185" y="283"/>
                  </a:lnTo>
                  <a:lnTo>
                    <a:pt x="183" y="283"/>
                  </a:lnTo>
                  <a:lnTo>
                    <a:pt x="181" y="283"/>
                  </a:lnTo>
                  <a:lnTo>
                    <a:pt x="181" y="283"/>
                  </a:lnTo>
                  <a:lnTo>
                    <a:pt x="178" y="283"/>
                  </a:lnTo>
                  <a:lnTo>
                    <a:pt x="178" y="285"/>
                  </a:lnTo>
                  <a:lnTo>
                    <a:pt x="178" y="287"/>
                  </a:lnTo>
                  <a:lnTo>
                    <a:pt x="176" y="289"/>
                  </a:lnTo>
                  <a:lnTo>
                    <a:pt x="174" y="292"/>
                  </a:lnTo>
                  <a:lnTo>
                    <a:pt x="174" y="292"/>
                  </a:lnTo>
                  <a:lnTo>
                    <a:pt x="174" y="294"/>
                  </a:lnTo>
                  <a:lnTo>
                    <a:pt x="174" y="296"/>
                  </a:lnTo>
                  <a:lnTo>
                    <a:pt x="174" y="298"/>
                  </a:lnTo>
                  <a:lnTo>
                    <a:pt x="176" y="298"/>
                  </a:lnTo>
                  <a:lnTo>
                    <a:pt x="176" y="298"/>
                  </a:lnTo>
                  <a:lnTo>
                    <a:pt x="178" y="298"/>
                  </a:lnTo>
                  <a:lnTo>
                    <a:pt x="178" y="300"/>
                  </a:lnTo>
                  <a:lnTo>
                    <a:pt x="181" y="300"/>
                  </a:lnTo>
                  <a:lnTo>
                    <a:pt x="178" y="303"/>
                  </a:lnTo>
                  <a:lnTo>
                    <a:pt x="178" y="303"/>
                  </a:lnTo>
                  <a:lnTo>
                    <a:pt x="178" y="303"/>
                  </a:lnTo>
                  <a:lnTo>
                    <a:pt x="176" y="307"/>
                  </a:lnTo>
                  <a:lnTo>
                    <a:pt x="178" y="307"/>
                  </a:lnTo>
                  <a:lnTo>
                    <a:pt x="178" y="309"/>
                  </a:lnTo>
                  <a:lnTo>
                    <a:pt x="178" y="309"/>
                  </a:lnTo>
                  <a:lnTo>
                    <a:pt x="178" y="311"/>
                  </a:lnTo>
                  <a:lnTo>
                    <a:pt x="176" y="314"/>
                  </a:lnTo>
                  <a:lnTo>
                    <a:pt x="176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78" y="316"/>
                  </a:lnTo>
                  <a:lnTo>
                    <a:pt x="181" y="316"/>
                  </a:lnTo>
                  <a:lnTo>
                    <a:pt x="183" y="316"/>
                  </a:lnTo>
                  <a:lnTo>
                    <a:pt x="187" y="314"/>
                  </a:lnTo>
                  <a:lnTo>
                    <a:pt x="189" y="314"/>
                  </a:lnTo>
                  <a:lnTo>
                    <a:pt x="191" y="311"/>
                  </a:lnTo>
                  <a:lnTo>
                    <a:pt x="194" y="311"/>
                  </a:lnTo>
                  <a:lnTo>
                    <a:pt x="194" y="309"/>
                  </a:lnTo>
                  <a:lnTo>
                    <a:pt x="196" y="309"/>
                  </a:lnTo>
                  <a:lnTo>
                    <a:pt x="198" y="307"/>
                  </a:lnTo>
                  <a:lnTo>
                    <a:pt x="205" y="300"/>
                  </a:lnTo>
                  <a:lnTo>
                    <a:pt x="207" y="298"/>
                  </a:lnTo>
                  <a:lnTo>
                    <a:pt x="209" y="298"/>
                  </a:lnTo>
                  <a:lnTo>
                    <a:pt x="211" y="298"/>
                  </a:lnTo>
                  <a:lnTo>
                    <a:pt x="213" y="300"/>
                  </a:lnTo>
                  <a:lnTo>
                    <a:pt x="218" y="305"/>
                  </a:lnTo>
                  <a:lnTo>
                    <a:pt x="218" y="305"/>
                  </a:lnTo>
                  <a:lnTo>
                    <a:pt x="218" y="307"/>
                  </a:lnTo>
                  <a:lnTo>
                    <a:pt x="220" y="311"/>
                  </a:lnTo>
                  <a:lnTo>
                    <a:pt x="222" y="314"/>
                  </a:lnTo>
                  <a:lnTo>
                    <a:pt x="222" y="314"/>
                  </a:lnTo>
                  <a:lnTo>
                    <a:pt x="220" y="318"/>
                  </a:lnTo>
                  <a:lnTo>
                    <a:pt x="216" y="320"/>
                  </a:lnTo>
                  <a:lnTo>
                    <a:pt x="216" y="320"/>
                  </a:lnTo>
                  <a:lnTo>
                    <a:pt x="213" y="320"/>
                  </a:lnTo>
                  <a:lnTo>
                    <a:pt x="211" y="322"/>
                  </a:lnTo>
                  <a:lnTo>
                    <a:pt x="211" y="322"/>
                  </a:lnTo>
                  <a:lnTo>
                    <a:pt x="211" y="329"/>
                  </a:lnTo>
                  <a:lnTo>
                    <a:pt x="211" y="329"/>
                  </a:lnTo>
                  <a:lnTo>
                    <a:pt x="213" y="331"/>
                  </a:lnTo>
                  <a:lnTo>
                    <a:pt x="213" y="331"/>
                  </a:lnTo>
                  <a:lnTo>
                    <a:pt x="216" y="331"/>
                  </a:lnTo>
                  <a:lnTo>
                    <a:pt x="220" y="333"/>
                  </a:lnTo>
                  <a:lnTo>
                    <a:pt x="222" y="335"/>
                  </a:lnTo>
                  <a:lnTo>
                    <a:pt x="224" y="340"/>
                  </a:lnTo>
                  <a:lnTo>
                    <a:pt x="224" y="342"/>
                  </a:lnTo>
                  <a:lnTo>
                    <a:pt x="224" y="342"/>
                  </a:lnTo>
                  <a:lnTo>
                    <a:pt x="220" y="340"/>
                  </a:lnTo>
                  <a:lnTo>
                    <a:pt x="218" y="340"/>
                  </a:lnTo>
                  <a:lnTo>
                    <a:pt x="218" y="340"/>
                  </a:lnTo>
                  <a:lnTo>
                    <a:pt x="216" y="342"/>
                  </a:lnTo>
                  <a:lnTo>
                    <a:pt x="216" y="344"/>
                  </a:lnTo>
                  <a:lnTo>
                    <a:pt x="216" y="346"/>
                  </a:lnTo>
                  <a:lnTo>
                    <a:pt x="218" y="349"/>
                  </a:lnTo>
                  <a:lnTo>
                    <a:pt x="220" y="349"/>
                  </a:lnTo>
                  <a:lnTo>
                    <a:pt x="220" y="351"/>
                  </a:lnTo>
                  <a:lnTo>
                    <a:pt x="220" y="355"/>
                  </a:lnTo>
                  <a:lnTo>
                    <a:pt x="222" y="357"/>
                  </a:lnTo>
                  <a:lnTo>
                    <a:pt x="222" y="357"/>
                  </a:lnTo>
                  <a:lnTo>
                    <a:pt x="224" y="357"/>
                  </a:lnTo>
                  <a:lnTo>
                    <a:pt x="227" y="364"/>
                  </a:lnTo>
                  <a:lnTo>
                    <a:pt x="229" y="366"/>
                  </a:lnTo>
                  <a:lnTo>
                    <a:pt x="231" y="368"/>
                  </a:lnTo>
                  <a:lnTo>
                    <a:pt x="231" y="368"/>
                  </a:lnTo>
                  <a:lnTo>
                    <a:pt x="231" y="371"/>
                  </a:lnTo>
                  <a:lnTo>
                    <a:pt x="231" y="371"/>
                  </a:lnTo>
                  <a:lnTo>
                    <a:pt x="231" y="373"/>
                  </a:lnTo>
                  <a:lnTo>
                    <a:pt x="229" y="377"/>
                  </a:lnTo>
                  <a:lnTo>
                    <a:pt x="227" y="379"/>
                  </a:lnTo>
                  <a:lnTo>
                    <a:pt x="227" y="382"/>
                  </a:lnTo>
                  <a:lnTo>
                    <a:pt x="227" y="384"/>
                  </a:lnTo>
                  <a:lnTo>
                    <a:pt x="224" y="384"/>
                  </a:lnTo>
                  <a:lnTo>
                    <a:pt x="224" y="386"/>
                  </a:lnTo>
                  <a:lnTo>
                    <a:pt x="224" y="388"/>
                  </a:lnTo>
                  <a:lnTo>
                    <a:pt x="222" y="388"/>
                  </a:lnTo>
                  <a:lnTo>
                    <a:pt x="222" y="393"/>
                  </a:lnTo>
                  <a:lnTo>
                    <a:pt x="222" y="393"/>
                  </a:lnTo>
                  <a:lnTo>
                    <a:pt x="224" y="395"/>
                  </a:lnTo>
                  <a:lnTo>
                    <a:pt x="224" y="395"/>
                  </a:lnTo>
                  <a:lnTo>
                    <a:pt x="224" y="395"/>
                  </a:lnTo>
                  <a:lnTo>
                    <a:pt x="224" y="397"/>
                  </a:lnTo>
                  <a:lnTo>
                    <a:pt x="224" y="397"/>
                  </a:lnTo>
                  <a:lnTo>
                    <a:pt x="222" y="399"/>
                  </a:lnTo>
                  <a:lnTo>
                    <a:pt x="211" y="403"/>
                  </a:lnTo>
                  <a:lnTo>
                    <a:pt x="209" y="408"/>
                  </a:lnTo>
                  <a:lnTo>
                    <a:pt x="209" y="410"/>
                  </a:lnTo>
                  <a:lnTo>
                    <a:pt x="211" y="412"/>
                  </a:lnTo>
                  <a:lnTo>
                    <a:pt x="209" y="414"/>
                  </a:lnTo>
                  <a:lnTo>
                    <a:pt x="209" y="417"/>
                  </a:lnTo>
                  <a:lnTo>
                    <a:pt x="207" y="419"/>
                  </a:lnTo>
                  <a:lnTo>
                    <a:pt x="205" y="419"/>
                  </a:lnTo>
                  <a:lnTo>
                    <a:pt x="205" y="421"/>
                  </a:lnTo>
                  <a:lnTo>
                    <a:pt x="202" y="421"/>
                  </a:lnTo>
                  <a:lnTo>
                    <a:pt x="207" y="423"/>
                  </a:lnTo>
                  <a:lnTo>
                    <a:pt x="213" y="430"/>
                  </a:lnTo>
                  <a:lnTo>
                    <a:pt x="220" y="436"/>
                  </a:lnTo>
                  <a:lnTo>
                    <a:pt x="222" y="441"/>
                  </a:lnTo>
                  <a:lnTo>
                    <a:pt x="224" y="441"/>
                  </a:lnTo>
                  <a:lnTo>
                    <a:pt x="224" y="443"/>
                  </a:lnTo>
                  <a:lnTo>
                    <a:pt x="224" y="450"/>
                  </a:lnTo>
                  <a:lnTo>
                    <a:pt x="227" y="452"/>
                  </a:lnTo>
                  <a:lnTo>
                    <a:pt x="233" y="467"/>
                  </a:lnTo>
                  <a:lnTo>
                    <a:pt x="238" y="472"/>
                  </a:lnTo>
                  <a:lnTo>
                    <a:pt x="251" y="482"/>
                  </a:lnTo>
                  <a:lnTo>
                    <a:pt x="253" y="485"/>
                  </a:lnTo>
                  <a:lnTo>
                    <a:pt x="255" y="489"/>
                  </a:lnTo>
                  <a:lnTo>
                    <a:pt x="255" y="498"/>
                  </a:lnTo>
                  <a:lnTo>
                    <a:pt x="255" y="504"/>
                  </a:lnTo>
                  <a:lnTo>
                    <a:pt x="257" y="513"/>
                  </a:lnTo>
                  <a:lnTo>
                    <a:pt x="260" y="518"/>
                  </a:lnTo>
                  <a:lnTo>
                    <a:pt x="262" y="522"/>
                  </a:lnTo>
                  <a:lnTo>
                    <a:pt x="268" y="529"/>
                  </a:lnTo>
                  <a:lnTo>
                    <a:pt x="282" y="548"/>
                  </a:lnTo>
                  <a:lnTo>
                    <a:pt x="295" y="564"/>
                  </a:lnTo>
                  <a:lnTo>
                    <a:pt x="299" y="570"/>
                  </a:lnTo>
                  <a:lnTo>
                    <a:pt x="306" y="575"/>
                  </a:lnTo>
                  <a:lnTo>
                    <a:pt x="314" y="570"/>
                  </a:lnTo>
                  <a:lnTo>
                    <a:pt x="317" y="566"/>
                  </a:lnTo>
                  <a:lnTo>
                    <a:pt x="323" y="553"/>
                  </a:lnTo>
                  <a:lnTo>
                    <a:pt x="325" y="551"/>
                  </a:lnTo>
                  <a:lnTo>
                    <a:pt x="352" y="529"/>
                  </a:lnTo>
                  <a:lnTo>
                    <a:pt x="354" y="526"/>
                  </a:lnTo>
                  <a:lnTo>
                    <a:pt x="354" y="524"/>
                  </a:lnTo>
                  <a:lnTo>
                    <a:pt x="356" y="518"/>
                  </a:lnTo>
                  <a:lnTo>
                    <a:pt x="358" y="515"/>
                  </a:lnTo>
                  <a:lnTo>
                    <a:pt x="361" y="515"/>
                  </a:lnTo>
                  <a:lnTo>
                    <a:pt x="361" y="513"/>
                  </a:lnTo>
                  <a:lnTo>
                    <a:pt x="363" y="515"/>
                  </a:lnTo>
                  <a:lnTo>
                    <a:pt x="363" y="515"/>
                  </a:lnTo>
                  <a:lnTo>
                    <a:pt x="363" y="515"/>
                  </a:lnTo>
                  <a:lnTo>
                    <a:pt x="372" y="520"/>
                  </a:lnTo>
                  <a:lnTo>
                    <a:pt x="376" y="520"/>
                  </a:lnTo>
                  <a:lnTo>
                    <a:pt x="389" y="520"/>
                  </a:lnTo>
                  <a:lnTo>
                    <a:pt x="407" y="518"/>
                  </a:lnTo>
                  <a:lnTo>
                    <a:pt x="409" y="518"/>
                  </a:lnTo>
                  <a:lnTo>
                    <a:pt x="413" y="513"/>
                  </a:lnTo>
                  <a:lnTo>
                    <a:pt x="420" y="511"/>
                  </a:lnTo>
                  <a:lnTo>
                    <a:pt x="422" y="504"/>
                  </a:lnTo>
                  <a:lnTo>
                    <a:pt x="424" y="493"/>
                  </a:lnTo>
                  <a:lnTo>
                    <a:pt x="424" y="489"/>
                  </a:lnTo>
                  <a:lnTo>
                    <a:pt x="426" y="487"/>
                  </a:lnTo>
                  <a:lnTo>
                    <a:pt x="433" y="482"/>
                  </a:lnTo>
                  <a:lnTo>
                    <a:pt x="442" y="476"/>
                  </a:lnTo>
                  <a:lnTo>
                    <a:pt x="446" y="469"/>
                  </a:lnTo>
                  <a:lnTo>
                    <a:pt x="451" y="461"/>
                  </a:lnTo>
                  <a:lnTo>
                    <a:pt x="451" y="454"/>
                  </a:lnTo>
                  <a:lnTo>
                    <a:pt x="440" y="447"/>
                  </a:lnTo>
                  <a:lnTo>
                    <a:pt x="440" y="447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</p:grpSp>
      <p:grpSp>
        <p:nvGrpSpPr>
          <p:cNvPr id="103" name="Agrupar 2"/>
          <p:cNvGrpSpPr/>
          <p:nvPr/>
        </p:nvGrpSpPr>
        <p:grpSpPr>
          <a:xfrm>
            <a:off x="1753083" y="4492981"/>
            <a:ext cx="177801" cy="288925"/>
            <a:chOff x="4921250" y="4470400"/>
            <a:chExt cx="177801" cy="288925"/>
          </a:xfrm>
          <a:solidFill>
            <a:schemeClr val="tx1"/>
          </a:solidFill>
        </p:grpSpPr>
        <p:sp>
          <p:nvSpPr>
            <p:cNvPr id="105" name="Freeform 9"/>
            <p:cNvSpPr>
              <a:spLocks/>
            </p:cNvSpPr>
            <p:nvPr/>
          </p:nvSpPr>
          <p:spPr bwMode="auto">
            <a:xfrm>
              <a:off x="4935538" y="4470400"/>
              <a:ext cx="163513" cy="288925"/>
            </a:xfrm>
            <a:custGeom>
              <a:avLst/>
              <a:gdLst>
                <a:gd name="T0" fmla="*/ 99 w 103"/>
                <a:gd name="T1" fmla="*/ 125 h 182"/>
                <a:gd name="T2" fmla="*/ 92 w 103"/>
                <a:gd name="T3" fmla="*/ 116 h 182"/>
                <a:gd name="T4" fmla="*/ 88 w 103"/>
                <a:gd name="T5" fmla="*/ 107 h 182"/>
                <a:gd name="T6" fmla="*/ 90 w 103"/>
                <a:gd name="T7" fmla="*/ 101 h 182"/>
                <a:gd name="T8" fmla="*/ 96 w 103"/>
                <a:gd name="T9" fmla="*/ 101 h 182"/>
                <a:gd name="T10" fmla="*/ 85 w 103"/>
                <a:gd name="T11" fmla="*/ 92 h 182"/>
                <a:gd name="T12" fmla="*/ 83 w 103"/>
                <a:gd name="T13" fmla="*/ 83 h 182"/>
                <a:gd name="T14" fmla="*/ 88 w 103"/>
                <a:gd name="T15" fmla="*/ 81 h 182"/>
                <a:gd name="T16" fmla="*/ 92 w 103"/>
                <a:gd name="T17" fmla="*/ 72 h 182"/>
                <a:gd name="T18" fmla="*/ 85 w 103"/>
                <a:gd name="T19" fmla="*/ 61 h 182"/>
                <a:gd name="T20" fmla="*/ 77 w 103"/>
                <a:gd name="T21" fmla="*/ 61 h 182"/>
                <a:gd name="T22" fmla="*/ 66 w 103"/>
                <a:gd name="T23" fmla="*/ 72 h 182"/>
                <a:gd name="T24" fmla="*/ 55 w 103"/>
                <a:gd name="T25" fmla="*/ 77 h 182"/>
                <a:gd name="T26" fmla="*/ 50 w 103"/>
                <a:gd name="T27" fmla="*/ 77 h 182"/>
                <a:gd name="T28" fmla="*/ 50 w 103"/>
                <a:gd name="T29" fmla="*/ 70 h 182"/>
                <a:gd name="T30" fmla="*/ 50 w 103"/>
                <a:gd name="T31" fmla="*/ 64 h 182"/>
                <a:gd name="T32" fmla="*/ 50 w 103"/>
                <a:gd name="T33" fmla="*/ 61 h 182"/>
                <a:gd name="T34" fmla="*/ 46 w 103"/>
                <a:gd name="T35" fmla="*/ 59 h 182"/>
                <a:gd name="T36" fmla="*/ 46 w 103"/>
                <a:gd name="T37" fmla="*/ 53 h 182"/>
                <a:gd name="T38" fmla="*/ 50 w 103"/>
                <a:gd name="T39" fmla="*/ 44 h 182"/>
                <a:gd name="T40" fmla="*/ 57 w 103"/>
                <a:gd name="T41" fmla="*/ 44 h 182"/>
                <a:gd name="T42" fmla="*/ 63 w 103"/>
                <a:gd name="T43" fmla="*/ 33 h 182"/>
                <a:gd name="T44" fmla="*/ 50 w 103"/>
                <a:gd name="T45" fmla="*/ 31 h 182"/>
                <a:gd name="T46" fmla="*/ 44 w 103"/>
                <a:gd name="T47" fmla="*/ 35 h 182"/>
                <a:gd name="T48" fmla="*/ 37 w 103"/>
                <a:gd name="T49" fmla="*/ 31 h 182"/>
                <a:gd name="T50" fmla="*/ 35 w 103"/>
                <a:gd name="T51" fmla="*/ 22 h 182"/>
                <a:gd name="T52" fmla="*/ 28 w 103"/>
                <a:gd name="T53" fmla="*/ 20 h 182"/>
                <a:gd name="T54" fmla="*/ 31 w 103"/>
                <a:gd name="T55" fmla="*/ 9 h 182"/>
                <a:gd name="T56" fmla="*/ 24 w 103"/>
                <a:gd name="T57" fmla="*/ 2 h 182"/>
                <a:gd name="T58" fmla="*/ 20 w 103"/>
                <a:gd name="T59" fmla="*/ 0 h 182"/>
                <a:gd name="T60" fmla="*/ 13 w 103"/>
                <a:gd name="T61" fmla="*/ 13 h 182"/>
                <a:gd name="T62" fmla="*/ 11 w 103"/>
                <a:gd name="T63" fmla="*/ 17 h 182"/>
                <a:gd name="T64" fmla="*/ 0 w 103"/>
                <a:gd name="T65" fmla="*/ 24 h 182"/>
                <a:gd name="T66" fmla="*/ 6 w 103"/>
                <a:gd name="T67" fmla="*/ 35 h 182"/>
                <a:gd name="T68" fmla="*/ 0 w 103"/>
                <a:gd name="T69" fmla="*/ 44 h 182"/>
                <a:gd name="T70" fmla="*/ 6 w 103"/>
                <a:gd name="T71" fmla="*/ 61 h 182"/>
                <a:gd name="T72" fmla="*/ 11 w 103"/>
                <a:gd name="T73" fmla="*/ 85 h 182"/>
                <a:gd name="T74" fmla="*/ 17 w 103"/>
                <a:gd name="T75" fmla="*/ 99 h 182"/>
                <a:gd name="T76" fmla="*/ 26 w 103"/>
                <a:gd name="T77" fmla="*/ 107 h 182"/>
                <a:gd name="T78" fmla="*/ 28 w 103"/>
                <a:gd name="T79" fmla="*/ 118 h 182"/>
                <a:gd name="T80" fmla="*/ 35 w 103"/>
                <a:gd name="T81" fmla="*/ 127 h 182"/>
                <a:gd name="T82" fmla="*/ 70 w 103"/>
                <a:gd name="T83" fmla="*/ 151 h 182"/>
                <a:gd name="T84" fmla="*/ 72 w 103"/>
                <a:gd name="T85" fmla="*/ 178 h 182"/>
                <a:gd name="T86" fmla="*/ 79 w 103"/>
                <a:gd name="T87" fmla="*/ 180 h 182"/>
                <a:gd name="T88" fmla="*/ 81 w 103"/>
                <a:gd name="T89" fmla="*/ 171 h 182"/>
                <a:gd name="T90" fmla="*/ 96 w 103"/>
                <a:gd name="T91" fmla="*/ 158 h 182"/>
                <a:gd name="T92" fmla="*/ 96 w 103"/>
                <a:gd name="T93" fmla="*/ 156 h 182"/>
                <a:gd name="T94" fmla="*/ 96 w 103"/>
                <a:gd name="T95" fmla="*/ 149 h 182"/>
                <a:gd name="T96" fmla="*/ 99 w 103"/>
                <a:gd name="T97" fmla="*/ 143 h 182"/>
                <a:gd name="T98" fmla="*/ 103 w 103"/>
                <a:gd name="T99" fmla="*/ 13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" h="182">
                  <a:moveTo>
                    <a:pt x="103" y="129"/>
                  </a:moveTo>
                  <a:lnTo>
                    <a:pt x="103" y="129"/>
                  </a:lnTo>
                  <a:lnTo>
                    <a:pt x="101" y="127"/>
                  </a:lnTo>
                  <a:lnTo>
                    <a:pt x="99" y="125"/>
                  </a:lnTo>
                  <a:lnTo>
                    <a:pt x="96" y="118"/>
                  </a:lnTo>
                  <a:lnTo>
                    <a:pt x="94" y="118"/>
                  </a:lnTo>
                  <a:lnTo>
                    <a:pt x="94" y="118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88" y="107"/>
                  </a:lnTo>
                  <a:lnTo>
                    <a:pt x="88" y="105"/>
                  </a:lnTo>
                  <a:lnTo>
                    <a:pt x="88" y="103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2" y="101"/>
                  </a:lnTo>
                  <a:lnTo>
                    <a:pt x="96" y="103"/>
                  </a:lnTo>
                  <a:lnTo>
                    <a:pt x="96" y="103"/>
                  </a:lnTo>
                  <a:lnTo>
                    <a:pt x="96" y="101"/>
                  </a:lnTo>
                  <a:lnTo>
                    <a:pt x="94" y="96"/>
                  </a:lnTo>
                  <a:lnTo>
                    <a:pt x="92" y="94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5" y="81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92" y="79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2" y="72"/>
                  </a:lnTo>
                  <a:lnTo>
                    <a:pt x="90" y="68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85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79" y="59"/>
                  </a:lnTo>
                  <a:lnTo>
                    <a:pt x="77" y="61"/>
                  </a:lnTo>
                  <a:lnTo>
                    <a:pt x="70" y="68"/>
                  </a:lnTo>
                  <a:lnTo>
                    <a:pt x="68" y="70"/>
                  </a:lnTo>
                  <a:lnTo>
                    <a:pt x="66" y="70"/>
                  </a:lnTo>
                  <a:lnTo>
                    <a:pt x="66" y="72"/>
                  </a:lnTo>
                  <a:lnTo>
                    <a:pt x="63" y="72"/>
                  </a:lnTo>
                  <a:lnTo>
                    <a:pt x="61" y="75"/>
                  </a:lnTo>
                  <a:lnTo>
                    <a:pt x="59" y="75"/>
                  </a:lnTo>
                  <a:lnTo>
                    <a:pt x="55" y="77"/>
                  </a:lnTo>
                  <a:lnTo>
                    <a:pt x="53" y="77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50" y="72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68"/>
                  </a:lnTo>
                  <a:lnTo>
                    <a:pt x="48" y="68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3" y="61"/>
                  </a:lnTo>
                  <a:lnTo>
                    <a:pt x="50" y="61"/>
                  </a:lnTo>
                  <a:lnTo>
                    <a:pt x="50" y="59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6" y="59"/>
                  </a:lnTo>
                  <a:lnTo>
                    <a:pt x="46" y="57"/>
                  </a:lnTo>
                  <a:lnTo>
                    <a:pt x="46" y="55"/>
                  </a:lnTo>
                  <a:lnTo>
                    <a:pt x="46" y="53"/>
                  </a:lnTo>
                  <a:lnTo>
                    <a:pt x="46" y="53"/>
                  </a:lnTo>
                  <a:lnTo>
                    <a:pt x="48" y="50"/>
                  </a:lnTo>
                  <a:lnTo>
                    <a:pt x="50" y="48"/>
                  </a:lnTo>
                  <a:lnTo>
                    <a:pt x="50" y="46"/>
                  </a:lnTo>
                  <a:lnTo>
                    <a:pt x="50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5" y="44"/>
                  </a:lnTo>
                  <a:lnTo>
                    <a:pt x="57" y="44"/>
                  </a:lnTo>
                  <a:lnTo>
                    <a:pt x="59" y="42"/>
                  </a:lnTo>
                  <a:lnTo>
                    <a:pt x="63" y="35"/>
                  </a:lnTo>
                  <a:lnTo>
                    <a:pt x="63" y="35"/>
                  </a:lnTo>
                  <a:lnTo>
                    <a:pt x="63" y="33"/>
                  </a:lnTo>
                  <a:lnTo>
                    <a:pt x="61" y="33"/>
                  </a:lnTo>
                  <a:lnTo>
                    <a:pt x="57" y="33"/>
                  </a:lnTo>
                  <a:lnTo>
                    <a:pt x="53" y="31"/>
                  </a:lnTo>
                  <a:lnTo>
                    <a:pt x="50" y="31"/>
                  </a:lnTo>
                  <a:lnTo>
                    <a:pt x="48" y="31"/>
                  </a:lnTo>
                  <a:lnTo>
                    <a:pt x="46" y="33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39" y="31"/>
                  </a:lnTo>
                  <a:lnTo>
                    <a:pt x="37" y="31"/>
                  </a:lnTo>
                  <a:lnTo>
                    <a:pt x="37" y="24"/>
                  </a:lnTo>
                  <a:lnTo>
                    <a:pt x="37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3" y="22"/>
                  </a:lnTo>
                  <a:lnTo>
                    <a:pt x="28" y="22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6" y="15"/>
                  </a:lnTo>
                  <a:lnTo>
                    <a:pt x="28" y="13"/>
                  </a:lnTo>
                  <a:lnTo>
                    <a:pt x="28" y="11"/>
                  </a:lnTo>
                  <a:lnTo>
                    <a:pt x="31" y="9"/>
                  </a:lnTo>
                  <a:lnTo>
                    <a:pt x="31" y="6"/>
                  </a:lnTo>
                  <a:lnTo>
                    <a:pt x="28" y="6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17" y="9"/>
                  </a:lnTo>
                  <a:lnTo>
                    <a:pt x="15" y="11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11" y="15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6" y="35"/>
                  </a:lnTo>
                  <a:lnTo>
                    <a:pt x="6" y="39"/>
                  </a:lnTo>
                  <a:lnTo>
                    <a:pt x="4" y="42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4" y="48"/>
                  </a:lnTo>
                  <a:lnTo>
                    <a:pt x="2" y="53"/>
                  </a:lnTo>
                  <a:lnTo>
                    <a:pt x="4" y="55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9" y="68"/>
                  </a:lnTo>
                  <a:lnTo>
                    <a:pt x="11" y="72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7" y="88"/>
                  </a:lnTo>
                  <a:lnTo>
                    <a:pt x="17" y="92"/>
                  </a:lnTo>
                  <a:lnTo>
                    <a:pt x="17" y="99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20" y="103"/>
                  </a:lnTo>
                  <a:lnTo>
                    <a:pt x="26" y="107"/>
                  </a:lnTo>
                  <a:lnTo>
                    <a:pt x="31" y="114"/>
                  </a:lnTo>
                  <a:lnTo>
                    <a:pt x="31" y="116"/>
                  </a:lnTo>
                  <a:lnTo>
                    <a:pt x="28" y="118"/>
                  </a:lnTo>
                  <a:lnTo>
                    <a:pt x="28" y="118"/>
                  </a:lnTo>
                  <a:lnTo>
                    <a:pt x="28" y="123"/>
                  </a:lnTo>
                  <a:lnTo>
                    <a:pt x="31" y="125"/>
                  </a:lnTo>
                  <a:lnTo>
                    <a:pt x="33" y="127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46" y="132"/>
                  </a:lnTo>
                  <a:lnTo>
                    <a:pt x="63" y="143"/>
                  </a:lnTo>
                  <a:lnTo>
                    <a:pt x="70" y="151"/>
                  </a:lnTo>
                  <a:lnTo>
                    <a:pt x="77" y="158"/>
                  </a:lnTo>
                  <a:lnTo>
                    <a:pt x="77" y="164"/>
                  </a:lnTo>
                  <a:lnTo>
                    <a:pt x="77" y="171"/>
                  </a:lnTo>
                  <a:lnTo>
                    <a:pt x="72" y="178"/>
                  </a:lnTo>
                  <a:lnTo>
                    <a:pt x="74" y="182"/>
                  </a:lnTo>
                  <a:lnTo>
                    <a:pt x="77" y="182"/>
                  </a:lnTo>
                  <a:lnTo>
                    <a:pt x="77" y="180"/>
                  </a:lnTo>
                  <a:lnTo>
                    <a:pt x="79" y="180"/>
                  </a:lnTo>
                  <a:lnTo>
                    <a:pt x="81" y="178"/>
                  </a:lnTo>
                  <a:lnTo>
                    <a:pt x="81" y="175"/>
                  </a:lnTo>
                  <a:lnTo>
                    <a:pt x="83" y="173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83" y="164"/>
                  </a:lnTo>
                  <a:lnTo>
                    <a:pt x="94" y="160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4" y="154"/>
                  </a:lnTo>
                  <a:lnTo>
                    <a:pt x="94" y="154"/>
                  </a:lnTo>
                  <a:lnTo>
                    <a:pt x="94" y="149"/>
                  </a:lnTo>
                  <a:lnTo>
                    <a:pt x="96" y="149"/>
                  </a:lnTo>
                  <a:lnTo>
                    <a:pt x="96" y="147"/>
                  </a:lnTo>
                  <a:lnTo>
                    <a:pt x="96" y="145"/>
                  </a:lnTo>
                  <a:lnTo>
                    <a:pt x="99" y="145"/>
                  </a:lnTo>
                  <a:lnTo>
                    <a:pt x="99" y="143"/>
                  </a:lnTo>
                  <a:lnTo>
                    <a:pt x="99" y="140"/>
                  </a:lnTo>
                  <a:lnTo>
                    <a:pt x="101" y="138"/>
                  </a:lnTo>
                  <a:lnTo>
                    <a:pt x="103" y="134"/>
                  </a:lnTo>
                  <a:lnTo>
                    <a:pt x="103" y="132"/>
                  </a:lnTo>
                  <a:lnTo>
                    <a:pt x="103" y="132"/>
                  </a:lnTo>
                  <a:lnTo>
                    <a:pt x="103" y="129"/>
                  </a:lnTo>
                  <a:lnTo>
                    <a:pt x="103" y="129"/>
                  </a:lnTo>
                  <a:close/>
                </a:path>
              </a:pathLst>
            </a:custGeom>
            <a:solidFill>
              <a:schemeClr val="tx1"/>
            </a:solidFill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06" name="Freeform 11"/>
            <p:cNvSpPr>
              <a:spLocks noEditPoints="1"/>
            </p:cNvSpPr>
            <p:nvPr/>
          </p:nvSpPr>
          <p:spPr bwMode="auto">
            <a:xfrm>
              <a:off x="4921250" y="4605338"/>
              <a:ext cx="41275" cy="34925"/>
            </a:xfrm>
            <a:custGeom>
              <a:avLst/>
              <a:gdLst>
                <a:gd name="T0" fmla="*/ 11 w 26"/>
                <a:gd name="T1" fmla="*/ 18 h 22"/>
                <a:gd name="T2" fmla="*/ 2 w 26"/>
                <a:gd name="T3" fmla="*/ 11 h 22"/>
                <a:gd name="T4" fmla="*/ 0 w 26"/>
                <a:gd name="T5" fmla="*/ 11 h 22"/>
                <a:gd name="T6" fmla="*/ 0 w 26"/>
                <a:gd name="T7" fmla="*/ 11 h 22"/>
                <a:gd name="T8" fmla="*/ 0 w 26"/>
                <a:gd name="T9" fmla="*/ 16 h 22"/>
                <a:gd name="T10" fmla="*/ 2 w 26"/>
                <a:gd name="T11" fmla="*/ 18 h 22"/>
                <a:gd name="T12" fmla="*/ 7 w 26"/>
                <a:gd name="T13" fmla="*/ 20 h 22"/>
                <a:gd name="T14" fmla="*/ 9 w 26"/>
                <a:gd name="T15" fmla="*/ 22 h 22"/>
                <a:gd name="T16" fmla="*/ 11 w 26"/>
                <a:gd name="T17" fmla="*/ 22 h 22"/>
                <a:gd name="T18" fmla="*/ 13 w 26"/>
                <a:gd name="T19" fmla="*/ 22 h 22"/>
                <a:gd name="T20" fmla="*/ 11 w 26"/>
                <a:gd name="T21" fmla="*/ 20 h 22"/>
                <a:gd name="T22" fmla="*/ 11 w 26"/>
                <a:gd name="T23" fmla="*/ 18 h 22"/>
                <a:gd name="T24" fmla="*/ 11 w 26"/>
                <a:gd name="T25" fmla="*/ 18 h 22"/>
                <a:gd name="T26" fmla="*/ 26 w 26"/>
                <a:gd name="T27" fmla="*/ 3 h 22"/>
                <a:gd name="T28" fmla="*/ 20 w 26"/>
                <a:gd name="T29" fmla="*/ 0 h 22"/>
                <a:gd name="T30" fmla="*/ 20 w 26"/>
                <a:gd name="T31" fmla="*/ 0 h 22"/>
                <a:gd name="T32" fmla="*/ 20 w 26"/>
                <a:gd name="T33" fmla="*/ 0 h 22"/>
                <a:gd name="T34" fmla="*/ 20 w 26"/>
                <a:gd name="T35" fmla="*/ 5 h 22"/>
                <a:gd name="T36" fmla="*/ 18 w 26"/>
                <a:gd name="T37" fmla="*/ 7 h 22"/>
                <a:gd name="T38" fmla="*/ 15 w 26"/>
                <a:gd name="T39" fmla="*/ 9 h 22"/>
                <a:gd name="T40" fmla="*/ 13 w 26"/>
                <a:gd name="T41" fmla="*/ 14 h 22"/>
                <a:gd name="T42" fmla="*/ 22 w 26"/>
                <a:gd name="T43" fmla="*/ 14 h 22"/>
                <a:gd name="T44" fmla="*/ 24 w 26"/>
                <a:gd name="T45" fmla="*/ 16 h 22"/>
                <a:gd name="T46" fmla="*/ 26 w 26"/>
                <a:gd name="T47" fmla="*/ 14 h 22"/>
                <a:gd name="T48" fmla="*/ 26 w 26"/>
                <a:gd name="T49" fmla="*/ 7 h 22"/>
                <a:gd name="T50" fmla="*/ 26 w 26"/>
                <a:gd name="T51" fmla="*/ 3 h 22"/>
                <a:gd name="T52" fmla="*/ 26 w 26"/>
                <a:gd name="T53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" h="22">
                  <a:moveTo>
                    <a:pt x="11" y="18"/>
                  </a:move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7" y="20"/>
                  </a:lnTo>
                  <a:lnTo>
                    <a:pt x="9" y="22"/>
                  </a:lnTo>
                  <a:lnTo>
                    <a:pt x="11" y="22"/>
                  </a:lnTo>
                  <a:lnTo>
                    <a:pt x="13" y="22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1" y="18"/>
                  </a:lnTo>
                  <a:close/>
                  <a:moveTo>
                    <a:pt x="26" y="3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5"/>
                  </a:lnTo>
                  <a:lnTo>
                    <a:pt x="18" y="7"/>
                  </a:lnTo>
                  <a:lnTo>
                    <a:pt x="15" y="9"/>
                  </a:lnTo>
                  <a:lnTo>
                    <a:pt x="13" y="14"/>
                  </a:lnTo>
                  <a:lnTo>
                    <a:pt x="22" y="14"/>
                  </a:lnTo>
                  <a:lnTo>
                    <a:pt x="24" y="16"/>
                  </a:lnTo>
                  <a:lnTo>
                    <a:pt x="26" y="14"/>
                  </a:lnTo>
                  <a:lnTo>
                    <a:pt x="26" y="7"/>
                  </a:lnTo>
                  <a:lnTo>
                    <a:pt x="26" y="3"/>
                  </a:lnTo>
                  <a:lnTo>
                    <a:pt x="26" y="3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</p:grpSp>
      <p:grpSp>
        <p:nvGrpSpPr>
          <p:cNvPr id="107" name="60 Grupo"/>
          <p:cNvGrpSpPr/>
          <p:nvPr/>
        </p:nvGrpSpPr>
        <p:grpSpPr>
          <a:xfrm>
            <a:off x="1983271" y="4388206"/>
            <a:ext cx="2255838" cy="2178050"/>
            <a:chOff x="5151438" y="4365625"/>
            <a:chExt cx="2255838" cy="2178050"/>
          </a:xfrm>
          <a:solidFill>
            <a:schemeClr val="accent1"/>
          </a:solidFill>
        </p:grpSpPr>
        <p:sp>
          <p:nvSpPr>
            <p:cNvPr id="108" name="Freeform 12"/>
            <p:cNvSpPr>
              <a:spLocks/>
            </p:cNvSpPr>
            <p:nvPr/>
          </p:nvSpPr>
          <p:spPr bwMode="auto">
            <a:xfrm>
              <a:off x="6713538" y="6072188"/>
              <a:ext cx="490538" cy="471487"/>
            </a:xfrm>
            <a:custGeom>
              <a:avLst/>
              <a:gdLst>
                <a:gd name="T0" fmla="*/ 307 w 309"/>
                <a:gd name="T1" fmla="*/ 108 h 297"/>
                <a:gd name="T2" fmla="*/ 294 w 309"/>
                <a:gd name="T3" fmla="*/ 95 h 297"/>
                <a:gd name="T4" fmla="*/ 281 w 309"/>
                <a:gd name="T5" fmla="*/ 93 h 297"/>
                <a:gd name="T6" fmla="*/ 270 w 309"/>
                <a:gd name="T7" fmla="*/ 95 h 297"/>
                <a:gd name="T8" fmla="*/ 267 w 309"/>
                <a:gd name="T9" fmla="*/ 93 h 297"/>
                <a:gd name="T10" fmla="*/ 261 w 309"/>
                <a:gd name="T11" fmla="*/ 84 h 297"/>
                <a:gd name="T12" fmla="*/ 256 w 309"/>
                <a:gd name="T13" fmla="*/ 82 h 297"/>
                <a:gd name="T14" fmla="*/ 254 w 309"/>
                <a:gd name="T15" fmla="*/ 84 h 297"/>
                <a:gd name="T16" fmla="*/ 250 w 309"/>
                <a:gd name="T17" fmla="*/ 84 h 297"/>
                <a:gd name="T18" fmla="*/ 239 w 309"/>
                <a:gd name="T19" fmla="*/ 79 h 297"/>
                <a:gd name="T20" fmla="*/ 237 w 309"/>
                <a:gd name="T21" fmla="*/ 77 h 297"/>
                <a:gd name="T22" fmla="*/ 226 w 309"/>
                <a:gd name="T23" fmla="*/ 68 h 297"/>
                <a:gd name="T24" fmla="*/ 219 w 309"/>
                <a:gd name="T25" fmla="*/ 64 h 297"/>
                <a:gd name="T26" fmla="*/ 217 w 309"/>
                <a:gd name="T27" fmla="*/ 64 h 297"/>
                <a:gd name="T28" fmla="*/ 202 w 309"/>
                <a:gd name="T29" fmla="*/ 38 h 297"/>
                <a:gd name="T30" fmla="*/ 182 w 309"/>
                <a:gd name="T31" fmla="*/ 20 h 297"/>
                <a:gd name="T32" fmla="*/ 171 w 309"/>
                <a:gd name="T33" fmla="*/ 25 h 297"/>
                <a:gd name="T34" fmla="*/ 164 w 309"/>
                <a:gd name="T35" fmla="*/ 18 h 297"/>
                <a:gd name="T36" fmla="*/ 158 w 309"/>
                <a:gd name="T37" fmla="*/ 3 h 297"/>
                <a:gd name="T38" fmla="*/ 144 w 309"/>
                <a:gd name="T39" fmla="*/ 0 h 297"/>
                <a:gd name="T40" fmla="*/ 134 w 309"/>
                <a:gd name="T41" fmla="*/ 9 h 297"/>
                <a:gd name="T42" fmla="*/ 131 w 309"/>
                <a:gd name="T43" fmla="*/ 16 h 297"/>
                <a:gd name="T44" fmla="*/ 127 w 309"/>
                <a:gd name="T45" fmla="*/ 27 h 297"/>
                <a:gd name="T46" fmla="*/ 129 w 309"/>
                <a:gd name="T47" fmla="*/ 36 h 297"/>
                <a:gd name="T48" fmla="*/ 131 w 309"/>
                <a:gd name="T49" fmla="*/ 42 h 297"/>
                <a:gd name="T50" fmla="*/ 129 w 309"/>
                <a:gd name="T51" fmla="*/ 51 h 297"/>
                <a:gd name="T52" fmla="*/ 98 w 309"/>
                <a:gd name="T53" fmla="*/ 79 h 297"/>
                <a:gd name="T54" fmla="*/ 87 w 309"/>
                <a:gd name="T55" fmla="*/ 84 h 297"/>
                <a:gd name="T56" fmla="*/ 83 w 309"/>
                <a:gd name="T57" fmla="*/ 95 h 297"/>
                <a:gd name="T58" fmla="*/ 72 w 309"/>
                <a:gd name="T59" fmla="*/ 110 h 297"/>
                <a:gd name="T60" fmla="*/ 68 w 309"/>
                <a:gd name="T61" fmla="*/ 126 h 297"/>
                <a:gd name="T62" fmla="*/ 63 w 309"/>
                <a:gd name="T63" fmla="*/ 132 h 297"/>
                <a:gd name="T64" fmla="*/ 52 w 309"/>
                <a:gd name="T65" fmla="*/ 145 h 297"/>
                <a:gd name="T66" fmla="*/ 46 w 309"/>
                <a:gd name="T67" fmla="*/ 158 h 297"/>
                <a:gd name="T68" fmla="*/ 24 w 309"/>
                <a:gd name="T69" fmla="*/ 167 h 297"/>
                <a:gd name="T70" fmla="*/ 8 w 309"/>
                <a:gd name="T71" fmla="*/ 178 h 297"/>
                <a:gd name="T72" fmla="*/ 2 w 309"/>
                <a:gd name="T73" fmla="*/ 187 h 297"/>
                <a:gd name="T74" fmla="*/ 0 w 309"/>
                <a:gd name="T75" fmla="*/ 191 h 297"/>
                <a:gd name="T76" fmla="*/ 17 w 309"/>
                <a:gd name="T77" fmla="*/ 205 h 297"/>
                <a:gd name="T78" fmla="*/ 35 w 309"/>
                <a:gd name="T79" fmla="*/ 211 h 297"/>
                <a:gd name="T80" fmla="*/ 48 w 309"/>
                <a:gd name="T81" fmla="*/ 220 h 297"/>
                <a:gd name="T82" fmla="*/ 54 w 309"/>
                <a:gd name="T83" fmla="*/ 235 h 297"/>
                <a:gd name="T84" fmla="*/ 76 w 309"/>
                <a:gd name="T85" fmla="*/ 248 h 297"/>
                <a:gd name="T86" fmla="*/ 79 w 309"/>
                <a:gd name="T87" fmla="*/ 248 h 297"/>
                <a:gd name="T88" fmla="*/ 83 w 309"/>
                <a:gd name="T89" fmla="*/ 253 h 297"/>
                <a:gd name="T90" fmla="*/ 107 w 309"/>
                <a:gd name="T91" fmla="*/ 270 h 297"/>
                <a:gd name="T92" fmla="*/ 131 w 309"/>
                <a:gd name="T93" fmla="*/ 288 h 297"/>
                <a:gd name="T94" fmla="*/ 149 w 309"/>
                <a:gd name="T95" fmla="*/ 294 h 297"/>
                <a:gd name="T96" fmla="*/ 188 w 309"/>
                <a:gd name="T97" fmla="*/ 294 h 297"/>
                <a:gd name="T98" fmla="*/ 210 w 309"/>
                <a:gd name="T99" fmla="*/ 284 h 297"/>
                <a:gd name="T100" fmla="*/ 224 w 309"/>
                <a:gd name="T101" fmla="*/ 279 h 297"/>
                <a:gd name="T102" fmla="*/ 243 w 309"/>
                <a:gd name="T103" fmla="*/ 259 h 297"/>
                <a:gd name="T104" fmla="*/ 259 w 309"/>
                <a:gd name="T105" fmla="*/ 224 h 297"/>
                <a:gd name="T106" fmla="*/ 254 w 309"/>
                <a:gd name="T107" fmla="*/ 209 h 297"/>
                <a:gd name="T108" fmla="*/ 250 w 309"/>
                <a:gd name="T109" fmla="*/ 194 h 297"/>
                <a:gd name="T110" fmla="*/ 245 w 309"/>
                <a:gd name="T111" fmla="*/ 172 h 297"/>
                <a:gd name="T112" fmla="*/ 270 w 309"/>
                <a:gd name="T113" fmla="*/ 165 h 297"/>
                <a:gd name="T114" fmla="*/ 309 w 309"/>
                <a:gd name="T115" fmla="*/ 134 h 297"/>
                <a:gd name="T116" fmla="*/ 309 w 309"/>
                <a:gd name="T117" fmla="*/ 121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9" h="297">
                  <a:moveTo>
                    <a:pt x="309" y="121"/>
                  </a:moveTo>
                  <a:lnTo>
                    <a:pt x="309" y="115"/>
                  </a:lnTo>
                  <a:lnTo>
                    <a:pt x="307" y="108"/>
                  </a:lnTo>
                  <a:lnTo>
                    <a:pt x="305" y="104"/>
                  </a:lnTo>
                  <a:lnTo>
                    <a:pt x="300" y="101"/>
                  </a:lnTo>
                  <a:lnTo>
                    <a:pt x="294" y="95"/>
                  </a:lnTo>
                  <a:lnTo>
                    <a:pt x="292" y="93"/>
                  </a:lnTo>
                  <a:lnTo>
                    <a:pt x="281" y="93"/>
                  </a:lnTo>
                  <a:lnTo>
                    <a:pt x="281" y="93"/>
                  </a:lnTo>
                  <a:lnTo>
                    <a:pt x="278" y="93"/>
                  </a:lnTo>
                  <a:lnTo>
                    <a:pt x="272" y="95"/>
                  </a:lnTo>
                  <a:lnTo>
                    <a:pt x="270" y="95"/>
                  </a:lnTo>
                  <a:lnTo>
                    <a:pt x="270" y="95"/>
                  </a:lnTo>
                  <a:lnTo>
                    <a:pt x="267" y="95"/>
                  </a:lnTo>
                  <a:lnTo>
                    <a:pt x="267" y="93"/>
                  </a:lnTo>
                  <a:lnTo>
                    <a:pt x="263" y="88"/>
                  </a:lnTo>
                  <a:lnTo>
                    <a:pt x="263" y="88"/>
                  </a:lnTo>
                  <a:lnTo>
                    <a:pt x="261" y="84"/>
                  </a:lnTo>
                  <a:lnTo>
                    <a:pt x="261" y="84"/>
                  </a:lnTo>
                  <a:lnTo>
                    <a:pt x="259" y="82"/>
                  </a:lnTo>
                  <a:lnTo>
                    <a:pt x="256" y="82"/>
                  </a:lnTo>
                  <a:lnTo>
                    <a:pt x="256" y="82"/>
                  </a:lnTo>
                  <a:lnTo>
                    <a:pt x="256" y="84"/>
                  </a:lnTo>
                  <a:lnTo>
                    <a:pt x="254" y="84"/>
                  </a:lnTo>
                  <a:lnTo>
                    <a:pt x="252" y="84"/>
                  </a:lnTo>
                  <a:lnTo>
                    <a:pt x="250" y="84"/>
                  </a:lnTo>
                  <a:lnTo>
                    <a:pt x="250" y="84"/>
                  </a:lnTo>
                  <a:lnTo>
                    <a:pt x="248" y="84"/>
                  </a:lnTo>
                  <a:lnTo>
                    <a:pt x="241" y="79"/>
                  </a:lnTo>
                  <a:lnTo>
                    <a:pt x="239" y="79"/>
                  </a:lnTo>
                  <a:lnTo>
                    <a:pt x="239" y="77"/>
                  </a:lnTo>
                  <a:lnTo>
                    <a:pt x="237" y="77"/>
                  </a:lnTo>
                  <a:lnTo>
                    <a:pt x="237" y="77"/>
                  </a:lnTo>
                  <a:lnTo>
                    <a:pt x="235" y="77"/>
                  </a:lnTo>
                  <a:lnTo>
                    <a:pt x="230" y="75"/>
                  </a:lnTo>
                  <a:lnTo>
                    <a:pt x="226" y="68"/>
                  </a:lnTo>
                  <a:lnTo>
                    <a:pt x="221" y="64"/>
                  </a:lnTo>
                  <a:lnTo>
                    <a:pt x="219" y="64"/>
                  </a:lnTo>
                  <a:lnTo>
                    <a:pt x="219" y="64"/>
                  </a:lnTo>
                  <a:lnTo>
                    <a:pt x="219" y="64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5" y="64"/>
                  </a:lnTo>
                  <a:lnTo>
                    <a:pt x="210" y="57"/>
                  </a:lnTo>
                  <a:lnTo>
                    <a:pt x="202" y="38"/>
                  </a:lnTo>
                  <a:lnTo>
                    <a:pt x="188" y="20"/>
                  </a:lnTo>
                  <a:lnTo>
                    <a:pt x="186" y="11"/>
                  </a:lnTo>
                  <a:lnTo>
                    <a:pt x="182" y="20"/>
                  </a:lnTo>
                  <a:lnTo>
                    <a:pt x="177" y="25"/>
                  </a:lnTo>
                  <a:lnTo>
                    <a:pt x="173" y="25"/>
                  </a:lnTo>
                  <a:lnTo>
                    <a:pt x="171" y="25"/>
                  </a:lnTo>
                  <a:lnTo>
                    <a:pt x="169" y="22"/>
                  </a:lnTo>
                  <a:lnTo>
                    <a:pt x="166" y="20"/>
                  </a:lnTo>
                  <a:lnTo>
                    <a:pt x="164" y="18"/>
                  </a:lnTo>
                  <a:lnTo>
                    <a:pt x="160" y="7"/>
                  </a:lnTo>
                  <a:lnTo>
                    <a:pt x="158" y="5"/>
                  </a:lnTo>
                  <a:lnTo>
                    <a:pt x="158" y="3"/>
                  </a:lnTo>
                  <a:lnTo>
                    <a:pt x="153" y="0"/>
                  </a:lnTo>
                  <a:lnTo>
                    <a:pt x="149" y="0"/>
                  </a:lnTo>
                  <a:lnTo>
                    <a:pt x="144" y="0"/>
                  </a:lnTo>
                  <a:lnTo>
                    <a:pt x="142" y="0"/>
                  </a:lnTo>
                  <a:lnTo>
                    <a:pt x="138" y="5"/>
                  </a:lnTo>
                  <a:lnTo>
                    <a:pt x="134" y="9"/>
                  </a:lnTo>
                  <a:lnTo>
                    <a:pt x="134" y="11"/>
                  </a:lnTo>
                  <a:lnTo>
                    <a:pt x="131" y="14"/>
                  </a:lnTo>
                  <a:lnTo>
                    <a:pt x="131" y="16"/>
                  </a:lnTo>
                  <a:lnTo>
                    <a:pt x="131" y="18"/>
                  </a:lnTo>
                  <a:lnTo>
                    <a:pt x="129" y="25"/>
                  </a:lnTo>
                  <a:lnTo>
                    <a:pt x="127" y="27"/>
                  </a:lnTo>
                  <a:lnTo>
                    <a:pt x="127" y="31"/>
                  </a:lnTo>
                  <a:lnTo>
                    <a:pt x="127" y="36"/>
                  </a:lnTo>
                  <a:lnTo>
                    <a:pt x="129" y="36"/>
                  </a:lnTo>
                  <a:lnTo>
                    <a:pt x="129" y="36"/>
                  </a:lnTo>
                  <a:lnTo>
                    <a:pt x="129" y="40"/>
                  </a:lnTo>
                  <a:lnTo>
                    <a:pt x="131" y="42"/>
                  </a:lnTo>
                  <a:lnTo>
                    <a:pt x="131" y="44"/>
                  </a:lnTo>
                  <a:lnTo>
                    <a:pt x="129" y="49"/>
                  </a:lnTo>
                  <a:lnTo>
                    <a:pt x="129" y="51"/>
                  </a:lnTo>
                  <a:lnTo>
                    <a:pt x="123" y="57"/>
                  </a:lnTo>
                  <a:lnTo>
                    <a:pt x="107" y="75"/>
                  </a:lnTo>
                  <a:lnTo>
                    <a:pt x="98" y="79"/>
                  </a:lnTo>
                  <a:lnTo>
                    <a:pt x="94" y="82"/>
                  </a:lnTo>
                  <a:lnTo>
                    <a:pt x="92" y="82"/>
                  </a:lnTo>
                  <a:lnTo>
                    <a:pt x="87" y="84"/>
                  </a:lnTo>
                  <a:lnTo>
                    <a:pt x="87" y="86"/>
                  </a:lnTo>
                  <a:lnTo>
                    <a:pt x="85" y="90"/>
                  </a:lnTo>
                  <a:lnTo>
                    <a:pt x="83" y="95"/>
                  </a:lnTo>
                  <a:lnTo>
                    <a:pt x="79" y="99"/>
                  </a:lnTo>
                  <a:lnTo>
                    <a:pt x="72" y="108"/>
                  </a:lnTo>
                  <a:lnTo>
                    <a:pt x="72" y="110"/>
                  </a:lnTo>
                  <a:lnTo>
                    <a:pt x="70" y="119"/>
                  </a:lnTo>
                  <a:lnTo>
                    <a:pt x="68" y="123"/>
                  </a:lnTo>
                  <a:lnTo>
                    <a:pt x="68" y="126"/>
                  </a:lnTo>
                  <a:lnTo>
                    <a:pt x="65" y="130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54" y="141"/>
                  </a:lnTo>
                  <a:lnTo>
                    <a:pt x="52" y="143"/>
                  </a:lnTo>
                  <a:lnTo>
                    <a:pt x="52" y="145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6" y="158"/>
                  </a:lnTo>
                  <a:lnTo>
                    <a:pt x="41" y="158"/>
                  </a:lnTo>
                  <a:lnTo>
                    <a:pt x="39" y="161"/>
                  </a:lnTo>
                  <a:lnTo>
                    <a:pt x="24" y="167"/>
                  </a:lnTo>
                  <a:lnTo>
                    <a:pt x="17" y="172"/>
                  </a:lnTo>
                  <a:lnTo>
                    <a:pt x="8" y="176"/>
                  </a:lnTo>
                  <a:lnTo>
                    <a:pt x="8" y="178"/>
                  </a:lnTo>
                  <a:lnTo>
                    <a:pt x="6" y="180"/>
                  </a:lnTo>
                  <a:lnTo>
                    <a:pt x="6" y="180"/>
                  </a:lnTo>
                  <a:lnTo>
                    <a:pt x="2" y="187"/>
                  </a:lnTo>
                  <a:lnTo>
                    <a:pt x="0" y="191"/>
                  </a:lnTo>
                  <a:lnTo>
                    <a:pt x="0" y="191"/>
                  </a:lnTo>
                  <a:lnTo>
                    <a:pt x="0" y="191"/>
                  </a:lnTo>
                  <a:lnTo>
                    <a:pt x="4" y="194"/>
                  </a:lnTo>
                  <a:lnTo>
                    <a:pt x="6" y="196"/>
                  </a:lnTo>
                  <a:lnTo>
                    <a:pt x="17" y="205"/>
                  </a:lnTo>
                  <a:lnTo>
                    <a:pt x="19" y="207"/>
                  </a:lnTo>
                  <a:lnTo>
                    <a:pt x="30" y="209"/>
                  </a:lnTo>
                  <a:lnTo>
                    <a:pt x="35" y="211"/>
                  </a:lnTo>
                  <a:lnTo>
                    <a:pt x="43" y="218"/>
                  </a:lnTo>
                  <a:lnTo>
                    <a:pt x="46" y="220"/>
                  </a:lnTo>
                  <a:lnTo>
                    <a:pt x="48" y="220"/>
                  </a:lnTo>
                  <a:lnTo>
                    <a:pt x="50" y="224"/>
                  </a:lnTo>
                  <a:lnTo>
                    <a:pt x="52" y="233"/>
                  </a:lnTo>
                  <a:lnTo>
                    <a:pt x="54" y="235"/>
                  </a:lnTo>
                  <a:lnTo>
                    <a:pt x="61" y="235"/>
                  </a:lnTo>
                  <a:lnTo>
                    <a:pt x="65" y="237"/>
                  </a:lnTo>
                  <a:lnTo>
                    <a:pt x="76" y="248"/>
                  </a:lnTo>
                  <a:lnTo>
                    <a:pt x="76" y="248"/>
                  </a:lnTo>
                  <a:lnTo>
                    <a:pt x="79" y="248"/>
                  </a:lnTo>
                  <a:lnTo>
                    <a:pt x="79" y="248"/>
                  </a:lnTo>
                  <a:lnTo>
                    <a:pt x="81" y="251"/>
                  </a:lnTo>
                  <a:lnTo>
                    <a:pt x="81" y="253"/>
                  </a:lnTo>
                  <a:lnTo>
                    <a:pt x="83" y="253"/>
                  </a:lnTo>
                  <a:lnTo>
                    <a:pt x="92" y="262"/>
                  </a:lnTo>
                  <a:lnTo>
                    <a:pt x="101" y="268"/>
                  </a:lnTo>
                  <a:lnTo>
                    <a:pt x="107" y="270"/>
                  </a:lnTo>
                  <a:lnTo>
                    <a:pt x="114" y="275"/>
                  </a:lnTo>
                  <a:lnTo>
                    <a:pt x="120" y="279"/>
                  </a:lnTo>
                  <a:lnTo>
                    <a:pt x="131" y="288"/>
                  </a:lnTo>
                  <a:lnTo>
                    <a:pt x="140" y="292"/>
                  </a:lnTo>
                  <a:lnTo>
                    <a:pt x="144" y="297"/>
                  </a:lnTo>
                  <a:lnTo>
                    <a:pt x="149" y="294"/>
                  </a:lnTo>
                  <a:lnTo>
                    <a:pt x="160" y="294"/>
                  </a:lnTo>
                  <a:lnTo>
                    <a:pt x="180" y="297"/>
                  </a:lnTo>
                  <a:lnTo>
                    <a:pt x="188" y="294"/>
                  </a:lnTo>
                  <a:lnTo>
                    <a:pt x="193" y="292"/>
                  </a:lnTo>
                  <a:lnTo>
                    <a:pt x="206" y="286"/>
                  </a:lnTo>
                  <a:lnTo>
                    <a:pt x="210" y="284"/>
                  </a:lnTo>
                  <a:lnTo>
                    <a:pt x="217" y="284"/>
                  </a:lnTo>
                  <a:lnTo>
                    <a:pt x="221" y="284"/>
                  </a:lnTo>
                  <a:lnTo>
                    <a:pt x="224" y="279"/>
                  </a:lnTo>
                  <a:lnTo>
                    <a:pt x="232" y="270"/>
                  </a:lnTo>
                  <a:lnTo>
                    <a:pt x="241" y="264"/>
                  </a:lnTo>
                  <a:lnTo>
                    <a:pt x="243" y="259"/>
                  </a:lnTo>
                  <a:lnTo>
                    <a:pt x="248" y="253"/>
                  </a:lnTo>
                  <a:lnTo>
                    <a:pt x="259" y="226"/>
                  </a:lnTo>
                  <a:lnTo>
                    <a:pt x="259" y="224"/>
                  </a:lnTo>
                  <a:lnTo>
                    <a:pt x="259" y="220"/>
                  </a:lnTo>
                  <a:lnTo>
                    <a:pt x="256" y="215"/>
                  </a:lnTo>
                  <a:lnTo>
                    <a:pt x="254" y="209"/>
                  </a:lnTo>
                  <a:lnTo>
                    <a:pt x="252" y="207"/>
                  </a:lnTo>
                  <a:lnTo>
                    <a:pt x="252" y="200"/>
                  </a:lnTo>
                  <a:lnTo>
                    <a:pt x="250" y="194"/>
                  </a:lnTo>
                  <a:lnTo>
                    <a:pt x="248" y="187"/>
                  </a:lnTo>
                  <a:lnTo>
                    <a:pt x="245" y="178"/>
                  </a:lnTo>
                  <a:lnTo>
                    <a:pt x="245" y="172"/>
                  </a:lnTo>
                  <a:lnTo>
                    <a:pt x="252" y="165"/>
                  </a:lnTo>
                  <a:lnTo>
                    <a:pt x="261" y="165"/>
                  </a:lnTo>
                  <a:lnTo>
                    <a:pt x="270" y="165"/>
                  </a:lnTo>
                  <a:lnTo>
                    <a:pt x="278" y="163"/>
                  </a:lnTo>
                  <a:lnTo>
                    <a:pt x="285" y="158"/>
                  </a:lnTo>
                  <a:lnTo>
                    <a:pt x="309" y="134"/>
                  </a:lnTo>
                  <a:lnTo>
                    <a:pt x="309" y="134"/>
                  </a:lnTo>
                  <a:lnTo>
                    <a:pt x="309" y="134"/>
                  </a:lnTo>
                  <a:lnTo>
                    <a:pt x="309" y="121"/>
                  </a:lnTo>
                  <a:lnTo>
                    <a:pt x="309" y="121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09" name="Freeform 13"/>
            <p:cNvSpPr>
              <a:spLocks/>
            </p:cNvSpPr>
            <p:nvPr/>
          </p:nvSpPr>
          <p:spPr bwMode="auto">
            <a:xfrm>
              <a:off x="6726238" y="4913313"/>
              <a:ext cx="681038" cy="1309687"/>
            </a:xfrm>
            <a:custGeom>
              <a:avLst/>
              <a:gdLst>
                <a:gd name="T0" fmla="*/ 389 w 429"/>
                <a:gd name="T1" fmla="*/ 612 h 825"/>
                <a:gd name="T2" fmla="*/ 365 w 429"/>
                <a:gd name="T3" fmla="*/ 614 h 825"/>
                <a:gd name="T4" fmla="*/ 321 w 429"/>
                <a:gd name="T5" fmla="*/ 511 h 825"/>
                <a:gd name="T6" fmla="*/ 332 w 429"/>
                <a:gd name="T7" fmla="*/ 465 h 825"/>
                <a:gd name="T8" fmla="*/ 343 w 429"/>
                <a:gd name="T9" fmla="*/ 447 h 825"/>
                <a:gd name="T10" fmla="*/ 369 w 429"/>
                <a:gd name="T11" fmla="*/ 428 h 825"/>
                <a:gd name="T12" fmla="*/ 332 w 429"/>
                <a:gd name="T13" fmla="*/ 384 h 825"/>
                <a:gd name="T14" fmla="*/ 328 w 429"/>
                <a:gd name="T15" fmla="*/ 344 h 825"/>
                <a:gd name="T16" fmla="*/ 349 w 429"/>
                <a:gd name="T17" fmla="*/ 302 h 825"/>
                <a:gd name="T18" fmla="*/ 365 w 429"/>
                <a:gd name="T19" fmla="*/ 285 h 825"/>
                <a:gd name="T20" fmla="*/ 398 w 429"/>
                <a:gd name="T21" fmla="*/ 261 h 825"/>
                <a:gd name="T22" fmla="*/ 400 w 429"/>
                <a:gd name="T23" fmla="*/ 232 h 825"/>
                <a:gd name="T24" fmla="*/ 413 w 429"/>
                <a:gd name="T25" fmla="*/ 195 h 825"/>
                <a:gd name="T26" fmla="*/ 396 w 429"/>
                <a:gd name="T27" fmla="*/ 158 h 825"/>
                <a:gd name="T28" fmla="*/ 382 w 429"/>
                <a:gd name="T29" fmla="*/ 129 h 825"/>
                <a:gd name="T30" fmla="*/ 391 w 429"/>
                <a:gd name="T31" fmla="*/ 116 h 825"/>
                <a:gd name="T32" fmla="*/ 402 w 429"/>
                <a:gd name="T33" fmla="*/ 92 h 825"/>
                <a:gd name="T34" fmla="*/ 402 w 429"/>
                <a:gd name="T35" fmla="*/ 2 h 825"/>
                <a:gd name="T36" fmla="*/ 139 w 429"/>
                <a:gd name="T37" fmla="*/ 22 h 825"/>
                <a:gd name="T38" fmla="*/ 132 w 429"/>
                <a:gd name="T39" fmla="*/ 65 h 825"/>
                <a:gd name="T40" fmla="*/ 84 w 429"/>
                <a:gd name="T41" fmla="*/ 147 h 825"/>
                <a:gd name="T42" fmla="*/ 53 w 429"/>
                <a:gd name="T43" fmla="*/ 191 h 825"/>
                <a:gd name="T44" fmla="*/ 55 w 429"/>
                <a:gd name="T45" fmla="*/ 234 h 825"/>
                <a:gd name="T46" fmla="*/ 31 w 429"/>
                <a:gd name="T47" fmla="*/ 272 h 825"/>
                <a:gd name="T48" fmla="*/ 27 w 429"/>
                <a:gd name="T49" fmla="*/ 298 h 825"/>
                <a:gd name="T50" fmla="*/ 14 w 429"/>
                <a:gd name="T51" fmla="*/ 311 h 825"/>
                <a:gd name="T52" fmla="*/ 3 w 429"/>
                <a:gd name="T53" fmla="*/ 320 h 825"/>
                <a:gd name="T54" fmla="*/ 20 w 429"/>
                <a:gd name="T55" fmla="*/ 333 h 825"/>
                <a:gd name="T56" fmla="*/ 27 w 429"/>
                <a:gd name="T57" fmla="*/ 362 h 825"/>
                <a:gd name="T58" fmla="*/ 25 w 429"/>
                <a:gd name="T59" fmla="*/ 388 h 825"/>
                <a:gd name="T60" fmla="*/ 25 w 429"/>
                <a:gd name="T61" fmla="*/ 406 h 825"/>
                <a:gd name="T62" fmla="*/ 27 w 429"/>
                <a:gd name="T63" fmla="*/ 441 h 825"/>
                <a:gd name="T64" fmla="*/ 20 w 429"/>
                <a:gd name="T65" fmla="*/ 467 h 825"/>
                <a:gd name="T66" fmla="*/ 22 w 429"/>
                <a:gd name="T67" fmla="*/ 487 h 825"/>
                <a:gd name="T68" fmla="*/ 42 w 429"/>
                <a:gd name="T69" fmla="*/ 513 h 825"/>
                <a:gd name="T70" fmla="*/ 38 w 429"/>
                <a:gd name="T71" fmla="*/ 533 h 825"/>
                <a:gd name="T72" fmla="*/ 55 w 429"/>
                <a:gd name="T73" fmla="*/ 559 h 825"/>
                <a:gd name="T74" fmla="*/ 73 w 429"/>
                <a:gd name="T75" fmla="*/ 579 h 825"/>
                <a:gd name="T76" fmla="*/ 99 w 429"/>
                <a:gd name="T77" fmla="*/ 577 h 825"/>
                <a:gd name="T78" fmla="*/ 134 w 429"/>
                <a:gd name="T79" fmla="*/ 586 h 825"/>
                <a:gd name="T80" fmla="*/ 147 w 429"/>
                <a:gd name="T81" fmla="*/ 614 h 825"/>
                <a:gd name="T82" fmla="*/ 145 w 429"/>
                <a:gd name="T83" fmla="*/ 636 h 825"/>
                <a:gd name="T84" fmla="*/ 167 w 429"/>
                <a:gd name="T85" fmla="*/ 673 h 825"/>
                <a:gd name="T86" fmla="*/ 202 w 429"/>
                <a:gd name="T87" fmla="*/ 700 h 825"/>
                <a:gd name="T88" fmla="*/ 183 w 429"/>
                <a:gd name="T89" fmla="*/ 724 h 825"/>
                <a:gd name="T90" fmla="*/ 176 w 429"/>
                <a:gd name="T91" fmla="*/ 739 h 825"/>
                <a:gd name="T92" fmla="*/ 211 w 429"/>
                <a:gd name="T93" fmla="*/ 794 h 825"/>
                <a:gd name="T94" fmla="*/ 227 w 429"/>
                <a:gd name="T95" fmla="*/ 807 h 825"/>
                <a:gd name="T96" fmla="*/ 242 w 429"/>
                <a:gd name="T97" fmla="*/ 814 h 825"/>
                <a:gd name="T98" fmla="*/ 251 w 429"/>
                <a:gd name="T99" fmla="*/ 812 h 825"/>
                <a:gd name="T100" fmla="*/ 262 w 429"/>
                <a:gd name="T101" fmla="*/ 825 h 825"/>
                <a:gd name="T102" fmla="*/ 275 w 429"/>
                <a:gd name="T103" fmla="*/ 818 h 825"/>
                <a:gd name="T104" fmla="*/ 301 w 429"/>
                <a:gd name="T105" fmla="*/ 787 h 825"/>
                <a:gd name="T106" fmla="*/ 319 w 429"/>
                <a:gd name="T107" fmla="*/ 774 h 825"/>
                <a:gd name="T108" fmla="*/ 354 w 429"/>
                <a:gd name="T109" fmla="*/ 730 h 825"/>
                <a:gd name="T110" fmla="*/ 387 w 429"/>
                <a:gd name="T111" fmla="*/ 704 h 825"/>
                <a:gd name="T112" fmla="*/ 389 w 429"/>
                <a:gd name="T113" fmla="*/ 667 h 825"/>
                <a:gd name="T114" fmla="*/ 426 w 429"/>
                <a:gd name="T115" fmla="*/ 632 h 8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9" h="825">
                  <a:moveTo>
                    <a:pt x="426" y="632"/>
                  </a:moveTo>
                  <a:lnTo>
                    <a:pt x="422" y="627"/>
                  </a:lnTo>
                  <a:lnTo>
                    <a:pt x="411" y="623"/>
                  </a:lnTo>
                  <a:lnTo>
                    <a:pt x="404" y="616"/>
                  </a:lnTo>
                  <a:lnTo>
                    <a:pt x="400" y="612"/>
                  </a:lnTo>
                  <a:lnTo>
                    <a:pt x="396" y="614"/>
                  </a:lnTo>
                  <a:lnTo>
                    <a:pt x="389" y="612"/>
                  </a:lnTo>
                  <a:lnTo>
                    <a:pt x="387" y="612"/>
                  </a:lnTo>
                  <a:lnTo>
                    <a:pt x="385" y="614"/>
                  </a:lnTo>
                  <a:lnTo>
                    <a:pt x="380" y="616"/>
                  </a:lnTo>
                  <a:lnTo>
                    <a:pt x="378" y="616"/>
                  </a:lnTo>
                  <a:lnTo>
                    <a:pt x="374" y="616"/>
                  </a:lnTo>
                  <a:lnTo>
                    <a:pt x="369" y="616"/>
                  </a:lnTo>
                  <a:lnTo>
                    <a:pt x="365" y="614"/>
                  </a:lnTo>
                  <a:lnTo>
                    <a:pt x="363" y="610"/>
                  </a:lnTo>
                  <a:lnTo>
                    <a:pt x="356" y="601"/>
                  </a:lnTo>
                  <a:lnTo>
                    <a:pt x="352" y="592"/>
                  </a:lnTo>
                  <a:lnTo>
                    <a:pt x="343" y="572"/>
                  </a:lnTo>
                  <a:lnTo>
                    <a:pt x="336" y="550"/>
                  </a:lnTo>
                  <a:lnTo>
                    <a:pt x="328" y="531"/>
                  </a:lnTo>
                  <a:lnTo>
                    <a:pt x="321" y="511"/>
                  </a:lnTo>
                  <a:lnTo>
                    <a:pt x="317" y="507"/>
                  </a:lnTo>
                  <a:lnTo>
                    <a:pt x="317" y="500"/>
                  </a:lnTo>
                  <a:lnTo>
                    <a:pt x="319" y="493"/>
                  </a:lnTo>
                  <a:lnTo>
                    <a:pt x="330" y="476"/>
                  </a:lnTo>
                  <a:lnTo>
                    <a:pt x="332" y="471"/>
                  </a:lnTo>
                  <a:lnTo>
                    <a:pt x="332" y="469"/>
                  </a:lnTo>
                  <a:lnTo>
                    <a:pt x="332" y="465"/>
                  </a:lnTo>
                  <a:lnTo>
                    <a:pt x="334" y="460"/>
                  </a:lnTo>
                  <a:lnTo>
                    <a:pt x="336" y="460"/>
                  </a:lnTo>
                  <a:lnTo>
                    <a:pt x="343" y="458"/>
                  </a:lnTo>
                  <a:lnTo>
                    <a:pt x="343" y="458"/>
                  </a:lnTo>
                  <a:lnTo>
                    <a:pt x="343" y="456"/>
                  </a:lnTo>
                  <a:lnTo>
                    <a:pt x="341" y="450"/>
                  </a:lnTo>
                  <a:lnTo>
                    <a:pt x="343" y="447"/>
                  </a:lnTo>
                  <a:lnTo>
                    <a:pt x="345" y="443"/>
                  </a:lnTo>
                  <a:lnTo>
                    <a:pt x="349" y="441"/>
                  </a:lnTo>
                  <a:lnTo>
                    <a:pt x="356" y="439"/>
                  </a:lnTo>
                  <a:lnTo>
                    <a:pt x="358" y="430"/>
                  </a:lnTo>
                  <a:lnTo>
                    <a:pt x="360" y="430"/>
                  </a:lnTo>
                  <a:lnTo>
                    <a:pt x="365" y="430"/>
                  </a:lnTo>
                  <a:lnTo>
                    <a:pt x="369" y="428"/>
                  </a:lnTo>
                  <a:lnTo>
                    <a:pt x="369" y="425"/>
                  </a:lnTo>
                  <a:lnTo>
                    <a:pt x="365" y="421"/>
                  </a:lnTo>
                  <a:lnTo>
                    <a:pt x="360" y="414"/>
                  </a:lnTo>
                  <a:lnTo>
                    <a:pt x="356" y="410"/>
                  </a:lnTo>
                  <a:lnTo>
                    <a:pt x="345" y="401"/>
                  </a:lnTo>
                  <a:lnTo>
                    <a:pt x="343" y="399"/>
                  </a:lnTo>
                  <a:lnTo>
                    <a:pt x="332" y="384"/>
                  </a:lnTo>
                  <a:lnTo>
                    <a:pt x="330" y="379"/>
                  </a:lnTo>
                  <a:lnTo>
                    <a:pt x="325" y="375"/>
                  </a:lnTo>
                  <a:lnTo>
                    <a:pt x="323" y="373"/>
                  </a:lnTo>
                  <a:lnTo>
                    <a:pt x="325" y="368"/>
                  </a:lnTo>
                  <a:lnTo>
                    <a:pt x="328" y="362"/>
                  </a:lnTo>
                  <a:lnTo>
                    <a:pt x="328" y="360"/>
                  </a:lnTo>
                  <a:lnTo>
                    <a:pt x="328" y="344"/>
                  </a:lnTo>
                  <a:lnTo>
                    <a:pt x="328" y="342"/>
                  </a:lnTo>
                  <a:lnTo>
                    <a:pt x="330" y="340"/>
                  </a:lnTo>
                  <a:lnTo>
                    <a:pt x="334" y="335"/>
                  </a:lnTo>
                  <a:lnTo>
                    <a:pt x="343" y="333"/>
                  </a:lnTo>
                  <a:lnTo>
                    <a:pt x="347" y="331"/>
                  </a:lnTo>
                  <a:lnTo>
                    <a:pt x="349" y="327"/>
                  </a:lnTo>
                  <a:lnTo>
                    <a:pt x="349" y="302"/>
                  </a:lnTo>
                  <a:lnTo>
                    <a:pt x="354" y="298"/>
                  </a:lnTo>
                  <a:lnTo>
                    <a:pt x="356" y="298"/>
                  </a:lnTo>
                  <a:lnTo>
                    <a:pt x="360" y="298"/>
                  </a:lnTo>
                  <a:lnTo>
                    <a:pt x="365" y="298"/>
                  </a:lnTo>
                  <a:lnTo>
                    <a:pt x="365" y="296"/>
                  </a:lnTo>
                  <a:lnTo>
                    <a:pt x="365" y="287"/>
                  </a:lnTo>
                  <a:lnTo>
                    <a:pt x="365" y="285"/>
                  </a:lnTo>
                  <a:lnTo>
                    <a:pt x="367" y="283"/>
                  </a:lnTo>
                  <a:lnTo>
                    <a:pt x="369" y="283"/>
                  </a:lnTo>
                  <a:lnTo>
                    <a:pt x="371" y="281"/>
                  </a:lnTo>
                  <a:lnTo>
                    <a:pt x="378" y="274"/>
                  </a:lnTo>
                  <a:lnTo>
                    <a:pt x="382" y="270"/>
                  </a:lnTo>
                  <a:lnTo>
                    <a:pt x="396" y="263"/>
                  </a:lnTo>
                  <a:lnTo>
                    <a:pt x="398" y="261"/>
                  </a:lnTo>
                  <a:lnTo>
                    <a:pt x="398" y="256"/>
                  </a:lnTo>
                  <a:lnTo>
                    <a:pt x="396" y="252"/>
                  </a:lnTo>
                  <a:lnTo>
                    <a:pt x="393" y="250"/>
                  </a:lnTo>
                  <a:lnTo>
                    <a:pt x="393" y="241"/>
                  </a:lnTo>
                  <a:lnTo>
                    <a:pt x="393" y="239"/>
                  </a:lnTo>
                  <a:lnTo>
                    <a:pt x="396" y="234"/>
                  </a:lnTo>
                  <a:lnTo>
                    <a:pt x="400" y="232"/>
                  </a:lnTo>
                  <a:lnTo>
                    <a:pt x="407" y="230"/>
                  </a:lnTo>
                  <a:lnTo>
                    <a:pt x="418" y="228"/>
                  </a:lnTo>
                  <a:lnTo>
                    <a:pt x="422" y="223"/>
                  </a:lnTo>
                  <a:lnTo>
                    <a:pt x="422" y="217"/>
                  </a:lnTo>
                  <a:lnTo>
                    <a:pt x="415" y="204"/>
                  </a:lnTo>
                  <a:lnTo>
                    <a:pt x="415" y="197"/>
                  </a:lnTo>
                  <a:lnTo>
                    <a:pt x="413" y="195"/>
                  </a:lnTo>
                  <a:lnTo>
                    <a:pt x="413" y="193"/>
                  </a:lnTo>
                  <a:lnTo>
                    <a:pt x="402" y="186"/>
                  </a:lnTo>
                  <a:lnTo>
                    <a:pt x="400" y="182"/>
                  </a:lnTo>
                  <a:lnTo>
                    <a:pt x="398" y="175"/>
                  </a:lnTo>
                  <a:lnTo>
                    <a:pt x="398" y="169"/>
                  </a:lnTo>
                  <a:lnTo>
                    <a:pt x="398" y="162"/>
                  </a:lnTo>
                  <a:lnTo>
                    <a:pt x="396" y="158"/>
                  </a:lnTo>
                  <a:lnTo>
                    <a:pt x="391" y="151"/>
                  </a:lnTo>
                  <a:lnTo>
                    <a:pt x="391" y="149"/>
                  </a:lnTo>
                  <a:lnTo>
                    <a:pt x="393" y="144"/>
                  </a:lnTo>
                  <a:lnTo>
                    <a:pt x="393" y="142"/>
                  </a:lnTo>
                  <a:lnTo>
                    <a:pt x="393" y="140"/>
                  </a:lnTo>
                  <a:lnTo>
                    <a:pt x="391" y="138"/>
                  </a:lnTo>
                  <a:lnTo>
                    <a:pt x="382" y="129"/>
                  </a:lnTo>
                  <a:lnTo>
                    <a:pt x="378" y="125"/>
                  </a:lnTo>
                  <a:lnTo>
                    <a:pt x="380" y="120"/>
                  </a:lnTo>
                  <a:lnTo>
                    <a:pt x="382" y="118"/>
                  </a:lnTo>
                  <a:lnTo>
                    <a:pt x="389" y="120"/>
                  </a:lnTo>
                  <a:lnTo>
                    <a:pt x="391" y="120"/>
                  </a:lnTo>
                  <a:lnTo>
                    <a:pt x="391" y="118"/>
                  </a:lnTo>
                  <a:lnTo>
                    <a:pt x="391" y="116"/>
                  </a:lnTo>
                  <a:lnTo>
                    <a:pt x="391" y="114"/>
                  </a:lnTo>
                  <a:lnTo>
                    <a:pt x="391" y="109"/>
                  </a:lnTo>
                  <a:lnTo>
                    <a:pt x="393" y="107"/>
                  </a:lnTo>
                  <a:lnTo>
                    <a:pt x="398" y="105"/>
                  </a:lnTo>
                  <a:lnTo>
                    <a:pt x="400" y="101"/>
                  </a:lnTo>
                  <a:lnTo>
                    <a:pt x="400" y="96"/>
                  </a:lnTo>
                  <a:lnTo>
                    <a:pt x="402" y="92"/>
                  </a:lnTo>
                  <a:lnTo>
                    <a:pt x="402" y="87"/>
                  </a:lnTo>
                  <a:lnTo>
                    <a:pt x="404" y="50"/>
                  </a:lnTo>
                  <a:lnTo>
                    <a:pt x="400" y="35"/>
                  </a:lnTo>
                  <a:lnTo>
                    <a:pt x="400" y="28"/>
                  </a:lnTo>
                  <a:lnTo>
                    <a:pt x="402" y="6"/>
                  </a:lnTo>
                  <a:lnTo>
                    <a:pt x="402" y="2"/>
                  </a:lnTo>
                  <a:lnTo>
                    <a:pt x="402" y="2"/>
                  </a:lnTo>
                  <a:lnTo>
                    <a:pt x="284" y="61"/>
                  </a:lnTo>
                  <a:lnTo>
                    <a:pt x="281" y="63"/>
                  </a:lnTo>
                  <a:lnTo>
                    <a:pt x="277" y="61"/>
                  </a:lnTo>
                  <a:lnTo>
                    <a:pt x="152" y="0"/>
                  </a:lnTo>
                  <a:lnTo>
                    <a:pt x="147" y="0"/>
                  </a:lnTo>
                  <a:lnTo>
                    <a:pt x="145" y="2"/>
                  </a:lnTo>
                  <a:lnTo>
                    <a:pt x="139" y="22"/>
                  </a:lnTo>
                  <a:lnTo>
                    <a:pt x="139" y="30"/>
                  </a:lnTo>
                  <a:lnTo>
                    <a:pt x="141" y="41"/>
                  </a:lnTo>
                  <a:lnTo>
                    <a:pt x="143" y="44"/>
                  </a:lnTo>
                  <a:lnTo>
                    <a:pt x="141" y="46"/>
                  </a:lnTo>
                  <a:lnTo>
                    <a:pt x="141" y="50"/>
                  </a:lnTo>
                  <a:lnTo>
                    <a:pt x="136" y="61"/>
                  </a:lnTo>
                  <a:lnTo>
                    <a:pt x="132" y="65"/>
                  </a:lnTo>
                  <a:lnTo>
                    <a:pt x="121" y="76"/>
                  </a:lnTo>
                  <a:lnTo>
                    <a:pt x="117" y="81"/>
                  </a:lnTo>
                  <a:lnTo>
                    <a:pt x="112" y="85"/>
                  </a:lnTo>
                  <a:lnTo>
                    <a:pt x="110" y="90"/>
                  </a:lnTo>
                  <a:lnTo>
                    <a:pt x="104" y="98"/>
                  </a:lnTo>
                  <a:lnTo>
                    <a:pt x="86" y="142"/>
                  </a:lnTo>
                  <a:lnTo>
                    <a:pt x="84" y="147"/>
                  </a:lnTo>
                  <a:lnTo>
                    <a:pt x="82" y="149"/>
                  </a:lnTo>
                  <a:lnTo>
                    <a:pt x="77" y="151"/>
                  </a:lnTo>
                  <a:lnTo>
                    <a:pt x="62" y="153"/>
                  </a:lnTo>
                  <a:lnTo>
                    <a:pt x="60" y="153"/>
                  </a:lnTo>
                  <a:lnTo>
                    <a:pt x="57" y="164"/>
                  </a:lnTo>
                  <a:lnTo>
                    <a:pt x="55" y="173"/>
                  </a:lnTo>
                  <a:lnTo>
                    <a:pt x="53" y="191"/>
                  </a:lnTo>
                  <a:lnTo>
                    <a:pt x="53" y="193"/>
                  </a:lnTo>
                  <a:lnTo>
                    <a:pt x="55" y="195"/>
                  </a:lnTo>
                  <a:lnTo>
                    <a:pt x="57" y="197"/>
                  </a:lnTo>
                  <a:lnTo>
                    <a:pt x="60" y="202"/>
                  </a:lnTo>
                  <a:lnTo>
                    <a:pt x="60" y="206"/>
                  </a:lnTo>
                  <a:lnTo>
                    <a:pt x="55" y="230"/>
                  </a:lnTo>
                  <a:lnTo>
                    <a:pt x="55" y="234"/>
                  </a:lnTo>
                  <a:lnTo>
                    <a:pt x="51" y="243"/>
                  </a:lnTo>
                  <a:lnTo>
                    <a:pt x="44" y="265"/>
                  </a:lnTo>
                  <a:lnTo>
                    <a:pt x="44" y="267"/>
                  </a:lnTo>
                  <a:lnTo>
                    <a:pt x="44" y="270"/>
                  </a:lnTo>
                  <a:lnTo>
                    <a:pt x="42" y="270"/>
                  </a:lnTo>
                  <a:lnTo>
                    <a:pt x="31" y="270"/>
                  </a:lnTo>
                  <a:lnTo>
                    <a:pt x="31" y="272"/>
                  </a:lnTo>
                  <a:lnTo>
                    <a:pt x="29" y="272"/>
                  </a:lnTo>
                  <a:lnTo>
                    <a:pt x="25" y="281"/>
                  </a:lnTo>
                  <a:lnTo>
                    <a:pt x="25" y="287"/>
                  </a:lnTo>
                  <a:lnTo>
                    <a:pt x="25" y="289"/>
                  </a:lnTo>
                  <a:lnTo>
                    <a:pt x="27" y="294"/>
                  </a:lnTo>
                  <a:lnTo>
                    <a:pt x="27" y="296"/>
                  </a:lnTo>
                  <a:lnTo>
                    <a:pt x="27" y="298"/>
                  </a:lnTo>
                  <a:lnTo>
                    <a:pt x="25" y="298"/>
                  </a:lnTo>
                  <a:lnTo>
                    <a:pt x="25" y="300"/>
                  </a:lnTo>
                  <a:lnTo>
                    <a:pt x="22" y="302"/>
                  </a:lnTo>
                  <a:lnTo>
                    <a:pt x="18" y="305"/>
                  </a:lnTo>
                  <a:lnTo>
                    <a:pt x="16" y="307"/>
                  </a:lnTo>
                  <a:lnTo>
                    <a:pt x="16" y="309"/>
                  </a:lnTo>
                  <a:lnTo>
                    <a:pt x="14" y="311"/>
                  </a:lnTo>
                  <a:lnTo>
                    <a:pt x="11" y="311"/>
                  </a:lnTo>
                  <a:lnTo>
                    <a:pt x="5" y="311"/>
                  </a:lnTo>
                  <a:lnTo>
                    <a:pt x="3" y="311"/>
                  </a:lnTo>
                  <a:lnTo>
                    <a:pt x="0" y="316"/>
                  </a:lnTo>
                  <a:lnTo>
                    <a:pt x="0" y="316"/>
                  </a:lnTo>
                  <a:lnTo>
                    <a:pt x="3" y="318"/>
                  </a:lnTo>
                  <a:lnTo>
                    <a:pt x="3" y="320"/>
                  </a:lnTo>
                  <a:lnTo>
                    <a:pt x="7" y="327"/>
                  </a:lnTo>
                  <a:lnTo>
                    <a:pt x="11" y="331"/>
                  </a:lnTo>
                  <a:lnTo>
                    <a:pt x="11" y="331"/>
                  </a:lnTo>
                  <a:lnTo>
                    <a:pt x="14" y="333"/>
                  </a:lnTo>
                  <a:lnTo>
                    <a:pt x="16" y="333"/>
                  </a:lnTo>
                  <a:lnTo>
                    <a:pt x="18" y="333"/>
                  </a:lnTo>
                  <a:lnTo>
                    <a:pt x="20" y="333"/>
                  </a:lnTo>
                  <a:lnTo>
                    <a:pt x="25" y="335"/>
                  </a:lnTo>
                  <a:lnTo>
                    <a:pt x="27" y="338"/>
                  </a:lnTo>
                  <a:lnTo>
                    <a:pt x="27" y="340"/>
                  </a:lnTo>
                  <a:lnTo>
                    <a:pt x="25" y="349"/>
                  </a:lnTo>
                  <a:lnTo>
                    <a:pt x="25" y="351"/>
                  </a:lnTo>
                  <a:lnTo>
                    <a:pt x="25" y="355"/>
                  </a:lnTo>
                  <a:lnTo>
                    <a:pt x="27" y="362"/>
                  </a:lnTo>
                  <a:lnTo>
                    <a:pt x="27" y="364"/>
                  </a:lnTo>
                  <a:lnTo>
                    <a:pt x="27" y="366"/>
                  </a:lnTo>
                  <a:lnTo>
                    <a:pt x="22" y="375"/>
                  </a:lnTo>
                  <a:lnTo>
                    <a:pt x="22" y="377"/>
                  </a:lnTo>
                  <a:lnTo>
                    <a:pt x="22" y="384"/>
                  </a:lnTo>
                  <a:lnTo>
                    <a:pt x="25" y="388"/>
                  </a:lnTo>
                  <a:lnTo>
                    <a:pt x="25" y="388"/>
                  </a:lnTo>
                  <a:lnTo>
                    <a:pt x="25" y="388"/>
                  </a:lnTo>
                  <a:lnTo>
                    <a:pt x="25" y="392"/>
                  </a:lnTo>
                  <a:lnTo>
                    <a:pt x="22" y="395"/>
                  </a:lnTo>
                  <a:lnTo>
                    <a:pt x="22" y="399"/>
                  </a:lnTo>
                  <a:lnTo>
                    <a:pt x="22" y="401"/>
                  </a:lnTo>
                  <a:lnTo>
                    <a:pt x="22" y="403"/>
                  </a:lnTo>
                  <a:lnTo>
                    <a:pt x="25" y="406"/>
                  </a:lnTo>
                  <a:lnTo>
                    <a:pt x="27" y="408"/>
                  </a:lnTo>
                  <a:lnTo>
                    <a:pt x="29" y="412"/>
                  </a:lnTo>
                  <a:lnTo>
                    <a:pt x="29" y="419"/>
                  </a:lnTo>
                  <a:lnTo>
                    <a:pt x="29" y="434"/>
                  </a:lnTo>
                  <a:lnTo>
                    <a:pt x="29" y="439"/>
                  </a:lnTo>
                  <a:lnTo>
                    <a:pt x="27" y="441"/>
                  </a:lnTo>
                  <a:lnTo>
                    <a:pt x="27" y="441"/>
                  </a:lnTo>
                  <a:lnTo>
                    <a:pt x="22" y="441"/>
                  </a:lnTo>
                  <a:lnTo>
                    <a:pt x="22" y="443"/>
                  </a:lnTo>
                  <a:lnTo>
                    <a:pt x="20" y="443"/>
                  </a:lnTo>
                  <a:lnTo>
                    <a:pt x="20" y="450"/>
                  </a:lnTo>
                  <a:lnTo>
                    <a:pt x="18" y="463"/>
                  </a:lnTo>
                  <a:lnTo>
                    <a:pt x="18" y="465"/>
                  </a:lnTo>
                  <a:lnTo>
                    <a:pt x="20" y="467"/>
                  </a:lnTo>
                  <a:lnTo>
                    <a:pt x="22" y="469"/>
                  </a:lnTo>
                  <a:lnTo>
                    <a:pt x="22" y="471"/>
                  </a:lnTo>
                  <a:lnTo>
                    <a:pt x="22" y="474"/>
                  </a:lnTo>
                  <a:lnTo>
                    <a:pt x="22" y="476"/>
                  </a:lnTo>
                  <a:lnTo>
                    <a:pt x="22" y="478"/>
                  </a:lnTo>
                  <a:lnTo>
                    <a:pt x="22" y="485"/>
                  </a:lnTo>
                  <a:lnTo>
                    <a:pt x="22" y="487"/>
                  </a:lnTo>
                  <a:lnTo>
                    <a:pt x="22" y="489"/>
                  </a:lnTo>
                  <a:lnTo>
                    <a:pt x="29" y="496"/>
                  </a:lnTo>
                  <a:lnTo>
                    <a:pt x="31" y="500"/>
                  </a:lnTo>
                  <a:lnTo>
                    <a:pt x="40" y="504"/>
                  </a:lnTo>
                  <a:lnTo>
                    <a:pt x="40" y="507"/>
                  </a:lnTo>
                  <a:lnTo>
                    <a:pt x="42" y="511"/>
                  </a:lnTo>
                  <a:lnTo>
                    <a:pt x="42" y="513"/>
                  </a:lnTo>
                  <a:lnTo>
                    <a:pt x="42" y="515"/>
                  </a:lnTo>
                  <a:lnTo>
                    <a:pt x="42" y="518"/>
                  </a:lnTo>
                  <a:lnTo>
                    <a:pt x="38" y="526"/>
                  </a:lnTo>
                  <a:lnTo>
                    <a:pt x="35" y="526"/>
                  </a:lnTo>
                  <a:lnTo>
                    <a:pt x="35" y="529"/>
                  </a:lnTo>
                  <a:lnTo>
                    <a:pt x="35" y="531"/>
                  </a:lnTo>
                  <a:lnTo>
                    <a:pt x="38" y="533"/>
                  </a:lnTo>
                  <a:lnTo>
                    <a:pt x="38" y="535"/>
                  </a:lnTo>
                  <a:lnTo>
                    <a:pt x="40" y="537"/>
                  </a:lnTo>
                  <a:lnTo>
                    <a:pt x="42" y="539"/>
                  </a:lnTo>
                  <a:lnTo>
                    <a:pt x="44" y="546"/>
                  </a:lnTo>
                  <a:lnTo>
                    <a:pt x="46" y="548"/>
                  </a:lnTo>
                  <a:lnTo>
                    <a:pt x="53" y="555"/>
                  </a:lnTo>
                  <a:lnTo>
                    <a:pt x="55" y="559"/>
                  </a:lnTo>
                  <a:lnTo>
                    <a:pt x="55" y="564"/>
                  </a:lnTo>
                  <a:lnTo>
                    <a:pt x="53" y="570"/>
                  </a:lnTo>
                  <a:lnTo>
                    <a:pt x="57" y="570"/>
                  </a:lnTo>
                  <a:lnTo>
                    <a:pt x="60" y="570"/>
                  </a:lnTo>
                  <a:lnTo>
                    <a:pt x="62" y="572"/>
                  </a:lnTo>
                  <a:lnTo>
                    <a:pt x="62" y="572"/>
                  </a:lnTo>
                  <a:lnTo>
                    <a:pt x="73" y="579"/>
                  </a:lnTo>
                  <a:lnTo>
                    <a:pt x="77" y="581"/>
                  </a:lnTo>
                  <a:lnTo>
                    <a:pt x="84" y="583"/>
                  </a:lnTo>
                  <a:lnTo>
                    <a:pt x="86" y="583"/>
                  </a:lnTo>
                  <a:lnTo>
                    <a:pt x="93" y="581"/>
                  </a:lnTo>
                  <a:lnTo>
                    <a:pt x="95" y="579"/>
                  </a:lnTo>
                  <a:lnTo>
                    <a:pt x="97" y="579"/>
                  </a:lnTo>
                  <a:lnTo>
                    <a:pt x="99" y="577"/>
                  </a:lnTo>
                  <a:lnTo>
                    <a:pt x="106" y="575"/>
                  </a:lnTo>
                  <a:lnTo>
                    <a:pt x="117" y="581"/>
                  </a:lnTo>
                  <a:lnTo>
                    <a:pt x="123" y="583"/>
                  </a:lnTo>
                  <a:lnTo>
                    <a:pt x="128" y="581"/>
                  </a:lnTo>
                  <a:lnTo>
                    <a:pt x="130" y="581"/>
                  </a:lnTo>
                  <a:lnTo>
                    <a:pt x="132" y="583"/>
                  </a:lnTo>
                  <a:lnTo>
                    <a:pt x="134" y="586"/>
                  </a:lnTo>
                  <a:lnTo>
                    <a:pt x="136" y="588"/>
                  </a:lnTo>
                  <a:lnTo>
                    <a:pt x="136" y="590"/>
                  </a:lnTo>
                  <a:lnTo>
                    <a:pt x="136" y="597"/>
                  </a:lnTo>
                  <a:lnTo>
                    <a:pt x="136" y="603"/>
                  </a:lnTo>
                  <a:lnTo>
                    <a:pt x="136" y="608"/>
                  </a:lnTo>
                  <a:lnTo>
                    <a:pt x="139" y="610"/>
                  </a:lnTo>
                  <a:lnTo>
                    <a:pt x="147" y="614"/>
                  </a:lnTo>
                  <a:lnTo>
                    <a:pt x="147" y="616"/>
                  </a:lnTo>
                  <a:lnTo>
                    <a:pt x="150" y="618"/>
                  </a:lnTo>
                  <a:lnTo>
                    <a:pt x="150" y="621"/>
                  </a:lnTo>
                  <a:lnTo>
                    <a:pt x="147" y="627"/>
                  </a:lnTo>
                  <a:lnTo>
                    <a:pt x="145" y="632"/>
                  </a:lnTo>
                  <a:lnTo>
                    <a:pt x="145" y="636"/>
                  </a:lnTo>
                  <a:lnTo>
                    <a:pt x="145" y="636"/>
                  </a:lnTo>
                  <a:lnTo>
                    <a:pt x="147" y="645"/>
                  </a:lnTo>
                  <a:lnTo>
                    <a:pt x="152" y="656"/>
                  </a:lnTo>
                  <a:lnTo>
                    <a:pt x="154" y="662"/>
                  </a:lnTo>
                  <a:lnTo>
                    <a:pt x="156" y="665"/>
                  </a:lnTo>
                  <a:lnTo>
                    <a:pt x="165" y="669"/>
                  </a:lnTo>
                  <a:lnTo>
                    <a:pt x="167" y="671"/>
                  </a:lnTo>
                  <a:lnTo>
                    <a:pt x="167" y="673"/>
                  </a:lnTo>
                  <a:lnTo>
                    <a:pt x="169" y="678"/>
                  </a:lnTo>
                  <a:lnTo>
                    <a:pt x="174" y="682"/>
                  </a:lnTo>
                  <a:lnTo>
                    <a:pt x="183" y="693"/>
                  </a:lnTo>
                  <a:lnTo>
                    <a:pt x="187" y="695"/>
                  </a:lnTo>
                  <a:lnTo>
                    <a:pt x="189" y="697"/>
                  </a:lnTo>
                  <a:lnTo>
                    <a:pt x="191" y="697"/>
                  </a:lnTo>
                  <a:lnTo>
                    <a:pt x="202" y="700"/>
                  </a:lnTo>
                  <a:lnTo>
                    <a:pt x="207" y="706"/>
                  </a:lnTo>
                  <a:lnTo>
                    <a:pt x="205" y="708"/>
                  </a:lnTo>
                  <a:lnTo>
                    <a:pt x="198" y="715"/>
                  </a:lnTo>
                  <a:lnTo>
                    <a:pt x="194" y="719"/>
                  </a:lnTo>
                  <a:lnTo>
                    <a:pt x="191" y="722"/>
                  </a:lnTo>
                  <a:lnTo>
                    <a:pt x="189" y="722"/>
                  </a:lnTo>
                  <a:lnTo>
                    <a:pt x="183" y="724"/>
                  </a:lnTo>
                  <a:lnTo>
                    <a:pt x="183" y="724"/>
                  </a:lnTo>
                  <a:lnTo>
                    <a:pt x="178" y="726"/>
                  </a:lnTo>
                  <a:lnTo>
                    <a:pt x="178" y="726"/>
                  </a:lnTo>
                  <a:lnTo>
                    <a:pt x="178" y="728"/>
                  </a:lnTo>
                  <a:lnTo>
                    <a:pt x="176" y="735"/>
                  </a:lnTo>
                  <a:lnTo>
                    <a:pt x="176" y="735"/>
                  </a:lnTo>
                  <a:lnTo>
                    <a:pt x="176" y="739"/>
                  </a:lnTo>
                  <a:lnTo>
                    <a:pt x="178" y="741"/>
                  </a:lnTo>
                  <a:lnTo>
                    <a:pt x="180" y="750"/>
                  </a:lnTo>
                  <a:lnTo>
                    <a:pt x="194" y="768"/>
                  </a:lnTo>
                  <a:lnTo>
                    <a:pt x="202" y="787"/>
                  </a:lnTo>
                  <a:lnTo>
                    <a:pt x="207" y="794"/>
                  </a:lnTo>
                  <a:lnTo>
                    <a:pt x="209" y="794"/>
                  </a:lnTo>
                  <a:lnTo>
                    <a:pt x="211" y="794"/>
                  </a:lnTo>
                  <a:lnTo>
                    <a:pt x="211" y="794"/>
                  </a:lnTo>
                  <a:lnTo>
                    <a:pt x="211" y="794"/>
                  </a:lnTo>
                  <a:lnTo>
                    <a:pt x="211" y="794"/>
                  </a:lnTo>
                  <a:lnTo>
                    <a:pt x="213" y="794"/>
                  </a:lnTo>
                  <a:lnTo>
                    <a:pt x="218" y="798"/>
                  </a:lnTo>
                  <a:lnTo>
                    <a:pt x="222" y="805"/>
                  </a:lnTo>
                  <a:lnTo>
                    <a:pt x="227" y="807"/>
                  </a:lnTo>
                  <a:lnTo>
                    <a:pt x="229" y="807"/>
                  </a:lnTo>
                  <a:lnTo>
                    <a:pt x="229" y="807"/>
                  </a:lnTo>
                  <a:lnTo>
                    <a:pt x="231" y="807"/>
                  </a:lnTo>
                  <a:lnTo>
                    <a:pt x="231" y="809"/>
                  </a:lnTo>
                  <a:lnTo>
                    <a:pt x="233" y="809"/>
                  </a:lnTo>
                  <a:lnTo>
                    <a:pt x="240" y="814"/>
                  </a:lnTo>
                  <a:lnTo>
                    <a:pt x="242" y="814"/>
                  </a:lnTo>
                  <a:lnTo>
                    <a:pt x="242" y="814"/>
                  </a:lnTo>
                  <a:lnTo>
                    <a:pt x="244" y="814"/>
                  </a:lnTo>
                  <a:lnTo>
                    <a:pt x="246" y="814"/>
                  </a:lnTo>
                  <a:lnTo>
                    <a:pt x="248" y="814"/>
                  </a:lnTo>
                  <a:lnTo>
                    <a:pt x="248" y="812"/>
                  </a:lnTo>
                  <a:lnTo>
                    <a:pt x="248" y="812"/>
                  </a:lnTo>
                  <a:lnTo>
                    <a:pt x="251" y="812"/>
                  </a:lnTo>
                  <a:lnTo>
                    <a:pt x="253" y="814"/>
                  </a:lnTo>
                  <a:lnTo>
                    <a:pt x="253" y="814"/>
                  </a:lnTo>
                  <a:lnTo>
                    <a:pt x="255" y="818"/>
                  </a:lnTo>
                  <a:lnTo>
                    <a:pt x="255" y="818"/>
                  </a:lnTo>
                  <a:lnTo>
                    <a:pt x="259" y="823"/>
                  </a:lnTo>
                  <a:lnTo>
                    <a:pt x="259" y="825"/>
                  </a:lnTo>
                  <a:lnTo>
                    <a:pt x="262" y="825"/>
                  </a:lnTo>
                  <a:lnTo>
                    <a:pt x="262" y="825"/>
                  </a:lnTo>
                  <a:lnTo>
                    <a:pt x="264" y="825"/>
                  </a:lnTo>
                  <a:lnTo>
                    <a:pt x="270" y="823"/>
                  </a:lnTo>
                  <a:lnTo>
                    <a:pt x="273" y="823"/>
                  </a:lnTo>
                  <a:lnTo>
                    <a:pt x="273" y="823"/>
                  </a:lnTo>
                  <a:lnTo>
                    <a:pt x="273" y="823"/>
                  </a:lnTo>
                  <a:lnTo>
                    <a:pt x="275" y="818"/>
                  </a:lnTo>
                  <a:lnTo>
                    <a:pt x="279" y="807"/>
                  </a:lnTo>
                  <a:lnTo>
                    <a:pt x="281" y="803"/>
                  </a:lnTo>
                  <a:lnTo>
                    <a:pt x="281" y="803"/>
                  </a:lnTo>
                  <a:lnTo>
                    <a:pt x="286" y="801"/>
                  </a:lnTo>
                  <a:lnTo>
                    <a:pt x="286" y="801"/>
                  </a:lnTo>
                  <a:lnTo>
                    <a:pt x="297" y="792"/>
                  </a:lnTo>
                  <a:lnTo>
                    <a:pt x="301" y="787"/>
                  </a:lnTo>
                  <a:lnTo>
                    <a:pt x="308" y="785"/>
                  </a:lnTo>
                  <a:lnTo>
                    <a:pt x="312" y="785"/>
                  </a:lnTo>
                  <a:lnTo>
                    <a:pt x="317" y="783"/>
                  </a:lnTo>
                  <a:lnTo>
                    <a:pt x="321" y="779"/>
                  </a:lnTo>
                  <a:lnTo>
                    <a:pt x="321" y="774"/>
                  </a:lnTo>
                  <a:lnTo>
                    <a:pt x="321" y="774"/>
                  </a:lnTo>
                  <a:lnTo>
                    <a:pt x="319" y="774"/>
                  </a:lnTo>
                  <a:lnTo>
                    <a:pt x="319" y="772"/>
                  </a:lnTo>
                  <a:lnTo>
                    <a:pt x="319" y="770"/>
                  </a:lnTo>
                  <a:lnTo>
                    <a:pt x="321" y="770"/>
                  </a:lnTo>
                  <a:lnTo>
                    <a:pt x="330" y="763"/>
                  </a:lnTo>
                  <a:lnTo>
                    <a:pt x="332" y="761"/>
                  </a:lnTo>
                  <a:lnTo>
                    <a:pt x="336" y="750"/>
                  </a:lnTo>
                  <a:lnTo>
                    <a:pt x="354" y="730"/>
                  </a:lnTo>
                  <a:lnTo>
                    <a:pt x="358" y="726"/>
                  </a:lnTo>
                  <a:lnTo>
                    <a:pt x="360" y="717"/>
                  </a:lnTo>
                  <a:lnTo>
                    <a:pt x="363" y="713"/>
                  </a:lnTo>
                  <a:lnTo>
                    <a:pt x="365" y="711"/>
                  </a:lnTo>
                  <a:lnTo>
                    <a:pt x="371" y="711"/>
                  </a:lnTo>
                  <a:lnTo>
                    <a:pt x="376" y="711"/>
                  </a:lnTo>
                  <a:lnTo>
                    <a:pt x="387" y="704"/>
                  </a:lnTo>
                  <a:lnTo>
                    <a:pt x="389" y="702"/>
                  </a:lnTo>
                  <a:lnTo>
                    <a:pt x="393" y="697"/>
                  </a:lnTo>
                  <a:lnTo>
                    <a:pt x="396" y="695"/>
                  </a:lnTo>
                  <a:lnTo>
                    <a:pt x="389" y="689"/>
                  </a:lnTo>
                  <a:lnTo>
                    <a:pt x="389" y="684"/>
                  </a:lnTo>
                  <a:lnTo>
                    <a:pt x="389" y="678"/>
                  </a:lnTo>
                  <a:lnTo>
                    <a:pt x="389" y="667"/>
                  </a:lnTo>
                  <a:lnTo>
                    <a:pt x="389" y="665"/>
                  </a:lnTo>
                  <a:lnTo>
                    <a:pt x="391" y="660"/>
                  </a:lnTo>
                  <a:lnTo>
                    <a:pt x="396" y="654"/>
                  </a:lnTo>
                  <a:lnTo>
                    <a:pt x="402" y="651"/>
                  </a:lnTo>
                  <a:lnTo>
                    <a:pt x="424" y="643"/>
                  </a:lnTo>
                  <a:lnTo>
                    <a:pt x="429" y="636"/>
                  </a:lnTo>
                  <a:lnTo>
                    <a:pt x="426" y="632"/>
                  </a:lnTo>
                  <a:lnTo>
                    <a:pt x="426" y="632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10" name="Freeform 14"/>
            <p:cNvSpPr>
              <a:spLocks/>
            </p:cNvSpPr>
            <p:nvPr/>
          </p:nvSpPr>
          <p:spPr bwMode="auto">
            <a:xfrm>
              <a:off x="6621463" y="5818188"/>
              <a:ext cx="433388" cy="557212"/>
            </a:xfrm>
            <a:custGeom>
              <a:avLst/>
              <a:gdLst>
                <a:gd name="T0" fmla="*/ 253 w 273"/>
                <a:gd name="T1" fmla="*/ 125 h 351"/>
                <a:gd name="T2" fmla="*/ 233 w 273"/>
                <a:gd name="T3" fmla="*/ 103 h 351"/>
                <a:gd name="T4" fmla="*/ 220 w 273"/>
                <a:gd name="T5" fmla="*/ 92 h 351"/>
                <a:gd name="T6" fmla="*/ 211 w 273"/>
                <a:gd name="T7" fmla="*/ 66 h 351"/>
                <a:gd name="T8" fmla="*/ 216 w 273"/>
                <a:gd name="T9" fmla="*/ 48 h 351"/>
                <a:gd name="T10" fmla="*/ 202 w 273"/>
                <a:gd name="T11" fmla="*/ 38 h 351"/>
                <a:gd name="T12" fmla="*/ 202 w 273"/>
                <a:gd name="T13" fmla="*/ 18 h 351"/>
                <a:gd name="T14" fmla="*/ 194 w 273"/>
                <a:gd name="T15" fmla="*/ 11 h 351"/>
                <a:gd name="T16" fmla="*/ 165 w 273"/>
                <a:gd name="T17" fmla="*/ 7 h 351"/>
                <a:gd name="T18" fmla="*/ 152 w 273"/>
                <a:gd name="T19" fmla="*/ 13 h 351"/>
                <a:gd name="T20" fmla="*/ 128 w 273"/>
                <a:gd name="T21" fmla="*/ 2 h 351"/>
                <a:gd name="T22" fmla="*/ 119 w 273"/>
                <a:gd name="T23" fmla="*/ 0 h 351"/>
                <a:gd name="T24" fmla="*/ 101 w 273"/>
                <a:gd name="T25" fmla="*/ 68 h 351"/>
                <a:gd name="T26" fmla="*/ 97 w 273"/>
                <a:gd name="T27" fmla="*/ 75 h 351"/>
                <a:gd name="T28" fmla="*/ 99 w 273"/>
                <a:gd name="T29" fmla="*/ 90 h 351"/>
                <a:gd name="T30" fmla="*/ 88 w 273"/>
                <a:gd name="T31" fmla="*/ 97 h 351"/>
                <a:gd name="T32" fmla="*/ 82 w 273"/>
                <a:gd name="T33" fmla="*/ 90 h 351"/>
                <a:gd name="T34" fmla="*/ 73 w 273"/>
                <a:gd name="T35" fmla="*/ 92 h 351"/>
                <a:gd name="T36" fmla="*/ 53 w 273"/>
                <a:gd name="T37" fmla="*/ 99 h 351"/>
                <a:gd name="T38" fmla="*/ 33 w 273"/>
                <a:gd name="T39" fmla="*/ 123 h 351"/>
                <a:gd name="T40" fmla="*/ 33 w 273"/>
                <a:gd name="T41" fmla="*/ 143 h 351"/>
                <a:gd name="T42" fmla="*/ 25 w 273"/>
                <a:gd name="T43" fmla="*/ 149 h 351"/>
                <a:gd name="T44" fmla="*/ 7 w 273"/>
                <a:gd name="T45" fmla="*/ 165 h 351"/>
                <a:gd name="T46" fmla="*/ 9 w 273"/>
                <a:gd name="T47" fmla="*/ 178 h 351"/>
                <a:gd name="T48" fmla="*/ 27 w 273"/>
                <a:gd name="T49" fmla="*/ 202 h 351"/>
                <a:gd name="T50" fmla="*/ 27 w 273"/>
                <a:gd name="T51" fmla="*/ 209 h 351"/>
                <a:gd name="T52" fmla="*/ 16 w 273"/>
                <a:gd name="T53" fmla="*/ 237 h 351"/>
                <a:gd name="T54" fmla="*/ 7 w 273"/>
                <a:gd name="T55" fmla="*/ 253 h 351"/>
                <a:gd name="T56" fmla="*/ 0 w 273"/>
                <a:gd name="T57" fmla="*/ 261 h 351"/>
                <a:gd name="T58" fmla="*/ 16 w 273"/>
                <a:gd name="T59" fmla="*/ 272 h 351"/>
                <a:gd name="T60" fmla="*/ 20 w 273"/>
                <a:gd name="T61" fmla="*/ 292 h 351"/>
                <a:gd name="T62" fmla="*/ 22 w 273"/>
                <a:gd name="T63" fmla="*/ 323 h 351"/>
                <a:gd name="T64" fmla="*/ 20 w 273"/>
                <a:gd name="T65" fmla="*/ 332 h 351"/>
                <a:gd name="T66" fmla="*/ 40 w 273"/>
                <a:gd name="T67" fmla="*/ 338 h 351"/>
                <a:gd name="T68" fmla="*/ 58 w 273"/>
                <a:gd name="T69" fmla="*/ 351 h 351"/>
                <a:gd name="T70" fmla="*/ 66 w 273"/>
                <a:gd name="T71" fmla="*/ 338 h 351"/>
                <a:gd name="T72" fmla="*/ 97 w 273"/>
                <a:gd name="T73" fmla="*/ 321 h 351"/>
                <a:gd name="T74" fmla="*/ 106 w 273"/>
                <a:gd name="T75" fmla="*/ 314 h 351"/>
                <a:gd name="T76" fmla="*/ 121 w 273"/>
                <a:gd name="T77" fmla="*/ 292 h 351"/>
                <a:gd name="T78" fmla="*/ 126 w 273"/>
                <a:gd name="T79" fmla="*/ 283 h 351"/>
                <a:gd name="T80" fmla="*/ 137 w 273"/>
                <a:gd name="T81" fmla="*/ 259 h 351"/>
                <a:gd name="T82" fmla="*/ 145 w 273"/>
                <a:gd name="T83" fmla="*/ 244 h 351"/>
                <a:gd name="T84" fmla="*/ 165 w 273"/>
                <a:gd name="T85" fmla="*/ 235 h 351"/>
                <a:gd name="T86" fmla="*/ 189 w 273"/>
                <a:gd name="T87" fmla="*/ 204 h 351"/>
                <a:gd name="T88" fmla="*/ 187 w 273"/>
                <a:gd name="T89" fmla="*/ 196 h 351"/>
                <a:gd name="T90" fmla="*/ 187 w 273"/>
                <a:gd name="T91" fmla="*/ 185 h 351"/>
                <a:gd name="T92" fmla="*/ 192 w 273"/>
                <a:gd name="T93" fmla="*/ 171 h 351"/>
                <a:gd name="T94" fmla="*/ 202 w 273"/>
                <a:gd name="T95" fmla="*/ 160 h 351"/>
                <a:gd name="T96" fmla="*/ 216 w 273"/>
                <a:gd name="T97" fmla="*/ 165 h 351"/>
                <a:gd name="T98" fmla="*/ 227 w 273"/>
                <a:gd name="T99" fmla="*/ 182 h 351"/>
                <a:gd name="T100" fmla="*/ 240 w 273"/>
                <a:gd name="T101" fmla="*/ 180 h 351"/>
                <a:gd name="T102" fmla="*/ 242 w 273"/>
                <a:gd name="T103" fmla="*/ 165 h 351"/>
                <a:gd name="T104" fmla="*/ 249 w 273"/>
                <a:gd name="T105" fmla="*/ 154 h 351"/>
                <a:gd name="T106" fmla="*/ 260 w 273"/>
                <a:gd name="T107" fmla="*/ 149 h 351"/>
                <a:gd name="T108" fmla="*/ 268 w 273"/>
                <a:gd name="T109" fmla="*/ 130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351">
                  <a:moveTo>
                    <a:pt x="268" y="130"/>
                  </a:moveTo>
                  <a:lnTo>
                    <a:pt x="257" y="127"/>
                  </a:lnTo>
                  <a:lnTo>
                    <a:pt x="255" y="127"/>
                  </a:lnTo>
                  <a:lnTo>
                    <a:pt x="253" y="125"/>
                  </a:lnTo>
                  <a:lnTo>
                    <a:pt x="249" y="123"/>
                  </a:lnTo>
                  <a:lnTo>
                    <a:pt x="240" y="112"/>
                  </a:lnTo>
                  <a:lnTo>
                    <a:pt x="235" y="108"/>
                  </a:lnTo>
                  <a:lnTo>
                    <a:pt x="233" y="103"/>
                  </a:lnTo>
                  <a:lnTo>
                    <a:pt x="233" y="101"/>
                  </a:lnTo>
                  <a:lnTo>
                    <a:pt x="231" y="99"/>
                  </a:lnTo>
                  <a:lnTo>
                    <a:pt x="222" y="95"/>
                  </a:lnTo>
                  <a:lnTo>
                    <a:pt x="220" y="92"/>
                  </a:lnTo>
                  <a:lnTo>
                    <a:pt x="218" y="86"/>
                  </a:lnTo>
                  <a:lnTo>
                    <a:pt x="213" y="75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1" y="62"/>
                  </a:lnTo>
                  <a:lnTo>
                    <a:pt x="213" y="57"/>
                  </a:lnTo>
                  <a:lnTo>
                    <a:pt x="216" y="51"/>
                  </a:lnTo>
                  <a:lnTo>
                    <a:pt x="216" y="48"/>
                  </a:lnTo>
                  <a:lnTo>
                    <a:pt x="213" y="46"/>
                  </a:lnTo>
                  <a:lnTo>
                    <a:pt x="213" y="44"/>
                  </a:lnTo>
                  <a:lnTo>
                    <a:pt x="205" y="40"/>
                  </a:lnTo>
                  <a:lnTo>
                    <a:pt x="202" y="38"/>
                  </a:lnTo>
                  <a:lnTo>
                    <a:pt x="202" y="33"/>
                  </a:lnTo>
                  <a:lnTo>
                    <a:pt x="202" y="27"/>
                  </a:lnTo>
                  <a:lnTo>
                    <a:pt x="202" y="20"/>
                  </a:lnTo>
                  <a:lnTo>
                    <a:pt x="202" y="18"/>
                  </a:lnTo>
                  <a:lnTo>
                    <a:pt x="200" y="16"/>
                  </a:lnTo>
                  <a:lnTo>
                    <a:pt x="198" y="13"/>
                  </a:lnTo>
                  <a:lnTo>
                    <a:pt x="196" y="11"/>
                  </a:lnTo>
                  <a:lnTo>
                    <a:pt x="194" y="11"/>
                  </a:lnTo>
                  <a:lnTo>
                    <a:pt x="189" y="13"/>
                  </a:lnTo>
                  <a:lnTo>
                    <a:pt x="183" y="11"/>
                  </a:lnTo>
                  <a:lnTo>
                    <a:pt x="172" y="5"/>
                  </a:lnTo>
                  <a:lnTo>
                    <a:pt x="165" y="7"/>
                  </a:lnTo>
                  <a:lnTo>
                    <a:pt x="163" y="9"/>
                  </a:lnTo>
                  <a:lnTo>
                    <a:pt x="161" y="9"/>
                  </a:lnTo>
                  <a:lnTo>
                    <a:pt x="159" y="11"/>
                  </a:lnTo>
                  <a:lnTo>
                    <a:pt x="152" y="13"/>
                  </a:lnTo>
                  <a:lnTo>
                    <a:pt x="150" y="13"/>
                  </a:lnTo>
                  <a:lnTo>
                    <a:pt x="143" y="11"/>
                  </a:lnTo>
                  <a:lnTo>
                    <a:pt x="139" y="9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6" y="0"/>
                  </a:lnTo>
                  <a:lnTo>
                    <a:pt x="123" y="0"/>
                  </a:lnTo>
                  <a:lnTo>
                    <a:pt x="119" y="0"/>
                  </a:lnTo>
                  <a:lnTo>
                    <a:pt x="117" y="42"/>
                  </a:lnTo>
                  <a:lnTo>
                    <a:pt x="115" y="53"/>
                  </a:lnTo>
                  <a:lnTo>
                    <a:pt x="108" y="59"/>
                  </a:lnTo>
                  <a:lnTo>
                    <a:pt x="101" y="68"/>
                  </a:lnTo>
                  <a:lnTo>
                    <a:pt x="99" y="68"/>
                  </a:lnTo>
                  <a:lnTo>
                    <a:pt x="99" y="73"/>
                  </a:lnTo>
                  <a:lnTo>
                    <a:pt x="97" y="73"/>
                  </a:lnTo>
                  <a:lnTo>
                    <a:pt x="97" y="75"/>
                  </a:lnTo>
                  <a:lnTo>
                    <a:pt x="97" y="77"/>
                  </a:lnTo>
                  <a:lnTo>
                    <a:pt x="99" y="84"/>
                  </a:lnTo>
                  <a:lnTo>
                    <a:pt x="99" y="86"/>
                  </a:lnTo>
                  <a:lnTo>
                    <a:pt x="99" y="90"/>
                  </a:lnTo>
                  <a:lnTo>
                    <a:pt x="99" y="92"/>
                  </a:lnTo>
                  <a:lnTo>
                    <a:pt x="97" y="92"/>
                  </a:lnTo>
                  <a:lnTo>
                    <a:pt x="91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6" y="95"/>
                  </a:lnTo>
                  <a:lnTo>
                    <a:pt x="84" y="92"/>
                  </a:lnTo>
                  <a:lnTo>
                    <a:pt x="82" y="90"/>
                  </a:lnTo>
                  <a:lnTo>
                    <a:pt x="80" y="90"/>
                  </a:lnTo>
                  <a:lnTo>
                    <a:pt x="77" y="90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66" y="92"/>
                  </a:lnTo>
                  <a:lnTo>
                    <a:pt x="64" y="92"/>
                  </a:lnTo>
                  <a:lnTo>
                    <a:pt x="55" y="97"/>
                  </a:lnTo>
                  <a:lnTo>
                    <a:pt x="53" y="99"/>
                  </a:lnTo>
                  <a:lnTo>
                    <a:pt x="49" y="101"/>
                  </a:lnTo>
                  <a:lnTo>
                    <a:pt x="40" y="114"/>
                  </a:lnTo>
                  <a:lnTo>
                    <a:pt x="36" y="121"/>
                  </a:lnTo>
                  <a:lnTo>
                    <a:pt x="33" y="123"/>
                  </a:lnTo>
                  <a:lnTo>
                    <a:pt x="33" y="125"/>
                  </a:lnTo>
                  <a:lnTo>
                    <a:pt x="36" y="134"/>
                  </a:lnTo>
                  <a:lnTo>
                    <a:pt x="36" y="136"/>
                  </a:lnTo>
                  <a:lnTo>
                    <a:pt x="33" y="143"/>
                  </a:lnTo>
                  <a:lnTo>
                    <a:pt x="33" y="145"/>
                  </a:lnTo>
                  <a:lnTo>
                    <a:pt x="33" y="147"/>
                  </a:lnTo>
                  <a:lnTo>
                    <a:pt x="31" y="147"/>
                  </a:lnTo>
                  <a:lnTo>
                    <a:pt x="25" y="149"/>
                  </a:lnTo>
                  <a:lnTo>
                    <a:pt x="20" y="152"/>
                  </a:lnTo>
                  <a:lnTo>
                    <a:pt x="11" y="160"/>
                  </a:lnTo>
                  <a:lnTo>
                    <a:pt x="9" y="163"/>
                  </a:lnTo>
                  <a:lnTo>
                    <a:pt x="7" y="165"/>
                  </a:lnTo>
                  <a:lnTo>
                    <a:pt x="7" y="169"/>
                  </a:lnTo>
                  <a:lnTo>
                    <a:pt x="7" y="169"/>
                  </a:lnTo>
                  <a:lnTo>
                    <a:pt x="7" y="174"/>
                  </a:lnTo>
                  <a:lnTo>
                    <a:pt x="9" y="178"/>
                  </a:lnTo>
                  <a:lnTo>
                    <a:pt x="11" y="187"/>
                  </a:lnTo>
                  <a:lnTo>
                    <a:pt x="14" y="191"/>
                  </a:lnTo>
                  <a:lnTo>
                    <a:pt x="27" y="200"/>
                  </a:lnTo>
                  <a:lnTo>
                    <a:pt x="27" y="202"/>
                  </a:lnTo>
                  <a:lnTo>
                    <a:pt x="29" y="204"/>
                  </a:lnTo>
                  <a:lnTo>
                    <a:pt x="29" y="207"/>
                  </a:lnTo>
                  <a:lnTo>
                    <a:pt x="27" y="209"/>
                  </a:lnTo>
                  <a:lnTo>
                    <a:pt x="27" y="209"/>
                  </a:lnTo>
                  <a:lnTo>
                    <a:pt x="22" y="226"/>
                  </a:lnTo>
                  <a:lnTo>
                    <a:pt x="20" y="228"/>
                  </a:lnTo>
                  <a:lnTo>
                    <a:pt x="20" y="231"/>
                  </a:lnTo>
                  <a:lnTo>
                    <a:pt x="16" y="237"/>
                  </a:lnTo>
                  <a:lnTo>
                    <a:pt x="14" y="239"/>
                  </a:lnTo>
                  <a:lnTo>
                    <a:pt x="11" y="246"/>
                  </a:lnTo>
                  <a:lnTo>
                    <a:pt x="9" y="250"/>
                  </a:lnTo>
                  <a:lnTo>
                    <a:pt x="7" y="253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9"/>
                  </a:lnTo>
                  <a:lnTo>
                    <a:pt x="0" y="261"/>
                  </a:lnTo>
                  <a:lnTo>
                    <a:pt x="7" y="266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6" y="272"/>
                  </a:lnTo>
                  <a:lnTo>
                    <a:pt x="16" y="275"/>
                  </a:lnTo>
                  <a:lnTo>
                    <a:pt x="18" y="281"/>
                  </a:lnTo>
                  <a:lnTo>
                    <a:pt x="20" y="288"/>
                  </a:lnTo>
                  <a:lnTo>
                    <a:pt x="20" y="292"/>
                  </a:lnTo>
                  <a:lnTo>
                    <a:pt x="22" y="312"/>
                  </a:lnTo>
                  <a:lnTo>
                    <a:pt x="22" y="316"/>
                  </a:lnTo>
                  <a:lnTo>
                    <a:pt x="25" y="318"/>
                  </a:lnTo>
                  <a:lnTo>
                    <a:pt x="22" y="323"/>
                  </a:lnTo>
                  <a:lnTo>
                    <a:pt x="20" y="327"/>
                  </a:lnTo>
                  <a:lnTo>
                    <a:pt x="18" y="329"/>
                  </a:lnTo>
                  <a:lnTo>
                    <a:pt x="20" y="332"/>
                  </a:lnTo>
                  <a:lnTo>
                    <a:pt x="20" y="332"/>
                  </a:lnTo>
                  <a:lnTo>
                    <a:pt x="27" y="332"/>
                  </a:lnTo>
                  <a:lnTo>
                    <a:pt x="29" y="332"/>
                  </a:lnTo>
                  <a:lnTo>
                    <a:pt x="33" y="334"/>
                  </a:lnTo>
                  <a:lnTo>
                    <a:pt x="40" y="338"/>
                  </a:lnTo>
                  <a:lnTo>
                    <a:pt x="51" y="343"/>
                  </a:lnTo>
                  <a:lnTo>
                    <a:pt x="53" y="345"/>
                  </a:lnTo>
                  <a:lnTo>
                    <a:pt x="58" y="351"/>
                  </a:lnTo>
                  <a:lnTo>
                    <a:pt x="58" y="351"/>
                  </a:lnTo>
                  <a:lnTo>
                    <a:pt x="60" y="347"/>
                  </a:lnTo>
                  <a:lnTo>
                    <a:pt x="64" y="340"/>
                  </a:lnTo>
                  <a:lnTo>
                    <a:pt x="64" y="340"/>
                  </a:lnTo>
                  <a:lnTo>
                    <a:pt x="66" y="338"/>
                  </a:lnTo>
                  <a:lnTo>
                    <a:pt x="66" y="336"/>
                  </a:lnTo>
                  <a:lnTo>
                    <a:pt x="75" y="332"/>
                  </a:lnTo>
                  <a:lnTo>
                    <a:pt x="82" y="327"/>
                  </a:lnTo>
                  <a:lnTo>
                    <a:pt x="97" y="321"/>
                  </a:lnTo>
                  <a:lnTo>
                    <a:pt x="99" y="318"/>
                  </a:lnTo>
                  <a:lnTo>
                    <a:pt x="104" y="318"/>
                  </a:lnTo>
                  <a:lnTo>
                    <a:pt x="104" y="316"/>
                  </a:lnTo>
                  <a:lnTo>
                    <a:pt x="106" y="314"/>
                  </a:lnTo>
                  <a:lnTo>
                    <a:pt x="110" y="305"/>
                  </a:lnTo>
                  <a:lnTo>
                    <a:pt x="110" y="303"/>
                  </a:lnTo>
                  <a:lnTo>
                    <a:pt x="112" y="301"/>
                  </a:lnTo>
                  <a:lnTo>
                    <a:pt x="121" y="292"/>
                  </a:lnTo>
                  <a:lnTo>
                    <a:pt x="121" y="292"/>
                  </a:lnTo>
                  <a:lnTo>
                    <a:pt x="123" y="290"/>
                  </a:lnTo>
                  <a:lnTo>
                    <a:pt x="126" y="286"/>
                  </a:lnTo>
                  <a:lnTo>
                    <a:pt x="126" y="283"/>
                  </a:lnTo>
                  <a:lnTo>
                    <a:pt x="128" y="279"/>
                  </a:lnTo>
                  <a:lnTo>
                    <a:pt x="130" y="270"/>
                  </a:lnTo>
                  <a:lnTo>
                    <a:pt x="130" y="268"/>
                  </a:lnTo>
                  <a:lnTo>
                    <a:pt x="137" y="259"/>
                  </a:lnTo>
                  <a:lnTo>
                    <a:pt x="141" y="255"/>
                  </a:lnTo>
                  <a:lnTo>
                    <a:pt x="143" y="250"/>
                  </a:lnTo>
                  <a:lnTo>
                    <a:pt x="145" y="246"/>
                  </a:lnTo>
                  <a:lnTo>
                    <a:pt x="145" y="244"/>
                  </a:lnTo>
                  <a:lnTo>
                    <a:pt x="150" y="242"/>
                  </a:lnTo>
                  <a:lnTo>
                    <a:pt x="152" y="242"/>
                  </a:lnTo>
                  <a:lnTo>
                    <a:pt x="156" y="239"/>
                  </a:lnTo>
                  <a:lnTo>
                    <a:pt x="165" y="235"/>
                  </a:lnTo>
                  <a:lnTo>
                    <a:pt x="181" y="217"/>
                  </a:lnTo>
                  <a:lnTo>
                    <a:pt x="187" y="211"/>
                  </a:lnTo>
                  <a:lnTo>
                    <a:pt x="187" y="209"/>
                  </a:lnTo>
                  <a:lnTo>
                    <a:pt x="189" y="204"/>
                  </a:lnTo>
                  <a:lnTo>
                    <a:pt x="189" y="202"/>
                  </a:lnTo>
                  <a:lnTo>
                    <a:pt x="187" y="200"/>
                  </a:lnTo>
                  <a:lnTo>
                    <a:pt x="187" y="196"/>
                  </a:lnTo>
                  <a:lnTo>
                    <a:pt x="187" y="196"/>
                  </a:lnTo>
                  <a:lnTo>
                    <a:pt x="185" y="196"/>
                  </a:lnTo>
                  <a:lnTo>
                    <a:pt x="185" y="191"/>
                  </a:lnTo>
                  <a:lnTo>
                    <a:pt x="185" y="187"/>
                  </a:lnTo>
                  <a:lnTo>
                    <a:pt x="187" y="185"/>
                  </a:lnTo>
                  <a:lnTo>
                    <a:pt x="189" y="178"/>
                  </a:lnTo>
                  <a:lnTo>
                    <a:pt x="189" y="176"/>
                  </a:lnTo>
                  <a:lnTo>
                    <a:pt x="189" y="174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6" y="165"/>
                  </a:lnTo>
                  <a:lnTo>
                    <a:pt x="200" y="160"/>
                  </a:lnTo>
                  <a:lnTo>
                    <a:pt x="202" y="160"/>
                  </a:lnTo>
                  <a:lnTo>
                    <a:pt x="207" y="160"/>
                  </a:lnTo>
                  <a:lnTo>
                    <a:pt x="211" y="160"/>
                  </a:lnTo>
                  <a:lnTo>
                    <a:pt x="216" y="163"/>
                  </a:lnTo>
                  <a:lnTo>
                    <a:pt x="216" y="165"/>
                  </a:lnTo>
                  <a:lnTo>
                    <a:pt x="218" y="167"/>
                  </a:lnTo>
                  <a:lnTo>
                    <a:pt x="222" y="178"/>
                  </a:lnTo>
                  <a:lnTo>
                    <a:pt x="224" y="180"/>
                  </a:lnTo>
                  <a:lnTo>
                    <a:pt x="227" y="182"/>
                  </a:lnTo>
                  <a:lnTo>
                    <a:pt x="229" y="185"/>
                  </a:lnTo>
                  <a:lnTo>
                    <a:pt x="231" y="185"/>
                  </a:lnTo>
                  <a:lnTo>
                    <a:pt x="235" y="185"/>
                  </a:lnTo>
                  <a:lnTo>
                    <a:pt x="240" y="180"/>
                  </a:lnTo>
                  <a:lnTo>
                    <a:pt x="244" y="171"/>
                  </a:lnTo>
                  <a:lnTo>
                    <a:pt x="242" y="169"/>
                  </a:lnTo>
                  <a:lnTo>
                    <a:pt x="242" y="165"/>
                  </a:lnTo>
                  <a:lnTo>
                    <a:pt x="242" y="165"/>
                  </a:lnTo>
                  <a:lnTo>
                    <a:pt x="244" y="158"/>
                  </a:lnTo>
                  <a:lnTo>
                    <a:pt x="244" y="156"/>
                  </a:lnTo>
                  <a:lnTo>
                    <a:pt x="244" y="156"/>
                  </a:lnTo>
                  <a:lnTo>
                    <a:pt x="249" y="154"/>
                  </a:lnTo>
                  <a:lnTo>
                    <a:pt x="249" y="154"/>
                  </a:lnTo>
                  <a:lnTo>
                    <a:pt x="255" y="152"/>
                  </a:lnTo>
                  <a:lnTo>
                    <a:pt x="257" y="152"/>
                  </a:lnTo>
                  <a:lnTo>
                    <a:pt x="260" y="149"/>
                  </a:lnTo>
                  <a:lnTo>
                    <a:pt x="264" y="145"/>
                  </a:lnTo>
                  <a:lnTo>
                    <a:pt x="271" y="138"/>
                  </a:lnTo>
                  <a:lnTo>
                    <a:pt x="273" y="136"/>
                  </a:lnTo>
                  <a:lnTo>
                    <a:pt x="268" y="130"/>
                  </a:lnTo>
                  <a:lnTo>
                    <a:pt x="268" y="130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11" name="Freeform 15"/>
            <p:cNvSpPr>
              <a:spLocks noEditPoints="1"/>
            </p:cNvSpPr>
            <p:nvPr/>
          </p:nvSpPr>
          <p:spPr bwMode="auto">
            <a:xfrm>
              <a:off x="5151438" y="4902200"/>
              <a:ext cx="525463" cy="746125"/>
            </a:xfrm>
            <a:custGeom>
              <a:avLst/>
              <a:gdLst>
                <a:gd name="T0" fmla="*/ 48 w 331"/>
                <a:gd name="T1" fmla="*/ 248 h 470"/>
                <a:gd name="T2" fmla="*/ 53 w 331"/>
                <a:gd name="T3" fmla="*/ 248 h 470"/>
                <a:gd name="T4" fmla="*/ 2 w 331"/>
                <a:gd name="T5" fmla="*/ 167 h 470"/>
                <a:gd name="T6" fmla="*/ 4 w 331"/>
                <a:gd name="T7" fmla="*/ 160 h 470"/>
                <a:gd name="T8" fmla="*/ 323 w 331"/>
                <a:gd name="T9" fmla="*/ 356 h 470"/>
                <a:gd name="T10" fmla="*/ 314 w 331"/>
                <a:gd name="T11" fmla="*/ 334 h 470"/>
                <a:gd name="T12" fmla="*/ 303 w 331"/>
                <a:gd name="T13" fmla="*/ 314 h 470"/>
                <a:gd name="T14" fmla="*/ 294 w 331"/>
                <a:gd name="T15" fmla="*/ 303 h 470"/>
                <a:gd name="T16" fmla="*/ 281 w 331"/>
                <a:gd name="T17" fmla="*/ 307 h 470"/>
                <a:gd name="T18" fmla="*/ 263 w 331"/>
                <a:gd name="T19" fmla="*/ 312 h 470"/>
                <a:gd name="T20" fmla="*/ 261 w 331"/>
                <a:gd name="T21" fmla="*/ 283 h 470"/>
                <a:gd name="T22" fmla="*/ 250 w 331"/>
                <a:gd name="T23" fmla="*/ 268 h 470"/>
                <a:gd name="T24" fmla="*/ 257 w 331"/>
                <a:gd name="T25" fmla="*/ 233 h 470"/>
                <a:gd name="T26" fmla="*/ 252 w 331"/>
                <a:gd name="T27" fmla="*/ 213 h 470"/>
                <a:gd name="T28" fmla="*/ 226 w 331"/>
                <a:gd name="T29" fmla="*/ 200 h 470"/>
                <a:gd name="T30" fmla="*/ 198 w 331"/>
                <a:gd name="T31" fmla="*/ 187 h 470"/>
                <a:gd name="T32" fmla="*/ 173 w 331"/>
                <a:gd name="T33" fmla="*/ 173 h 470"/>
                <a:gd name="T34" fmla="*/ 173 w 331"/>
                <a:gd name="T35" fmla="*/ 160 h 470"/>
                <a:gd name="T36" fmla="*/ 171 w 331"/>
                <a:gd name="T37" fmla="*/ 143 h 470"/>
                <a:gd name="T38" fmla="*/ 173 w 331"/>
                <a:gd name="T39" fmla="*/ 112 h 470"/>
                <a:gd name="T40" fmla="*/ 178 w 331"/>
                <a:gd name="T41" fmla="*/ 88 h 470"/>
                <a:gd name="T42" fmla="*/ 145 w 331"/>
                <a:gd name="T43" fmla="*/ 81 h 470"/>
                <a:gd name="T44" fmla="*/ 125 w 331"/>
                <a:gd name="T45" fmla="*/ 72 h 470"/>
                <a:gd name="T46" fmla="*/ 132 w 331"/>
                <a:gd name="T47" fmla="*/ 55 h 470"/>
                <a:gd name="T48" fmla="*/ 143 w 331"/>
                <a:gd name="T49" fmla="*/ 44 h 470"/>
                <a:gd name="T50" fmla="*/ 143 w 331"/>
                <a:gd name="T51" fmla="*/ 20 h 470"/>
                <a:gd name="T52" fmla="*/ 156 w 331"/>
                <a:gd name="T53" fmla="*/ 4 h 470"/>
                <a:gd name="T54" fmla="*/ 145 w 331"/>
                <a:gd name="T55" fmla="*/ 7 h 470"/>
                <a:gd name="T56" fmla="*/ 99 w 331"/>
                <a:gd name="T57" fmla="*/ 4 h 470"/>
                <a:gd name="T58" fmla="*/ 90 w 331"/>
                <a:gd name="T59" fmla="*/ 13 h 470"/>
                <a:gd name="T60" fmla="*/ 50 w 331"/>
                <a:gd name="T61" fmla="*/ 59 h 470"/>
                <a:gd name="T62" fmla="*/ 50 w 331"/>
                <a:gd name="T63" fmla="*/ 123 h 470"/>
                <a:gd name="T64" fmla="*/ 42 w 331"/>
                <a:gd name="T65" fmla="*/ 158 h 470"/>
                <a:gd name="T66" fmla="*/ 31 w 331"/>
                <a:gd name="T67" fmla="*/ 162 h 470"/>
                <a:gd name="T68" fmla="*/ 24 w 331"/>
                <a:gd name="T69" fmla="*/ 158 h 470"/>
                <a:gd name="T70" fmla="*/ 13 w 331"/>
                <a:gd name="T71" fmla="*/ 171 h 470"/>
                <a:gd name="T72" fmla="*/ 28 w 331"/>
                <a:gd name="T73" fmla="*/ 178 h 470"/>
                <a:gd name="T74" fmla="*/ 33 w 331"/>
                <a:gd name="T75" fmla="*/ 178 h 470"/>
                <a:gd name="T76" fmla="*/ 35 w 331"/>
                <a:gd name="T77" fmla="*/ 193 h 470"/>
                <a:gd name="T78" fmla="*/ 35 w 331"/>
                <a:gd name="T79" fmla="*/ 206 h 470"/>
                <a:gd name="T80" fmla="*/ 37 w 331"/>
                <a:gd name="T81" fmla="*/ 233 h 470"/>
                <a:gd name="T82" fmla="*/ 53 w 331"/>
                <a:gd name="T83" fmla="*/ 233 h 470"/>
                <a:gd name="T84" fmla="*/ 64 w 331"/>
                <a:gd name="T85" fmla="*/ 248 h 470"/>
                <a:gd name="T86" fmla="*/ 61 w 331"/>
                <a:gd name="T87" fmla="*/ 263 h 470"/>
                <a:gd name="T88" fmla="*/ 79 w 331"/>
                <a:gd name="T89" fmla="*/ 274 h 470"/>
                <a:gd name="T90" fmla="*/ 92 w 331"/>
                <a:gd name="T91" fmla="*/ 292 h 470"/>
                <a:gd name="T92" fmla="*/ 101 w 331"/>
                <a:gd name="T93" fmla="*/ 309 h 470"/>
                <a:gd name="T94" fmla="*/ 114 w 331"/>
                <a:gd name="T95" fmla="*/ 327 h 470"/>
                <a:gd name="T96" fmla="*/ 123 w 331"/>
                <a:gd name="T97" fmla="*/ 336 h 470"/>
                <a:gd name="T98" fmla="*/ 149 w 331"/>
                <a:gd name="T99" fmla="*/ 353 h 470"/>
                <a:gd name="T100" fmla="*/ 180 w 331"/>
                <a:gd name="T101" fmla="*/ 380 h 470"/>
                <a:gd name="T102" fmla="*/ 202 w 331"/>
                <a:gd name="T103" fmla="*/ 408 h 470"/>
                <a:gd name="T104" fmla="*/ 230 w 331"/>
                <a:gd name="T105" fmla="*/ 428 h 470"/>
                <a:gd name="T106" fmla="*/ 228 w 331"/>
                <a:gd name="T107" fmla="*/ 439 h 470"/>
                <a:gd name="T108" fmla="*/ 237 w 331"/>
                <a:gd name="T109" fmla="*/ 457 h 470"/>
                <a:gd name="T110" fmla="*/ 246 w 331"/>
                <a:gd name="T111" fmla="*/ 463 h 470"/>
                <a:gd name="T112" fmla="*/ 270 w 331"/>
                <a:gd name="T113" fmla="*/ 454 h 470"/>
                <a:gd name="T114" fmla="*/ 325 w 331"/>
                <a:gd name="T115" fmla="*/ 404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1" h="470">
                  <a:moveTo>
                    <a:pt x="53" y="248"/>
                  </a:moveTo>
                  <a:lnTo>
                    <a:pt x="50" y="246"/>
                  </a:lnTo>
                  <a:lnTo>
                    <a:pt x="48" y="244"/>
                  </a:lnTo>
                  <a:lnTo>
                    <a:pt x="46" y="246"/>
                  </a:lnTo>
                  <a:lnTo>
                    <a:pt x="46" y="248"/>
                  </a:lnTo>
                  <a:lnTo>
                    <a:pt x="48" y="248"/>
                  </a:lnTo>
                  <a:lnTo>
                    <a:pt x="50" y="250"/>
                  </a:lnTo>
                  <a:lnTo>
                    <a:pt x="53" y="250"/>
                  </a:lnTo>
                  <a:lnTo>
                    <a:pt x="55" y="250"/>
                  </a:lnTo>
                  <a:lnTo>
                    <a:pt x="53" y="248"/>
                  </a:lnTo>
                  <a:lnTo>
                    <a:pt x="53" y="248"/>
                  </a:lnTo>
                  <a:lnTo>
                    <a:pt x="53" y="248"/>
                  </a:lnTo>
                  <a:close/>
                  <a:moveTo>
                    <a:pt x="4" y="160"/>
                  </a:moveTo>
                  <a:lnTo>
                    <a:pt x="2" y="160"/>
                  </a:lnTo>
                  <a:lnTo>
                    <a:pt x="2" y="162"/>
                  </a:lnTo>
                  <a:lnTo>
                    <a:pt x="0" y="165"/>
                  </a:lnTo>
                  <a:lnTo>
                    <a:pt x="0" y="167"/>
                  </a:lnTo>
                  <a:lnTo>
                    <a:pt x="2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7" y="165"/>
                  </a:lnTo>
                  <a:lnTo>
                    <a:pt x="7" y="162"/>
                  </a:lnTo>
                  <a:lnTo>
                    <a:pt x="4" y="162"/>
                  </a:lnTo>
                  <a:lnTo>
                    <a:pt x="4" y="160"/>
                  </a:lnTo>
                  <a:lnTo>
                    <a:pt x="4" y="160"/>
                  </a:lnTo>
                  <a:close/>
                  <a:moveTo>
                    <a:pt x="329" y="371"/>
                  </a:moveTo>
                  <a:lnTo>
                    <a:pt x="329" y="369"/>
                  </a:lnTo>
                  <a:lnTo>
                    <a:pt x="329" y="367"/>
                  </a:lnTo>
                  <a:lnTo>
                    <a:pt x="325" y="362"/>
                  </a:lnTo>
                  <a:lnTo>
                    <a:pt x="323" y="356"/>
                  </a:lnTo>
                  <a:lnTo>
                    <a:pt x="318" y="351"/>
                  </a:lnTo>
                  <a:lnTo>
                    <a:pt x="318" y="347"/>
                  </a:lnTo>
                  <a:lnTo>
                    <a:pt x="316" y="340"/>
                  </a:lnTo>
                  <a:lnTo>
                    <a:pt x="316" y="338"/>
                  </a:lnTo>
                  <a:lnTo>
                    <a:pt x="316" y="334"/>
                  </a:lnTo>
                  <a:lnTo>
                    <a:pt x="314" y="334"/>
                  </a:lnTo>
                  <a:lnTo>
                    <a:pt x="314" y="331"/>
                  </a:lnTo>
                  <a:lnTo>
                    <a:pt x="305" y="327"/>
                  </a:lnTo>
                  <a:lnTo>
                    <a:pt x="303" y="325"/>
                  </a:lnTo>
                  <a:lnTo>
                    <a:pt x="301" y="320"/>
                  </a:lnTo>
                  <a:lnTo>
                    <a:pt x="301" y="318"/>
                  </a:lnTo>
                  <a:lnTo>
                    <a:pt x="303" y="314"/>
                  </a:lnTo>
                  <a:lnTo>
                    <a:pt x="301" y="312"/>
                  </a:lnTo>
                  <a:lnTo>
                    <a:pt x="301" y="312"/>
                  </a:lnTo>
                  <a:lnTo>
                    <a:pt x="299" y="309"/>
                  </a:lnTo>
                  <a:lnTo>
                    <a:pt x="296" y="307"/>
                  </a:lnTo>
                  <a:lnTo>
                    <a:pt x="294" y="305"/>
                  </a:lnTo>
                  <a:lnTo>
                    <a:pt x="294" y="303"/>
                  </a:lnTo>
                  <a:lnTo>
                    <a:pt x="292" y="301"/>
                  </a:lnTo>
                  <a:lnTo>
                    <a:pt x="290" y="301"/>
                  </a:lnTo>
                  <a:lnTo>
                    <a:pt x="288" y="301"/>
                  </a:lnTo>
                  <a:lnTo>
                    <a:pt x="285" y="301"/>
                  </a:lnTo>
                  <a:lnTo>
                    <a:pt x="285" y="303"/>
                  </a:lnTo>
                  <a:lnTo>
                    <a:pt x="281" y="307"/>
                  </a:lnTo>
                  <a:lnTo>
                    <a:pt x="279" y="309"/>
                  </a:lnTo>
                  <a:lnTo>
                    <a:pt x="277" y="309"/>
                  </a:lnTo>
                  <a:lnTo>
                    <a:pt x="274" y="312"/>
                  </a:lnTo>
                  <a:lnTo>
                    <a:pt x="266" y="314"/>
                  </a:lnTo>
                  <a:lnTo>
                    <a:pt x="263" y="312"/>
                  </a:lnTo>
                  <a:lnTo>
                    <a:pt x="263" y="312"/>
                  </a:lnTo>
                  <a:lnTo>
                    <a:pt x="263" y="305"/>
                  </a:lnTo>
                  <a:lnTo>
                    <a:pt x="261" y="298"/>
                  </a:lnTo>
                  <a:lnTo>
                    <a:pt x="263" y="290"/>
                  </a:lnTo>
                  <a:lnTo>
                    <a:pt x="263" y="288"/>
                  </a:lnTo>
                  <a:lnTo>
                    <a:pt x="263" y="285"/>
                  </a:lnTo>
                  <a:lnTo>
                    <a:pt x="261" y="283"/>
                  </a:lnTo>
                  <a:lnTo>
                    <a:pt x="261" y="281"/>
                  </a:lnTo>
                  <a:lnTo>
                    <a:pt x="259" y="281"/>
                  </a:lnTo>
                  <a:lnTo>
                    <a:pt x="252" y="274"/>
                  </a:lnTo>
                  <a:lnTo>
                    <a:pt x="250" y="272"/>
                  </a:lnTo>
                  <a:lnTo>
                    <a:pt x="248" y="270"/>
                  </a:lnTo>
                  <a:lnTo>
                    <a:pt x="250" y="268"/>
                  </a:lnTo>
                  <a:lnTo>
                    <a:pt x="252" y="263"/>
                  </a:lnTo>
                  <a:lnTo>
                    <a:pt x="255" y="261"/>
                  </a:lnTo>
                  <a:lnTo>
                    <a:pt x="261" y="248"/>
                  </a:lnTo>
                  <a:lnTo>
                    <a:pt x="261" y="244"/>
                  </a:lnTo>
                  <a:lnTo>
                    <a:pt x="261" y="241"/>
                  </a:lnTo>
                  <a:lnTo>
                    <a:pt x="257" y="233"/>
                  </a:lnTo>
                  <a:lnTo>
                    <a:pt x="257" y="230"/>
                  </a:lnTo>
                  <a:lnTo>
                    <a:pt x="257" y="226"/>
                  </a:lnTo>
                  <a:lnTo>
                    <a:pt x="259" y="226"/>
                  </a:lnTo>
                  <a:lnTo>
                    <a:pt x="261" y="222"/>
                  </a:lnTo>
                  <a:lnTo>
                    <a:pt x="257" y="217"/>
                  </a:lnTo>
                  <a:lnTo>
                    <a:pt x="252" y="213"/>
                  </a:lnTo>
                  <a:lnTo>
                    <a:pt x="250" y="213"/>
                  </a:lnTo>
                  <a:lnTo>
                    <a:pt x="248" y="211"/>
                  </a:lnTo>
                  <a:lnTo>
                    <a:pt x="246" y="211"/>
                  </a:lnTo>
                  <a:lnTo>
                    <a:pt x="239" y="211"/>
                  </a:lnTo>
                  <a:lnTo>
                    <a:pt x="235" y="209"/>
                  </a:lnTo>
                  <a:lnTo>
                    <a:pt x="226" y="200"/>
                  </a:lnTo>
                  <a:lnTo>
                    <a:pt x="215" y="193"/>
                  </a:lnTo>
                  <a:lnTo>
                    <a:pt x="213" y="189"/>
                  </a:lnTo>
                  <a:lnTo>
                    <a:pt x="211" y="189"/>
                  </a:lnTo>
                  <a:lnTo>
                    <a:pt x="209" y="187"/>
                  </a:lnTo>
                  <a:lnTo>
                    <a:pt x="202" y="187"/>
                  </a:lnTo>
                  <a:lnTo>
                    <a:pt x="198" y="187"/>
                  </a:lnTo>
                  <a:lnTo>
                    <a:pt x="195" y="184"/>
                  </a:lnTo>
                  <a:lnTo>
                    <a:pt x="193" y="184"/>
                  </a:lnTo>
                  <a:lnTo>
                    <a:pt x="189" y="180"/>
                  </a:lnTo>
                  <a:lnTo>
                    <a:pt x="187" y="180"/>
                  </a:lnTo>
                  <a:lnTo>
                    <a:pt x="176" y="176"/>
                  </a:lnTo>
                  <a:lnTo>
                    <a:pt x="173" y="173"/>
                  </a:lnTo>
                  <a:lnTo>
                    <a:pt x="171" y="171"/>
                  </a:lnTo>
                  <a:lnTo>
                    <a:pt x="171" y="167"/>
                  </a:lnTo>
                  <a:lnTo>
                    <a:pt x="169" y="167"/>
                  </a:lnTo>
                  <a:lnTo>
                    <a:pt x="171" y="165"/>
                  </a:lnTo>
                  <a:lnTo>
                    <a:pt x="171" y="160"/>
                  </a:lnTo>
                  <a:lnTo>
                    <a:pt x="173" y="160"/>
                  </a:lnTo>
                  <a:lnTo>
                    <a:pt x="171" y="158"/>
                  </a:lnTo>
                  <a:lnTo>
                    <a:pt x="169" y="151"/>
                  </a:lnTo>
                  <a:lnTo>
                    <a:pt x="169" y="151"/>
                  </a:lnTo>
                  <a:lnTo>
                    <a:pt x="169" y="149"/>
                  </a:lnTo>
                  <a:lnTo>
                    <a:pt x="169" y="147"/>
                  </a:lnTo>
                  <a:lnTo>
                    <a:pt x="171" y="143"/>
                  </a:lnTo>
                  <a:lnTo>
                    <a:pt x="178" y="132"/>
                  </a:lnTo>
                  <a:lnTo>
                    <a:pt x="178" y="130"/>
                  </a:lnTo>
                  <a:lnTo>
                    <a:pt x="176" y="127"/>
                  </a:lnTo>
                  <a:lnTo>
                    <a:pt x="176" y="123"/>
                  </a:lnTo>
                  <a:lnTo>
                    <a:pt x="171" y="114"/>
                  </a:lnTo>
                  <a:lnTo>
                    <a:pt x="173" y="112"/>
                  </a:lnTo>
                  <a:lnTo>
                    <a:pt x="176" y="110"/>
                  </a:lnTo>
                  <a:lnTo>
                    <a:pt x="178" y="105"/>
                  </a:lnTo>
                  <a:lnTo>
                    <a:pt x="182" y="92"/>
                  </a:lnTo>
                  <a:lnTo>
                    <a:pt x="182" y="90"/>
                  </a:lnTo>
                  <a:lnTo>
                    <a:pt x="180" y="90"/>
                  </a:lnTo>
                  <a:lnTo>
                    <a:pt x="178" y="88"/>
                  </a:lnTo>
                  <a:lnTo>
                    <a:pt x="171" y="88"/>
                  </a:lnTo>
                  <a:lnTo>
                    <a:pt x="167" y="88"/>
                  </a:lnTo>
                  <a:lnTo>
                    <a:pt x="158" y="83"/>
                  </a:lnTo>
                  <a:lnTo>
                    <a:pt x="151" y="81"/>
                  </a:lnTo>
                  <a:lnTo>
                    <a:pt x="147" y="81"/>
                  </a:lnTo>
                  <a:lnTo>
                    <a:pt x="145" y="81"/>
                  </a:lnTo>
                  <a:lnTo>
                    <a:pt x="132" y="81"/>
                  </a:lnTo>
                  <a:lnTo>
                    <a:pt x="127" y="81"/>
                  </a:lnTo>
                  <a:lnTo>
                    <a:pt x="125" y="79"/>
                  </a:lnTo>
                  <a:lnTo>
                    <a:pt x="125" y="77"/>
                  </a:lnTo>
                  <a:lnTo>
                    <a:pt x="123" y="75"/>
                  </a:lnTo>
                  <a:lnTo>
                    <a:pt x="125" y="72"/>
                  </a:lnTo>
                  <a:lnTo>
                    <a:pt x="125" y="72"/>
                  </a:lnTo>
                  <a:lnTo>
                    <a:pt x="127" y="68"/>
                  </a:lnTo>
                  <a:lnTo>
                    <a:pt x="129" y="64"/>
                  </a:lnTo>
                  <a:lnTo>
                    <a:pt x="132" y="61"/>
                  </a:lnTo>
                  <a:lnTo>
                    <a:pt x="132" y="59"/>
                  </a:lnTo>
                  <a:lnTo>
                    <a:pt x="132" y="55"/>
                  </a:lnTo>
                  <a:lnTo>
                    <a:pt x="134" y="53"/>
                  </a:lnTo>
                  <a:lnTo>
                    <a:pt x="134" y="51"/>
                  </a:lnTo>
                  <a:lnTo>
                    <a:pt x="136" y="51"/>
                  </a:lnTo>
                  <a:lnTo>
                    <a:pt x="138" y="48"/>
                  </a:lnTo>
                  <a:lnTo>
                    <a:pt x="140" y="46"/>
                  </a:lnTo>
                  <a:lnTo>
                    <a:pt x="143" y="44"/>
                  </a:lnTo>
                  <a:lnTo>
                    <a:pt x="143" y="40"/>
                  </a:lnTo>
                  <a:lnTo>
                    <a:pt x="143" y="37"/>
                  </a:lnTo>
                  <a:lnTo>
                    <a:pt x="143" y="35"/>
                  </a:lnTo>
                  <a:lnTo>
                    <a:pt x="140" y="24"/>
                  </a:lnTo>
                  <a:lnTo>
                    <a:pt x="140" y="22"/>
                  </a:lnTo>
                  <a:lnTo>
                    <a:pt x="143" y="20"/>
                  </a:lnTo>
                  <a:lnTo>
                    <a:pt x="143" y="18"/>
                  </a:lnTo>
                  <a:lnTo>
                    <a:pt x="149" y="15"/>
                  </a:lnTo>
                  <a:lnTo>
                    <a:pt x="151" y="13"/>
                  </a:lnTo>
                  <a:lnTo>
                    <a:pt x="154" y="11"/>
                  </a:lnTo>
                  <a:lnTo>
                    <a:pt x="156" y="7"/>
                  </a:lnTo>
                  <a:lnTo>
                    <a:pt x="156" y="4"/>
                  </a:lnTo>
                  <a:lnTo>
                    <a:pt x="158" y="4"/>
                  </a:lnTo>
                  <a:lnTo>
                    <a:pt x="156" y="2"/>
                  </a:lnTo>
                  <a:lnTo>
                    <a:pt x="156" y="2"/>
                  </a:lnTo>
                  <a:lnTo>
                    <a:pt x="156" y="0"/>
                  </a:lnTo>
                  <a:lnTo>
                    <a:pt x="149" y="2"/>
                  </a:lnTo>
                  <a:lnTo>
                    <a:pt x="145" y="7"/>
                  </a:lnTo>
                  <a:lnTo>
                    <a:pt x="143" y="7"/>
                  </a:lnTo>
                  <a:lnTo>
                    <a:pt x="125" y="9"/>
                  </a:lnTo>
                  <a:lnTo>
                    <a:pt x="112" y="9"/>
                  </a:lnTo>
                  <a:lnTo>
                    <a:pt x="108" y="9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7" y="2"/>
                  </a:lnTo>
                  <a:lnTo>
                    <a:pt x="97" y="4"/>
                  </a:lnTo>
                  <a:lnTo>
                    <a:pt x="94" y="4"/>
                  </a:lnTo>
                  <a:lnTo>
                    <a:pt x="92" y="7"/>
                  </a:lnTo>
                  <a:lnTo>
                    <a:pt x="90" y="13"/>
                  </a:lnTo>
                  <a:lnTo>
                    <a:pt x="90" y="15"/>
                  </a:lnTo>
                  <a:lnTo>
                    <a:pt x="88" y="18"/>
                  </a:lnTo>
                  <a:lnTo>
                    <a:pt x="61" y="40"/>
                  </a:lnTo>
                  <a:lnTo>
                    <a:pt x="59" y="42"/>
                  </a:lnTo>
                  <a:lnTo>
                    <a:pt x="53" y="55"/>
                  </a:lnTo>
                  <a:lnTo>
                    <a:pt x="50" y="59"/>
                  </a:lnTo>
                  <a:lnTo>
                    <a:pt x="42" y="64"/>
                  </a:lnTo>
                  <a:lnTo>
                    <a:pt x="46" y="72"/>
                  </a:lnTo>
                  <a:lnTo>
                    <a:pt x="50" y="86"/>
                  </a:lnTo>
                  <a:lnTo>
                    <a:pt x="53" y="92"/>
                  </a:lnTo>
                  <a:lnTo>
                    <a:pt x="53" y="105"/>
                  </a:lnTo>
                  <a:lnTo>
                    <a:pt x="50" y="123"/>
                  </a:lnTo>
                  <a:lnTo>
                    <a:pt x="48" y="127"/>
                  </a:lnTo>
                  <a:lnTo>
                    <a:pt x="46" y="134"/>
                  </a:lnTo>
                  <a:lnTo>
                    <a:pt x="46" y="140"/>
                  </a:lnTo>
                  <a:lnTo>
                    <a:pt x="46" y="143"/>
                  </a:lnTo>
                  <a:lnTo>
                    <a:pt x="44" y="149"/>
                  </a:lnTo>
                  <a:lnTo>
                    <a:pt x="42" y="158"/>
                  </a:lnTo>
                  <a:lnTo>
                    <a:pt x="39" y="162"/>
                  </a:lnTo>
                  <a:lnTo>
                    <a:pt x="39" y="167"/>
                  </a:lnTo>
                  <a:lnTo>
                    <a:pt x="39" y="169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1" y="162"/>
                  </a:lnTo>
                  <a:lnTo>
                    <a:pt x="31" y="160"/>
                  </a:lnTo>
                  <a:lnTo>
                    <a:pt x="33" y="158"/>
                  </a:lnTo>
                  <a:lnTo>
                    <a:pt x="33" y="156"/>
                  </a:lnTo>
                  <a:lnTo>
                    <a:pt x="31" y="154"/>
                  </a:lnTo>
                  <a:lnTo>
                    <a:pt x="26" y="154"/>
                  </a:lnTo>
                  <a:lnTo>
                    <a:pt x="24" y="158"/>
                  </a:lnTo>
                  <a:lnTo>
                    <a:pt x="20" y="156"/>
                  </a:lnTo>
                  <a:lnTo>
                    <a:pt x="18" y="158"/>
                  </a:lnTo>
                  <a:lnTo>
                    <a:pt x="20" y="160"/>
                  </a:lnTo>
                  <a:lnTo>
                    <a:pt x="18" y="162"/>
                  </a:lnTo>
                  <a:lnTo>
                    <a:pt x="15" y="169"/>
                  </a:lnTo>
                  <a:lnTo>
                    <a:pt x="13" y="171"/>
                  </a:lnTo>
                  <a:lnTo>
                    <a:pt x="13" y="178"/>
                  </a:lnTo>
                  <a:lnTo>
                    <a:pt x="18" y="178"/>
                  </a:lnTo>
                  <a:lnTo>
                    <a:pt x="22" y="180"/>
                  </a:lnTo>
                  <a:lnTo>
                    <a:pt x="24" y="178"/>
                  </a:lnTo>
                  <a:lnTo>
                    <a:pt x="26" y="180"/>
                  </a:lnTo>
                  <a:lnTo>
                    <a:pt x="28" y="178"/>
                  </a:lnTo>
                  <a:lnTo>
                    <a:pt x="28" y="176"/>
                  </a:lnTo>
                  <a:lnTo>
                    <a:pt x="31" y="173"/>
                  </a:lnTo>
                  <a:lnTo>
                    <a:pt x="31" y="173"/>
                  </a:lnTo>
                  <a:lnTo>
                    <a:pt x="33" y="176"/>
                  </a:lnTo>
                  <a:lnTo>
                    <a:pt x="33" y="178"/>
                  </a:lnTo>
                  <a:lnTo>
                    <a:pt x="33" y="178"/>
                  </a:lnTo>
                  <a:lnTo>
                    <a:pt x="31" y="180"/>
                  </a:lnTo>
                  <a:lnTo>
                    <a:pt x="33" y="182"/>
                  </a:lnTo>
                  <a:lnTo>
                    <a:pt x="35" y="184"/>
                  </a:lnTo>
                  <a:lnTo>
                    <a:pt x="37" y="187"/>
                  </a:lnTo>
                  <a:lnTo>
                    <a:pt x="37" y="193"/>
                  </a:lnTo>
                  <a:lnTo>
                    <a:pt x="35" y="193"/>
                  </a:lnTo>
                  <a:lnTo>
                    <a:pt x="35" y="195"/>
                  </a:lnTo>
                  <a:lnTo>
                    <a:pt x="37" y="198"/>
                  </a:lnTo>
                  <a:lnTo>
                    <a:pt x="37" y="200"/>
                  </a:lnTo>
                  <a:lnTo>
                    <a:pt x="35" y="202"/>
                  </a:lnTo>
                  <a:lnTo>
                    <a:pt x="37" y="204"/>
                  </a:lnTo>
                  <a:lnTo>
                    <a:pt x="35" y="206"/>
                  </a:lnTo>
                  <a:lnTo>
                    <a:pt x="35" y="209"/>
                  </a:lnTo>
                  <a:lnTo>
                    <a:pt x="33" y="211"/>
                  </a:lnTo>
                  <a:lnTo>
                    <a:pt x="35" y="215"/>
                  </a:lnTo>
                  <a:lnTo>
                    <a:pt x="35" y="222"/>
                  </a:lnTo>
                  <a:lnTo>
                    <a:pt x="33" y="226"/>
                  </a:lnTo>
                  <a:lnTo>
                    <a:pt x="37" y="233"/>
                  </a:lnTo>
                  <a:lnTo>
                    <a:pt x="39" y="226"/>
                  </a:lnTo>
                  <a:lnTo>
                    <a:pt x="42" y="224"/>
                  </a:lnTo>
                  <a:lnTo>
                    <a:pt x="46" y="226"/>
                  </a:lnTo>
                  <a:lnTo>
                    <a:pt x="50" y="226"/>
                  </a:lnTo>
                  <a:lnTo>
                    <a:pt x="50" y="228"/>
                  </a:lnTo>
                  <a:lnTo>
                    <a:pt x="53" y="233"/>
                  </a:lnTo>
                  <a:lnTo>
                    <a:pt x="53" y="235"/>
                  </a:lnTo>
                  <a:lnTo>
                    <a:pt x="57" y="237"/>
                  </a:lnTo>
                  <a:lnTo>
                    <a:pt x="59" y="237"/>
                  </a:lnTo>
                  <a:lnTo>
                    <a:pt x="61" y="241"/>
                  </a:lnTo>
                  <a:lnTo>
                    <a:pt x="64" y="246"/>
                  </a:lnTo>
                  <a:lnTo>
                    <a:pt x="64" y="248"/>
                  </a:lnTo>
                  <a:lnTo>
                    <a:pt x="66" y="250"/>
                  </a:lnTo>
                  <a:lnTo>
                    <a:pt x="68" y="252"/>
                  </a:lnTo>
                  <a:lnTo>
                    <a:pt x="68" y="255"/>
                  </a:lnTo>
                  <a:lnTo>
                    <a:pt x="66" y="257"/>
                  </a:lnTo>
                  <a:lnTo>
                    <a:pt x="61" y="257"/>
                  </a:lnTo>
                  <a:lnTo>
                    <a:pt x="61" y="263"/>
                  </a:lnTo>
                  <a:lnTo>
                    <a:pt x="64" y="266"/>
                  </a:lnTo>
                  <a:lnTo>
                    <a:pt x="66" y="266"/>
                  </a:lnTo>
                  <a:lnTo>
                    <a:pt x="70" y="266"/>
                  </a:lnTo>
                  <a:lnTo>
                    <a:pt x="72" y="268"/>
                  </a:lnTo>
                  <a:lnTo>
                    <a:pt x="75" y="270"/>
                  </a:lnTo>
                  <a:lnTo>
                    <a:pt x="79" y="274"/>
                  </a:lnTo>
                  <a:lnTo>
                    <a:pt x="81" y="277"/>
                  </a:lnTo>
                  <a:lnTo>
                    <a:pt x="86" y="281"/>
                  </a:lnTo>
                  <a:lnTo>
                    <a:pt x="90" y="283"/>
                  </a:lnTo>
                  <a:lnTo>
                    <a:pt x="92" y="288"/>
                  </a:lnTo>
                  <a:lnTo>
                    <a:pt x="94" y="290"/>
                  </a:lnTo>
                  <a:lnTo>
                    <a:pt x="92" y="292"/>
                  </a:lnTo>
                  <a:lnTo>
                    <a:pt x="92" y="294"/>
                  </a:lnTo>
                  <a:lnTo>
                    <a:pt x="92" y="296"/>
                  </a:lnTo>
                  <a:lnTo>
                    <a:pt x="94" y="296"/>
                  </a:lnTo>
                  <a:lnTo>
                    <a:pt x="97" y="301"/>
                  </a:lnTo>
                  <a:lnTo>
                    <a:pt x="99" y="305"/>
                  </a:lnTo>
                  <a:lnTo>
                    <a:pt x="101" y="309"/>
                  </a:lnTo>
                  <a:lnTo>
                    <a:pt x="101" y="314"/>
                  </a:lnTo>
                  <a:lnTo>
                    <a:pt x="101" y="318"/>
                  </a:lnTo>
                  <a:lnTo>
                    <a:pt x="103" y="323"/>
                  </a:lnTo>
                  <a:lnTo>
                    <a:pt x="110" y="325"/>
                  </a:lnTo>
                  <a:lnTo>
                    <a:pt x="112" y="327"/>
                  </a:lnTo>
                  <a:lnTo>
                    <a:pt x="114" y="327"/>
                  </a:lnTo>
                  <a:lnTo>
                    <a:pt x="114" y="329"/>
                  </a:lnTo>
                  <a:lnTo>
                    <a:pt x="116" y="331"/>
                  </a:lnTo>
                  <a:lnTo>
                    <a:pt x="116" y="334"/>
                  </a:lnTo>
                  <a:lnTo>
                    <a:pt x="119" y="334"/>
                  </a:lnTo>
                  <a:lnTo>
                    <a:pt x="121" y="336"/>
                  </a:lnTo>
                  <a:lnTo>
                    <a:pt x="123" y="336"/>
                  </a:lnTo>
                  <a:lnTo>
                    <a:pt x="123" y="338"/>
                  </a:lnTo>
                  <a:lnTo>
                    <a:pt x="125" y="338"/>
                  </a:lnTo>
                  <a:lnTo>
                    <a:pt x="134" y="342"/>
                  </a:lnTo>
                  <a:lnTo>
                    <a:pt x="143" y="349"/>
                  </a:lnTo>
                  <a:lnTo>
                    <a:pt x="147" y="351"/>
                  </a:lnTo>
                  <a:lnTo>
                    <a:pt x="149" y="353"/>
                  </a:lnTo>
                  <a:lnTo>
                    <a:pt x="156" y="358"/>
                  </a:lnTo>
                  <a:lnTo>
                    <a:pt x="171" y="364"/>
                  </a:lnTo>
                  <a:lnTo>
                    <a:pt x="178" y="371"/>
                  </a:lnTo>
                  <a:lnTo>
                    <a:pt x="180" y="373"/>
                  </a:lnTo>
                  <a:lnTo>
                    <a:pt x="180" y="377"/>
                  </a:lnTo>
                  <a:lnTo>
                    <a:pt x="180" y="380"/>
                  </a:lnTo>
                  <a:lnTo>
                    <a:pt x="182" y="382"/>
                  </a:lnTo>
                  <a:lnTo>
                    <a:pt x="189" y="386"/>
                  </a:lnTo>
                  <a:lnTo>
                    <a:pt x="189" y="388"/>
                  </a:lnTo>
                  <a:lnTo>
                    <a:pt x="191" y="393"/>
                  </a:lnTo>
                  <a:lnTo>
                    <a:pt x="200" y="404"/>
                  </a:lnTo>
                  <a:lnTo>
                    <a:pt x="202" y="408"/>
                  </a:lnTo>
                  <a:lnTo>
                    <a:pt x="202" y="413"/>
                  </a:lnTo>
                  <a:lnTo>
                    <a:pt x="206" y="415"/>
                  </a:lnTo>
                  <a:lnTo>
                    <a:pt x="215" y="415"/>
                  </a:lnTo>
                  <a:lnTo>
                    <a:pt x="220" y="417"/>
                  </a:lnTo>
                  <a:lnTo>
                    <a:pt x="228" y="426"/>
                  </a:lnTo>
                  <a:lnTo>
                    <a:pt x="230" y="428"/>
                  </a:lnTo>
                  <a:lnTo>
                    <a:pt x="230" y="430"/>
                  </a:lnTo>
                  <a:lnTo>
                    <a:pt x="230" y="432"/>
                  </a:lnTo>
                  <a:lnTo>
                    <a:pt x="230" y="435"/>
                  </a:lnTo>
                  <a:lnTo>
                    <a:pt x="228" y="435"/>
                  </a:lnTo>
                  <a:lnTo>
                    <a:pt x="224" y="435"/>
                  </a:lnTo>
                  <a:lnTo>
                    <a:pt x="228" y="439"/>
                  </a:lnTo>
                  <a:lnTo>
                    <a:pt x="237" y="443"/>
                  </a:lnTo>
                  <a:lnTo>
                    <a:pt x="241" y="446"/>
                  </a:lnTo>
                  <a:lnTo>
                    <a:pt x="246" y="450"/>
                  </a:lnTo>
                  <a:lnTo>
                    <a:pt x="244" y="452"/>
                  </a:lnTo>
                  <a:lnTo>
                    <a:pt x="241" y="454"/>
                  </a:lnTo>
                  <a:lnTo>
                    <a:pt x="237" y="457"/>
                  </a:lnTo>
                  <a:lnTo>
                    <a:pt x="237" y="457"/>
                  </a:lnTo>
                  <a:lnTo>
                    <a:pt x="237" y="459"/>
                  </a:lnTo>
                  <a:lnTo>
                    <a:pt x="241" y="459"/>
                  </a:lnTo>
                  <a:lnTo>
                    <a:pt x="241" y="459"/>
                  </a:lnTo>
                  <a:lnTo>
                    <a:pt x="244" y="463"/>
                  </a:lnTo>
                  <a:lnTo>
                    <a:pt x="246" y="463"/>
                  </a:lnTo>
                  <a:lnTo>
                    <a:pt x="250" y="463"/>
                  </a:lnTo>
                  <a:lnTo>
                    <a:pt x="252" y="465"/>
                  </a:lnTo>
                  <a:lnTo>
                    <a:pt x="255" y="467"/>
                  </a:lnTo>
                  <a:lnTo>
                    <a:pt x="259" y="470"/>
                  </a:lnTo>
                  <a:lnTo>
                    <a:pt x="259" y="470"/>
                  </a:lnTo>
                  <a:lnTo>
                    <a:pt x="270" y="454"/>
                  </a:lnTo>
                  <a:lnTo>
                    <a:pt x="270" y="452"/>
                  </a:lnTo>
                  <a:lnTo>
                    <a:pt x="272" y="448"/>
                  </a:lnTo>
                  <a:lnTo>
                    <a:pt x="272" y="446"/>
                  </a:lnTo>
                  <a:lnTo>
                    <a:pt x="281" y="432"/>
                  </a:lnTo>
                  <a:lnTo>
                    <a:pt x="285" y="428"/>
                  </a:lnTo>
                  <a:lnTo>
                    <a:pt x="325" y="404"/>
                  </a:lnTo>
                  <a:lnTo>
                    <a:pt x="329" y="386"/>
                  </a:lnTo>
                  <a:lnTo>
                    <a:pt x="331" y="384"/>
                  </a:lnTo>
                  <a:lnTo>
                    <a:pt x="331" y="377"/>
                  </a:lnTo>
                  <a:lnTo>
                    <a:pt x="329" y="371"/>
                  </a:lnTo>
                  <a:lnTo>
                    <a:pt x="329" y="371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12" name="Freeform 16"/>
            <p:cNvSpPr>
              <a:spLocks/>
            </p:cNvSpPr>
            <p:nvPr/>
          </p:nvSpPr>
          <p:spPr bwMode="auto">
            <a:xfrm>
              <a:off x="5889625" y="4365625"/>
              <a:ext cx="1066800" cy="1250950"/>
            </a:xfrm>
            <a:custGeom>
              <a:avLst/>
              <a:gdLst>
                <a:gd name="T0" fmla="*/ 633 w 672"/>
                <a:gd name="T1" fmla="*/ 342 h 788"/>
                <a:gd name="T2" fmla="*/ 639 w 672"/>
                <a:gd name="T3" fmla="*/ 362 h 788"/>
                <a:gd name="T4" fmla="*/ 490 w 672"/>
                <a:gd name="T5" fmla="*/ 329 h 788"/>
                <a:gd name="T6" fmla="*/ 437 w 672"/>
                <a:gd name="T7" fmla="*/ 316 h 788"/>
                <a:gd name="T8" fmla="*/ 382 w 672"/>
                <a:gd name="T9" fmla="*/ 270 h 788"/>
                <a:gd name="T10" fmla="*/ 367 w 672"/>
                <a:gd name="T11" fmla="*/ 213 h 788"/>
                <a:gd name="T12" fmla="*/ 336 w 672"/>
                <a:gd name="T13" fmla="*/ 180 h 788"/>
                <a:gd name="T14" fmla="*/ 297 w 672"/>
                <a:gd name="T15" fmla="*/ 149 h 788"/>
                <a:gd name="T16" fmla="*/ 332 w 672"/>
                <a:gd name="T17" fmla="*/ 33 h 788"/>
                <a:gd name="T18" fmla="*/ 310 w 672"/>
                <a:gd name="T19" fmla="*/ 18 h 788"/>
                <a:gd name="T20" fmla="*/ 270 w 672"/>
                <a:gd name="T21" fmla="*/ 37 h 788"/>
                <a:gd name="T22" fmla="*/ 240 w 672"/>
                <a:gd name="T23" fmla="*/ 35 h 788"/>
                <a:gd name="T24" fmla="*/ 224 w 672"/>
                <a:gd name="T25" fmla="*/ 31 h 788"/>
                <a:gd name="T26" fmla="*/ 191 w 672"/>
                <a:gd name="T27" fmla="*/ 20 h 788"/>
                <a:gd name="T28" fmla="*/ 183 w 672"/>
                <a:gd name="T29" fmla="*/ 0 h 788"/>
                <a:gd name="T30" fmla="*/ 130 w 672"/>
                <a:gd name="T31" fmla="*/ 20 h 788"/>
                <a:gd name="T32" fmla="*/ 55 w 672"/>
                <a:gd name="T33" fmla="*/ 81 h 788"/>
                <a:gd name="T34" fmla="*/ 71 w 672"/>
                <a:gd name="T35" fmla="*/ 90 h 788"/>
                <a:gd name="T36" fmla="*/ 88 w 672"/>
                <a:gd name="T37" fmla="*/ 108 h 788"/>
                <a:gd name="T38" fmla="*/ 66 w 672"/>
                <a:gd name="T39" fmla="*/ 178 h 788"/>
                <a:gd name="T40" fmla="*/ 20 w 672"/>
                <a:gd name="T41" fmla="*/ 204 h 788"/>
                <a:gd name="T42" fmla="*/ 20 w 672"/>
                <a:gd name="T43" fmla="*/ 237 h 788"/>
                <a:gd name="T44" fmla="*/ 40 w 672"/>
                <a:gd name="T45" fmla="*/ 272 h 788"/>
                <a:gd name="T46" fmla="*/ 62 w 672"/>
                <a:gd name="T47" fmla="*/ 296 h 788"/>
                <a:gd name="T48" fmla="*/ 73 w 672"/>
                <a:gd name="T49" fmla="*/ 331 h 788"/>
                <a:gd name="T50" fmla="*/ 77 w 672"/>
                <a:gd name="T51" fmla="*/ 360 h 788"/>
                <a:gd name="T52" fmla="*/ 121 w 672"/>
                <a:gd name="T53" fmla="*/ 406 h 788"/>
                <a:gd name="T54" fmla="*/ 150 w 672"/>
                <a:gd name="T55" fmla="*/ 426 h 788"/>
                <a:gd name="T56" fmla="*/ 174 w 672"/>
                <a:gd name="T57" fmla="*/ 421 h 788"/>
                <a:gd name="T58" fmla="*/ 198 w 672"/>
                <a:gd name="T59" fmla="*/ 417 h 788"/>
                <a:gd name="T60" fmla="*/ 235 w 672"/>
                <a:gd name="T61" fmla="*/ 437 h 788"/>
                <a:gd name="T62" fmla="*/ 273 w 672"/>
                <a:gd name="T63" fmla="*/ 454 h 788"/>
                <a:gd name="T64" fmla="*/ 297 w 672"/>
                <a:gd name="T65" fmla="*/ 470 h 788"/>
                <a:gd name="T66" fmla="*/ 339 w 672"/>
                <a:gd name="T67" fmla="*/ 496 h 788"/>
                <a:gd name="T68" fmla="*/ 341 w 672"/>
                <a:gd name="T69" fmla="*/ 579 h 788"/>
                <a:gd name="T70" fmla="*/ 314 w 672"/>
                <a:gd name="T71" fmla="*/ 612 h 788"/>
                <a:gd name="T72" fmla="*/ 288 w 672"/>
                <a:gd name="T73" fmla="*/ 626 h 788"/>
                <a:gd name="T74" fmla="*/ 273 w 672"/>
                <a:gd name="T75" fmla="*/ 641 h 788"/>
                <a:gd name="T76" fmla="*/ 275 w 672"/>
                <a:gd name="T77" fmla="*/ 669 h 788"/>
                <a:gd name="T78" fmla="*/ 330 w 672"/>
                <a:gd name="T79" fmla="*/ 689 h 788"/>
                <a:gd name="T80" fmla="*/ 347 w 672"/>
                <a:gd name="T81" fmla="*/ 700 h 788"/>
                <a:gd name="T82" fmla="*/ 360 w 672"/>
                <a:gd name="T83" fmla="*/ 685 h 788"/>
                <a:gd name="T84" fmla="*/ 358 w 672"/>
                <a:gd name="T85" fmla="*/ 665 h 788"/>
                <a:gd name="T86" fmla="*/ 380 w 672"/>
                <a:gd name="T87" fmla="*/ 680 h 788"/>
                <a:gd name="T88" fmla="*/ 400 w 672"/>
                <a:gd name="T89" fmla="*/ 698 h 788"/>
                <a:gd name="T90" fmla="*/ 391 w 672"/>
                <a:gd name="T91" fmla="*/ 713 h 788"/>
                <a:gd name="T92" fmla="*/ 422 w 672"/>
                <a:gd name="T93" fmla="*/ 744 h 788"/>
                <a:gd name="T94" fmla="*/ 446 w 672"/>
                <a:gd name="T95" fmla="*/ 740 h 788"/>
                <a:gd name="T96" fmla="*/ 457 w 672"/>
                <a:gd name="T97" fmla="*/ 731 h 788"/>
                <a:gd name="T98" fmla="*/ 490 w 672"/>
                <a:gd name="T99" fmla="*/ 746 h 788"/>
                <a:gd name="T100" fmla="*/ 510 w 672"/>
                <a:gd name="T101" fmla="*/ 737 h 788"/>
                <a:gd name="T102" fmla="*/ 519 w 672"/>
                <a:gd name="T103" fmla="*/ 757 h 788"/>
                <a:gd name="T104" fmla="*/ 543 w 672"/>
                <a:gd name="T105" fmla="*/ 786 h 788"/>
                <a:gd name="T106" fmla="*/ 556 w 672"/>
                <a:gd name="T107" fmla="*/ 757 h 788"/>
                <a:gd name="T108" fmla="*/ 552 w 672"/>
                <a:gd name="T109" fmla="*/ 733 h 788"/>
                <a:gd name="T110" fmla="*/ 552 w 672"/>
                <a:gd name="T111" fmla="*/ 696 h 788"/>
                <a:gd name="T112" fmla="*/ 538 w 672"/>
                <a:gd name="T113" fmla="*/ 676 h 788"/>
                <a:gd name="T114" fmla="*/ 538 w 672"/>
                <a:gd name="T115" fmla="*/ 656 h 788"/>
                <a:gd name="T116" fmla="*/ 554 w 672"/>
                <a:gd name="T117" fmla="*/ 641 h 788"/>
                <a:gd name="T118" fmla="*/ 571 w 672"/>
                <a:gd name="T119" fmla="*/ 615 h 788"/>
                <a:gd name="T120" fmla="*/ 582 w 672"/>
                <a:gd name="T121" fmla="*/ 540 h 788"/>
                <a:gd name="T122" fmla="*/ 611 w 672"/>
                <a:gd name="T123" fmla="*/ 492 h 788"/>
                <a:gd name="T124" fmla="*/ 668 w 672"/>
                <a:gd name="T125" fmla="*/ 395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72" h="788">
                  <a:moveTo>
                    <a:pt x="666" y="375"/>
                  </a:moveTo>
                  <a:lnTo>
                    <a:pt x="666" y="367"/>
                  </a:lnTo>
                  <a:lnTo>
                    <a:pt x="672" y="347"/>
                  </a:lnTo>
                  <a:lnTo>
                    <a:pt x="666" y="345"/>
                  </a:lnTo>
                  <a:lnTo>
                    <a:pt x="659" y="345"/>
                  </a:lnTo>
                  <a:lnTo>
                    <a:pt x="650" y="345"/>
                  </a:lnTo>
                  <a:lnTo>
                    <a:pt x="642" y="342"/>
                  </a:lnTo>
                  <a:lnTo>
                    <a:pt x="635" y="342"/>
                  </a:lnTo>
                  <a:lnTo>
                    <a:pt x="633" y="342"/>
                  </a:lnTo>
                  <a:lnTo>
                    <a:pt x="631" y="345"/>
                  </a:lnTo>
                  <a:lnTo>
                    <a:pt x="628" y="347"/>
                  </a:lnTo>
                  <a:lnTo>
                    <a:pt x="631" y="349"/>
                  </a:lnTo>
                  <a:lnTo>
                    <a:pt x="633" y="351"/>
                  </a:lnTo>
                  <a:lnTo>
                    <a:pt x="635" y="353"/>
                  </a:lnTo>
                  <a:lnTo>
                    <a:pt x="639" y="356"/>
                  </a:lnTo>
                  <a:lnTo>
                    <a:pt x="642" y="358"/>
                  </a:lnTo>
                  <a:lnTo>
                    <a:pt x="642" y="360"/>
                  </a:lnTo>
                  <a:lnTo>
                    <a:pt x="639" y="362"/>
                  </a:lnTo>
                  <a:lnTo>
                    <a:pt x="635" y="364"/>
                  </a:lnTo>
                  <a:lnTo>
                    <a:pt x="611" y="364"/>
                  </a:lnTo>
                  <a:lnTo>
                    <a:pt x="560" y="356"/>
                  </a:lnTo>
                  <a:lnTo>
                    <a:pt x="554" y="356"/>
                  </a:lnTo>
                  <a:lnTo>
                    <a:pt x="547" y="356"/>
                  </a:lnTo>
                  <a:lnTo>
                    <a:pt x="545" y="356"/>
                  </a:lnTo>
                  <a:lnTo>
                    <a:pt x="523" y="340"/>
                  </a:lnTo>
                  <a:lnTo>
                    <a:pt x="519" y="338"/>
                  </a:lnTo>
                  <a:lnTo>
                    <a:pt x="490" y="329"/>
                  </a:lnTo>
                  <a:lnTo>
                    <a:pt x="470" y="323"/>
                  </a:lnTo>
                  <a:lnTo>
                    <a:pt x="468" y="320"/>
                  </a:lnTo>
                  <a:lnTo>
                    <a:pt x="464" y="318"/>
                  </a:lnTo>
                  <a:lnTo>
                    <a:pt x="461" y="316"/>
                  </a:lnTo>
                  <a:lnTo>
                    <a:pt x="459" y="316"/>
                  </a:lnTo>
                  <a:lnTo>
                    <a:pt x="455" y="316"/>
                  </a:lnTo>
                  <a:lnTo>
                    <a:pt x="446" y="316"/>
                  </a:lnTo>
                  <a:lnTo>
                    <a:pt x="442" y="316"/>
                  </a:lnTo>
                  <a:lnTo>
                    <a:pt x="437" y="316"/>
                  </a:lnTo>
                  <a:lnTo>
                    <a:pt x="402" y="305"/>
                  </a:lnTo>
                  <a:lnTo>
                    <a:pt x="398" y="303"/>
                  </a:lnTo>
                  <a:lnTo>
                    <a:pt x="393" y="299"/>
                  </a:lnTo>
                  <a:lnTo>
                    <a:pt x="389" y="294"/>
                  </a:lnTo>
                  <a:lnTo>
                    <a:pt x="385" y="283"/>
                  </a:lnTo>
                  <a:lnTo>
                    <a:pt x="382" y="281"/>
                  </a:lnTo>
                  <a:lnTo>
                    <a:pt x="382" y="279"/>
                  </a:lnTo>
                  <a:lnTo>
                    <a:pt x="382" y="272"/>
                  </a:lnTo>
                  <a:lnTo>
                    <a:pt x="382" y="270"/>
                  </a:lnTo>
                  <a:lnTo>
                    <a:pt x="387" y="261"/>
                  </a:lnTo>
                  <a:lnTo>
                    <a:pt x="387" y="257"/>
                  </a:lnTo>
                  <a:lnTo>
                    <a:pt x="385" y="250"/>
                  </a:lnTo>
                  <a:lnTo>
                    <a:pt x="382" y="241"/>
                  </a:lnTo>
                  <a:lnTo>
                    <a:pt x="376" y="228"/>
                  </a:lnTo>
                  <a:lnTo>
                    <a:pt x="371" y="220"/>
                  </a:lnTo>
                  <a:lnTo>
                    <a:pt x="369" y="217"/>
                  </a:lnTo>
                  <a:lnTo>
                    <a:pt x="367" y="213"/>
                  </a:lnTo>
                  <a:lnTo>
                    <a:pt x="367" y="213"/>
                  </a:lnTo>
                  <a:lnTo>
                    <a:pt x="365" y="213"/>
                  </a:lnTo>
                  <a:lnTo>
                    <a:pt x="363" y="211"/>
                  </a:lnTo>
                  <a:lnTo>
                    <a:pt x="358" y="211"/>
                  </a:lnTo>
                  <a:lnTo>
                    <a:pt x="354" y="211"/>
                  </a:lnTo>
                  <a:lnTo>
                    <a:pt x="347" y="209"/>
                  </a:lnTo>
                  <a:lnTo>
                    <a:pt x="345" y="206"/>
                  </a:lnTo>
                  <a:lnTo>
                    <a:pt x="345" y="204"/>
                  </a:lnTo>
                  <a:lnTo>
                    <a:pt x="343" y="200"/>
                  </a:lnTo>
                  <a:lnTo>
                    <a:pt x="336" y="180"/>
                  </a:lnTo>
                  <a:lnTo>
                    <a:pt x="336" y="176"/>
                  </a:lnTo>
                  <a:lnTo>
                    <a:pt x="334" y="173"/>
                  </a:lnTo>
                  <a:lnTo>
                    <a:pt x="332" y="171"/>
                  </a:lnTo>
                  <a:lnTo>
                    <a:pt x="319" y="165"/>
                  </a:lnTo>
                  <a:lnTo>
                    <a:pt x="303" y="156"/>
                  </a:lnTo>
                  <a:lnTo>
                    <a:pt x="299" y="151"/>
                  </a:lnTo>
                  <a:lnTo>
                    <a:pt x="299" y="151"/>
                  </a:lnTo>
                  <a:lnTo>
                    <a:pt x="299" y="149"/>
                  </a:lnTo>
                  <a:lnTo>
                    <a:pt x="297" y="149"/>
                  </a:lnTo>
                  <a:lnTo>
                    <a:pt x="295" y="132"/>
                  </a:lnTo>
                  <a:lnTo>
                    <a:pt x="295" y="130"/>
                  </a:lnTo>
                  <a:lnTo>
                    <a:pt x="297" y="123"/>
                  </a:lnTo>
                  <a:lnTo>
                    <a:pt x="297" y="116"/>
                  </a:lnTo>
                  <a:lnTo>
                    <a:pt x="299" y="105"/>
                  </a:lnTo>
                  <a:lnTo>
                    <a:pt x="301" y="99"/>
                  </a:lnTo>
                  <a:lnTo>
                    <a:pt x="303" y="88"/>
                  </a:lnTo>
                  <a:lnTo>
                    <a:pt x="328" y="42"/>
                  </a:lnTo>
                  <a:lnTo>
                    <a:pt x="332" y="33"/>
                  </a:lnTo>
                  <a:lnTo>
                    <a:pt x="332" y="20"/>
                  </a:lnTo>
                  <a:lnTo>
                    <a:pt x="330" y="20"/>
                  </a:lnTo>
                  <a:lnTo>
                    <a:pt x="328" y="20"/>
                  </a:lnTo>
                  <a:lnTo>
                    <a:pt x="325" y="20"/>
                  </a:lnTo>
                  <a:lnTo>
                    <a:pt x="321" y="20"/>
                  </a:lnTo>
                  <a:lnTo>
                    <a:pt x="319" y="20"/>
                  </a:lnTo>
                  <a:lnTo>
                    <a:pt x="317" y="20"/>
                  </a:lnTo>
                  <a:lnTo>
                    <a:pt x="312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297" y="22"/>
                  </a:lnTo>
                  <a:lnTo>
                    <a:pt x="290" y="24"/>
                  </a:lnTo>
                  <a:lnTo>
                    <a:pt x="286" y="26"/>
                  </a:lnTo>
                  <a:lnTo>
                    <a:pt x="279" y="33"/>
                  </a:lnTo>
                  <a:lnTo>
                    <a:pt x="277" y="33"/>
                  </a:lnTo>
                  <a:lnTo>
                    <a:pt x="273" y="35"/>
                  </a:lnTo>
                  <a:lnTo>
                    <a:pt x="270" y="37"/>
                  </a:lnTo>
                  <a:lnTo>
                    <a:pt x="270" y="37"/>
                  </a:lnTo>
                  <a:lnTo>
                    <a:pt x="268" y="40"/>
                  </a:lnTo>
                  <a:lnTo>
                    <a:pt x="266" y="42"/>
                  </a:lnTo>
                  <a:lnTo>
                    <a:pt x="264" y="42"/>
                  </a:lnTo>
                  <a:lnTo>
                    <a:pt x="257" y="42"/>
                  </a:lnTo>
                  <a:lnTo>
                    <a:pt x="251" y="42"/>
                  </a:lnTo>
                  <a:lnTo>
                    <a:pt x="249" y="40"/>
                  </a:lnTo>
                  <a:lnTo>
                    <a:pt x="246" y="40"/>
                  </a:lnTo>
                  <a:lnTo>
                    <a:pt x="242" y="35"/>
                  </a:lnTo>
                  <a:lnTo>
                    <a:pt x="240" y="35"/>
                  </a:lnTo>
                  <a:lnTo>
                    <a:pt x="238" y="35"/>
                  </a:lnTo>
                  <a:lnTo>
                    <a:pt x="235" y="35"/>
                  </a:lnTo>
                  <a:lnTo>
                    <a:pt x="235" y="33"/>
                  </a:lnTo>
                  <a:lnTo>
                    <a:pt x="235" y="31"/>
                  </a:lnTo>
                  <a:lnTo>
                    <a:pt x="233" y="29"/>
                  </a:lnTo>
                  <a:lnTo>
                    <a:pt x="231" y="29"/>
                  </a:lnTo>
                  <a:lnTo>
                    <a:pt x="229" y="29"/>
                  </a:lnTo>
                  <a:lnTo>
                    <a:pt x="227" y="29"/>
                  </a:lnTo>
                  <a:lnTo>
                    <a:pt x="224" y="31"/>
                  </a:lnTo>
                  <a:lnTo>
                    <a:pt x="222" y="31"/>
                  </a:lnTo>
                  <a:lnTo>
                    <a:pt x="220" y="31"/>
                  </a:lnTo>
                  <a:lnTo>
                    <a:pt x="218" y="31"/>
                  </a:lnTo>
                  <a:lnTo>
                    <a:pt x="213" y="31"/>
                  </a:lnTo>
                  <a:lnTo>
                    <a:pt x="211" y="31"/>
                  </a:lnTo>
                  <a:lnTo>
                    <a:pt x="207" y="26"/>
                  </a:lnTo>
                  <a:lnTo>
                    <a:pt x="205" y="26"/>
                  </a:lnTo>
                  <a:lnTo>
                    <a:pt x="196" y="24"/>
                  </a:lnTo>
                  <a:lnTo>
                    <a:pt x="191" y="20"/>
                  </a:lnTo>
                  <a:lnTo>
                    <a:pt x="191" y="18"/>
                  </a:lnTo>
                  <a:lnTo>
                    <a:pt x="191" y="13"/>
                  </a:lnTo>
                  <a:lnTo>
                    <a:pt x="189" y="13"/>
                  </a:lnTo>
                  <a:lnTo>
                    <a:pt x="187" y="11"/>
                  </a:lnTo>
                  <a:lnTo>
                    <a:pt x="187" y="9"/>
                  </a:lnTo>
                  <a:lnTo>
                    <a:pt x="185" y="7"/>
                  </a:lnTo>
                  <a:lnTo>
                    <a:pt x="185" y="4"/>
                  </a:lnTo>
                  <a:lnTo>
                    <a:pt x="185" y="2"/>
                  </a:lnTo>
                  <a:lnTo>
                    <a:pt x="183" y="0"/>
                  </a:lnTo>
                  <a:lnTo>
                    <a:pt x="180" y="0"/>
                  </a:lnTo>
                  <a:lnTo>
                    <a:pt x="178" y="0"/>
                  </a:lnTo>
                  <a:lnTo>
                    <a:pt x="178" y="2"/>
                  </a:lnTo>
                  <a:lnTo>
                    <a:pt x="172" y="11"/>
                  </a:lnTo>
                  <a:lnTo>
                    <a:pt x="169" y="11"/>
                  </a:lnTo>
                  <a:lnTo>
                    <a:pt x="167" y="13"/>
                  </a:lnTo>
                  <a:lnTo>
                    <a:pt x="163" y="15"/>
                  </a:lnTo>
                  <a:lnTo>
                    <a:pt x="154" y="18"/>
                  </a:lnTo>
                  <a:lnTo>
                    <a:pt x="130" y="20"/>
                  </a:lnTo>
                  <a:lnTo>
                    <a:pt x="117" y="20"/>
                  </a:lnTo>
                  <a:lnTo>
                    <a:pt x="112" y="22"/>
                  </a:lnTo>
                  <a:lnTo>
                    <a:pt x="104" y="24"/>
                  </a:lnTo>
                  <a:lnTo>
                    <a:pt x="99" y="22"/>
                  </a:lnTo>
                  <a:lnTo>
                    <a:pt x="97" y="29"/>
                  </a:lnTo>
                  <a:lnTo>
                    <a:pt x="88" y="46"/>
                  </a:lnTo>
                  <a:lnTo>
                    <a:pt x="79" y="62"/>
                  </a:lnTo>
                  <a:lnTo>
                    <a:pt x="62" y="77"/>
                  </a:lnTo>
                  <a:lnTo>
                    <a:pt x="55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5" y="86"/>
                  </a:lnTo>
                  <a:lnTo>
                    <a:pt x="60" y="86"/>
                  </a:lnTo>
                  <a:lnTo>
                    <a:pt x="62" y="86"/>
                  </a:lnTo>
                  <a:lnTo>
                    <a:pt x="64" y="88"/>
                  </a:lnTo>
                  <a:lnTo>
                    <a:pt x="71" y="90"/>
                  </a:lnTo>
                  <a:lnTo>
                    <a:pt x="77" y="92"/>
                  </a:lnTo>
                  <a:lnTo>
                    <a:pt x="79" y="92"/>
                  </a:lnTo>
                  <a:lnTo>
                    <a:pt x="82" y="94"/>
                  </a:lnTo>
                  <a:lnTo>
                    <a:pt x="86" y="99"/>
                  </a:lnTo>
                  <a:lnTo>
                    <a:pt x="88" y="99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88" y="108"/>
                  </a:lnTo>
                  <a:lnTo>
                    <a:pt x="86" y="125"/>
                  </a:lnTo>
                  <a:lnTo>
                    <a:pt x="86" y="125"/>
                  </a:lnTo>
                  <a:lnTo>
                    <a:pt x="68" y="154"/>
                  </a:lnTo>
                  <a:lnTo>
                    <a:pt x="66" y="154"/>
                  </a:lnTo>
                  <a:lnTo>
                    <a:pt x="66" y="158"/>
                  </a:lnTo>
                  <a:lnTo>
                    <a:pt x="66" y="160"/>
                  </a:lnTo>
                  <a:lnTo>
                    <a:pt x="66" y="169"/>
                  </a:lnTo>
                  <a:lnTo>
                    <a:pt x="66" y="173"/>
                  </a:lnTo>
                  <a:lnTo>
                    <a:pt x="66" y="178"/>
                  </a:lnTo>
                  <a:lnTo>
                    <a:pt x="64" y="180"/>
                  </a:lnTo>
                  <a:lnTo>
                    <a:pt x="62" y="189"/>
                  </a:lnTo>
                  <a:lnTo>
                    <a:pt x="60" y="189"/>
                  </a:lnTo>
                  <a:lnTo>
                    <a:pt x="57" y="191"/>
                  </a:lnTo>
                  <a:lnTo>
                    <a:pt x="55" y="193"/>
                  </a:lnTo>
                  <a:lnTo>
                    <a:pt x="55" y="193"/>
                  </a:lnTo>
                  <a:lnTo>
                    <a:pt x="49" y="198"/>
                  </a:lnTo>
                  <a:lnTo>
                    <a:pt x="27" y="202"/>
                  </a:lnTo>
                  <a:lnTo>
                    <a:pt x="20" y="204"/>
                  </a:lnTo>
                  <a:lnTo>
                    <a:pt x="0" y="204"/>
                  </a:lnTo>
                  <a:lnTo>
                    <a:pt x="7" y="213"/>
                  </a:lnTo>
                  <a:lnTo>
                    <a:pt x="14" y="222"/>
                  </a:lnTo>
                  <a:lnTo>
                    <a:pt x="14" y="224"/>
                  </a:lnTo>
                  <a:lnTo>
                    <a:pt x="16" y="228"/>
                  </a:lnTo>
                  <a:lnTo>
                    <a:pt x="16" y="230"/>
                  </a:lnTo>
                  <a:lnTo>
                    <a:pt x="18" y="233"/>
                  </a:lnTo>
                  <a:lnTo>
                    <a:pt x="20" y="235"/>
                  </a:lnTo>
                  <a:lnTo>
                    <a:pt x="20" y="237"/>
                  </a:lnTo>
                  <a:lnTo>
                    <a:pt x="20" y="239"/>
                  </a:lnTo>
                  <a:lnTo>
                    <a:pt x="20" y="246"/>
                  </a:lnTo>
                  <a:lnTo>
                    <a:pt x="20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7" y="252"/>
                  </a:lnTo>
                  <a:lnTo>
                    <a:pt x="29" y="257"/>
                  </a:lnTo>
                  <a:lnTo>
                    <a:pt x="38" y="270"/>
                  </a:lnTo>
                  <a:lnTo>
                    <a:pt x="40" y="272"/>
                  </a:lnTo>
                  <a:lnTo>
                    <a:pt x="40" y="272"/>
                  </a:lnTo>
                  <a:lnTo>
                    <a:pt x="42" y="270"/>
                  </a:lnTo>
                  <a:lnTo>
                    <a:pt x="42" y="268"/>
                  </a:lnTo>
                  <a:lnTo>
                    <a:pt x="44" y="270"/>
                  </a:lnTo>
                  <a:lnTo>
                    <a:pt x="53" y="281"/>
                  </a:lnTo>
                  <a:lnTo>
                    <a:pt x="55" y="283"/>
                  </a:lnTo>
                  <a:lnTo>
                    <a:pt x="57" y="290"/>
                  </a:lnTo>
                  <a:lnTo>
                    <a:pt x="57" y="292"/>
                  </a:lnTo>
                  <a:lnTo>
                    <a:pt x="62" y="296"/>
                  </a:lnTo>
                  <a:lnTo>
                    <a:pt x="62" y="299"/>
                  </a:lnTo>
                  <a:lnTo>
                    <a:pt x="62" y="307"/>
                  </a:lnTo>
                  <a:lnTo>
                    <a:pt x="64" y="314"/>
                  </a:lnTo>
                  <a:lnTo>
                    <a:pt x="66" y="314"/>
                  </a:lnTo>
                  <a:lnTo>
                    <a:pt x="66" y="316"/>
                  </a:lnTo>
                  <a:lnTo>
                    <a:pt x="68" y="318"/>
                  </a:lnTo>
                  <a:lnTo>
                    <a:pt x="71" y="329"/>
                  </a:lnTo>
                  <a:lnTo>
                    <a:pt x="71" y="331"/>
                  </a:lnTo>
                  <a:lnTo>
                    <a:pt x="73" y="331"/>
                  </a:lnTo>
                  <a:lnTo>
                    <a:pt x="75" y="331"/>
                  </a:lnTo>
                  <a:lnTo>
                    <a:pt x="75" y="334"/>
                  </a:lnTo>
                  <a:lnTo>
                    <a:pt x="77" y="336"/>
                  </a:lnTo>
                  <a:lnTo>
                    <a:pt x="75" y="336"/>
                  </a:lnTo>
                  <a:lnTo>
                    <a:pt x="75" y="338"/>
                  </a:lnTo>
                  <a:lnTo>
                    <a:pt x="77" y="353"/>
                  </a:lnTo>
                  <a:lnTo>
                    <a:pt x="75" y="358"/>
                  </a:lnTo>
                  <a:lnTo>
                    <a:pt x="75" y="360"/>
                  </a:lnTo>
                  <a:lnTo>
                    <a:pt x="77" y="360"/>
                  </a:lnTo>
                  <a:lnTo>
                    <a:pt x="84" y="364"/>
                  </a:lnTo>
                  <a:lnTo>
                    <a:pt x="88" y="367"/>
                  </a:lnTo>
                  <a:lnTo>
                    <a:pt x="90" y="373"/>
                  </a:lnTo>
                  <a:lnTo>
                    <a:pt x="93" y="375"/>
                  </a:lnTo>
                  <a:lnTo>
                    <a:pt x="97" y="378"/>
                  </a:lnTo>
                  <a:lnTo>
                    <a:pt x="104" y="382"/>
                  </a:lnTo>
                  <a:lnTo>
                    <a:pt x="112" y="393"/>
                  </a:lnTo>
                  <a:lnTo>
                    <a:pt x="117" y="402"/>
                  </a:lnTo>
                  <a:lnTo>
                    <a:pt x="121" y="406"/>
                  </a:lnTo>
                  <a:lnTo>
                    <a:pt x="121" y="408"/>
                  </a:lnTo>
                  <a:lnTo>
                    <a:pt x="123" y="410"/>
                  </a:lnTo>
                  <a:lnTo>
                    <a:pt x="132" y="415"/>
                  </a:lnTo>
                  <a:lnTo>
                    <a:pt x="137" y="419"/>
                  </a:lnTo>
                  <a:lnTo>
                    <a:pt x="139" y="421"/>
                  </a:lnTo>
                  <a:lnTo>
                    <a:pt x="145" y="424"/>
                  </a:lnTo>
                  <a:lnTo>
                    <a:pt x="148" y="426"/>
                  </a:lnTo>
                  <a:lnTo>
                    <a:pt x="148" y="426"/>
                  </a:lnTo>
                  <a:lnTo>
                    <a:pt x="150" y="426"/>
                  </a:lnTo>
                  <a:lnTo>
                    <a:pt x="152" y="424"/>
                  </a:lnTo>
                  <a:lnTo>
                    <a:pt x="152" y="424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63" y="428"/>
                  </a:lnTo>
                  <a:lnTo>
                    <a:pt x="165" y="426"/>
                  </a:lnTo>
                  <a:lnTo>
                    <a:pt x="169" y="424"/>
                  </a:lnTo>
                  <a:lnTo>
                    <a:pt x="172" y="424"/>
                  </a:lnTo>
                  <a:lnTo>
                    <a:pt x="174" y="421"/>
                  </a:lnTo>
                  <a:lnTo>
                    <a:pt x="174" y="421"/>
                  </a:lnTo>
                  <a:lnTo>
                    <a:pt x="176" y="424"/>
                  </a:lnTo>
                  <a:lnTo>
                    <a:pt x="176" y="424"/>
                  </a:lnTo>
                  <a:lnTo>
                    <a:pt x="178" y="424"/>
                  </a:lnTo>
                  <a:lnTo>
                    <a:pt x="178" y="424"/>
                  </a:lnTo>
                  <a:lnTo>
                    <a:pt x="185" y="419"/>
                  </a:lnTo>
                  <a:lnTo>
                    <a:pt x="187" y="417"/>
                  </a:lnTo>
                  <a:lnTo>
                    <a:pt x="194" y="417"/>
                  </a:lnTo>
                  <a:lnTo>
                    <a:pt x="198" y="417"/>
                  </a:lnTo>
                  <a:lnTo>
                    <a:pt x="198" y="417"/>
                  </a:lnTo>
                  <a:lnTo>
                    <a:pt x="198" y="419"/>
                  </a:lnTo>
                  <a:lnTo>
                    <a:pt x="200" y="421"/>
                  </a:lnTo>
                  <a:lnTo>
                    <a:pt x="200" y="424"/>
                  </a:lnTo>
                  <a:lnTo>
                    <a:pt x="202" y="424"/>
                  </a:lnTo>
                  <a:lnTo>
                    <a:pt x="209" y="424"/>
                  </a:lnTo>
                  <a:lnTo>
                    <a:pt x="216" y="424"/>
                  </a:lnTo>
                  <a:lnTo>
                    <a:pt x="222" y="428"/>
                  </a:lnTo>
                  <a:lnTo>
                    <a:pt x="235" y="437"/>
                  </a:lnTo>
                  <a:lnTo>
                    <a:pt x="249" y="446"/>
                  </a:lnTo>
                  <a:lnTo>
                    <a:pt x="251" y="446"/>
                  </a:lnTo>
                  <a:lnTo>
                    <a:pt x="251" y="446"/>
                  </a:lnTo>
                  <a:lnTo>
                    <a:pt x="253" y="448"/>
                  </a:lnTo>
                  <a:lnTo>
                    <a:pt x="255" y="450"/>
                  </a:lnTo>
                  <a:lnTo>
                    <a:pt x="264" y="450"/>
                  </a:lnTo>
                  <a:lnTo>
                    <a:pt x="270" y="452"/>
                  </a:lnTo>
                  <a:lnTo>
                    <a:pt x="270" y="452"/>
                  </a:lnTo>
                  <a:lnTo>
                    <a:pt x="273" y="454"/>
                  </a:lnTo>
                  <a:lnTo>
                    <a:pt x="273" y="454"/>
                  </a:lnTo>
                  <a:lnTo>
                    <a:pt x="275" y="454"/>
                  </a:lnTo>
                  <a:lnTo>
                    <a:pt x="284" y="454"/>
                  </a:lnTo>
                  <a:lnTo>
                    <a:pt x="286" y="457"/>
                  </a:lnTo>
                  <a:lnTo>
                    <a:pt x="288" y="459"/>
                  </a:lnTo>
                  <a:lnTo>
                    <a:pt x="292" y="463"/>
                  </a:lnTo>
                  <a:lnTo>
                    <a:pt x="290" y="465"/>
                  </a:lnTo>
                  <a:lnTo>
                    <a:pt x="292" y="468"/>
                  </a:lnTo>
                  <a:lnTo>
                    <a:pt x="297" y="470"/>
                  </a:lnTo>
                  <a:lnTo>
                    <a:pt x="303" y="474"/>
                  </a:lnTo>
                  <a:lnTo>
                    <a:pt x="306" y="474"/>
                  </a:lnTo>
                  <a:lnTo>
                    <a:pt x="314" y="474"/>
                  </a:lnTo>
                  <a:lnTo>
                    <a:pt x="317" y="476"/>
                  </a:lnTo>
                  <a:lnTo>
                    <a:pt x="321" y="481"/>
                  </a:lnTo>
                  <a:lnTo>
                    <a:pt x="323" y="481"/>
                  </a:lnTo>
                  <a:lnTo>
                    <a:pt x="325" y="483"/>
                  </a:lnTo>
                  <a:lnTo>
                    <a:pt x="334" y="492"/>
                  </a:lnTo>
                  <a:lnTo>
                    <a:pt x="339" y="496"/>
                  </a:lnTo>
                  <a:lnTo>
                    <a:pt x="341" y="500"/>
                  </a:lnTo>
                  <a:lnTo>
                    <a:pt x="343" y="507"/>
                  </a:lnTo>
                  <a:lnTo>
                    <a:pt x="345" y="509"/>
                  </a:lnTo>
                  <a:lnTo>
                    <a:pt x="347" y="516"/>
                  </a:lnTo>
                  <a:lnTo>
                    <a:pt x="350" y="520"/>
                  </a:lnTo>
                  <a:lnTo>
                    <a:pt x="350" y="553"/>
                  </a:lnTo>
                  <a:lnTo>
                    <a:pt x="345" y="575"/>
                  </a:lnTo>
                  <a:lnTo>
                    <a:pt x="343" y="577"/>
                  </a:lnTo>
                  <a:lnTo>
                    <a:pt x="341" y="579"/>
                  </a:lnTo>
                  <a:lnTo>
                    <a:pt x="341" y="582"/>
                  </a:lnTo>
                  <a:lnTo>
                    <a:pt x="334" y="584"/>
                  </a:lnTo>
                  <a:lnTo>
                    <a:pt x="332" y="586"/>
                  </a:lnTo>
                  <a:lnTo>
                    <a:pt x="332" y="588"/>
                  </a:lnTo>
                  <a:lnTo>
                    <a:pt x="328" y="593"/>
                  </a:lnTo>
                  <a:lnTo>
                    <a:pt x="323" y="597"/>
                  </a:lnTo>
                  <a:lnTo>
                    <a:pt x="321" y="601"/>
                  </a:lnTo>
                  <a:lnTo>
                    <a:pt x="317" y="610"/>
                  </a:lnTo>
                  <a:lnTo>
                    <a:pt x="314" y="612"/>
                  </a:lnTo>
                  <a:lnTo>
                    <a:pt x="308" y="615"/>
                  </a:lnTo>
                  <a:lnTo>
                    <a:pt x="306" y="615"/>
                  </a:lnTo>
                  <a:lnTo>
                    <a:pt x="301" y="617"/>
                  </a:lnTo>
                  <a:lnTo>
                    <a:pt x="297" y="617"/>
                  </a:lnTo>
                  <a:lnTo>
                    <a:pt x="297" y="619"/>
                  </a:lnTo>
                  <a:lnTo>
                    <a:pt x="295" y="619"/>
                  </a:lnTo>
                  <a:lnTo>
                    <a:pt x="292" y="621"/>
                  </a:lnTo>
                  <a:lnTo>
                    <a:pt x="292" y="623"/>
                  </a:lnTo>
                  <a:lnTo>
                    <a:pt x="288" y="626"/>
                  </a:lnTo>
                  <a:lnTo>
                    <a:pt x="286" y="628"/>
                  </a:lnTo>
                  <a:lnTo>
                    <a:pt x="281" y="630"/>
                  </a:lnTo>
                  <a:lnTo>
                    <a:pt x="279" y="630"/>
                  </a:lnTo>
                  <a:lnTo>
                    <a:pt x="277" y="632"/>
                  </a:lnTo>
                  <a:lnTo>
                    <a:pt x="275" y="634"/>
                  </a:lnTo>
                  <a:lnTo>
                    <a:pt x="273" y="636"/>
                  </a:lnTo>
                  <a:lnTo>
                    <a:pt x="273" y="636"/>
                  </a:lnTo>
                  <a:lnTo>
                    <a:pt x="273" y="639"/>
                  </a:lnTo>
                  <a:lnTo>
                    <a:pt x="273" y="641"/>
                  </a:lnTo>
                  <a:lnTo>
                    <a:pt x="273" y="643"/>
                  </a:lnTo>
                  <a:lnTo>
                    <a:pt x="275" y="647"/>
                  </a:lnTo>
                  <a:lnTo>
                    <a:pt x="277" y="650"/>
                  </a:lnTo>
                  <a:lnTo>
                    <a:pt x="277" y="652"/>
                  </a:lnTo>
                  <a:lnTo>
                    <a:pt x="277" y="656"/>
                  </a:lnTo>
                  <a:lnTo>
                    <a:pt x="275" y="663"/>
                  </a:lnTo>
                  <a:lnTo>
                    <a:pt x="275" y="665"/>
                  </a:lnTo>
                  <a:lnTo>
                    <a:pt x="275" y="669"/>
                  </a:lnTo>
                  <a:lnTo>
                    <a:pt x="275" y="669"/>
                  </a:lnTo>
                  <a:lnTo>
                    <a:pt x="275" y="672"/>
                  </a:lnTo>
                  <a:lnTo>
                    <a:pt x="275" y="674"/>
                  </a:lnTo>
                  <a:lnTo>
                    <a:pt x="288" y="689"/>
                  </a:lnTo>
                  <a:lnTo>
                    <a:pt x="292" y="691"/>
                  </a:lnTo>
                  <a:lnTo>
                    <a:pt x="303" y="694"/>
                  </a:lnTo>
                  <a:lnTo>
                    <a:pt x="317" y="691"/>
                  </a:lnTo>
                  <a:lnTo>
                    <a:pt x="321" y="691"/>
                  </a:lnTo>
                  <a:lnTo>
                    <a:pt x="325" y="689"/>
                  </a:lnTo>
                  <a:lnTo>
                    <a:pt x="330" y="689"/>
                  </a:lnTo>
                  <a:lnTo>
                    <a:pt x="334" y="685"/>
                  </a:lnTo>
                  <a:lnTo>
                    <a:pt x="336" y="685"/>
                  </a:lnTo>
                  <a:lnTo>
                    <a:pt x="339" y="687"/>
                  </a:lnTo>
                  <a:lnTo>
                    <a:pt x="341" y="687"/>
                  </a:lnTo>
                  <a:lnTo>
                    <a:pt x="341" y="689"/>
                  </a:lnTo>
                  <a:lnTo>
                    <a:pt x="343" y="689"/>
                  </a:lnTo>
                  <a:lnTo>
                    <a:pt x="345" y="696"/>
                  </a:lnTo>
                  <a:lnTo>
                    <a:pt x="345" y="698"/>
                  </a:lnTo>
                  <a:lnTo>
                    <a:pt x="347" y="700"/>
                  </a:lnTo>
                  <a:lnTo>
                    <a:pt x="347" y="700"/>
                  </a:lnTo>
                  <a:lnTo>
                    <a:pt x="350" y="702"/>
                  </a:lnTo>
                  <a:lnTo>
                    <a:pt x="352" y="702"/>
                  </a:lnTo>
                  <a:lnTo>
                    <a:pt x="354" y="700"/>
                  </a:lnTo>
                  <a:lnTo>
                    <a:pt x="358" y="694"/>
                  </a:lnTo>
                  <a:lnTo>
                    <a:pt x="358" y="694"/>
                  </a:lnTo>
                  <a:lnTo>
                    <a:pt x="358" y="691"/>
                  </a:lnTo>
                  <a:lnTo>
                    <a:pt x="358" y="689"/>
                  </a:lnTo>
                  <a:lnTo>
                    <a:pt x="360" y="685"/>
                  </a:lnTo>
                  <a:lnTo>
                    <a:pt x="360" y="683"/>
                  </a:lnTo>
                  <a:lnTo>
                    <a:pt x="360" y="678"/>
                  </a:lnTo>
                  <a:lnTo>
                    <a:pt x="360" y="676"/>
                  </a:lnTo>
                  <a:lnTo>
                    <a:pt x="360" y="674"/>
                  </a:lnTo>
                  <a:lnTo>
                    <a:pt x="360" y="674"/>
                  </a:lnTo>
                  <a:lnTo>
                    <a:pt x="358" y="669"/>
                  </a:lnTo>
                  <a:lnTo>
                    <a:pt x="356" y="667"/>
                  </a:lnTo>
                  <a:lnTo>
                    <a:pt x="358" y="667"/>
                  </a:lnTo>
                  <a:lnTo>
                    <a:pt x="358" y="665"/>
                  </a:lnTo>
                  <a:lnTo>
                    <a:pt x="358" y="663"/>
                  </a:lnTo>
                  <a:lnTo>
                    <a:pt x="360" y="661"/>
                  </a:lnTo>
                  <a:lnTo>
                    <a:pt x="363" y="661"/>
                  </a:lnTo>
                  <a:lnTo>
                    <a:pt x="363" y="661"/>
                  </a:lnTo>
                  <a:lnTo>
                    <a:pt x="365" y="661"/>
                  </a:lnTo>
                  <a:lnTo>
                    <a:pt x="367" y="663"/>
                  </a:lnTo>
                  <a:lnTo>
                    <a:pt x="367" y="663"/>
                  </a:lnTo>
                  <a:lnTo>
                    <a:pt x="371" y="667"/>
                  </a:lnTo>
                  <a:lnTo>
                    <a:pt x="380" y="680"/>
                  </a:lnTo>
                  <a:lnTo>
                    <a:pt x="385" y="685"/>
                  </a:lnTo>
                  <a:lnTo>
                    <a:pt x="387" y="691"/>
                  </a:lnTo>
                  <a:lnTo>
                    <a:pt x="387" y="694"/>
                  </a:lnTo>
                  <a:lnTo>
                    <a:pt x="389" y="694"/>
                  </a:lnTo>
                  <a:lnTo>
                    <a:pt x="391" y="696"/>
                  </a:lnTo>
                  <a:lnTo>
                    <a:pt x="393" y="696"/>
                  </a:lnTo>
                  <a:lnTo>
                    <a:pt x="396" y="698"/>
                  </a:lnTo>
                  <a:lnTo>
                    <a:pt x="400" y="698"/>
                  </a:lnTo>
                  <a:lnTo>
                    <a:pt x="400" y="698"/>
                  </a:lnTo>
                  <a:lnTo>
                    <a:pt x="402" y="700"/>
                  </a:lnTo>
                  <a:lnTo>
                    <a:pt x="402" y="702"/>
                  </a:lnTo>
                  <a:lnTo>
                    <a:pt x="400" y="705"/>
                  </a:lnTo>
                  <a:lnTo>
                    <a:pt x="400" y="705"/>
                  </a:lnTo>
                  <a:lnTo>
                    <a:pt x="398" y="707"/>
                  </a:lnTo>
                  <a:lnTo>
                    <a:pt x="396" y="709"/>
                  </a:lnTo>
                  <a:lnTo>
                    <a:pt x="393" y="709"/>
                  </a:lnTo>
                  <a:lnTo>
                    <a:pt x="393" y="711"/>
                  </a:lnTo>
                  <a:lnTo>
                    <a:pt x="391" y="713"/>
                  </a:lnTo>
                  <a:lnTo>
                    <a:pt x="393" y="722"/>
                  </a:lnTo>
                  <a:lnTo>
                    <a:pt x="393" y="724"/>
                  </a:lnTo>
                  <a:lnTo>
                    <a:pt x="393" y="726"/>
                  </a:lnTo>
                  <a:lnTo>
                    <a:pt x="393" y="726"/>
                  </a:lnTo>
                  <a:lnTo>
                    <a:pt x="391" y="731"/>
                  </a:lnTo>
                  <a:lnTo>
                    <a:pt x="391" y="733"/>
                  </a:lnTo>
                  <a:lnTo>
                    <a:pt x="393" y="735"/>
                  </a:lnTo>
                  <a:lnTo>
                    <a:pt x="398" y="737"/>
                  </a:lnTo>
                  <a:lnTo>
                    <a:pt x="422" y="744"/>
                  </a:lnTo>
                  <a:lnTo>
                    <a:pt x="424" y="744"/>
                  </a:lnTo>
                  <a:lnTo>
                    <a:pt x="426" y="746"/>
                  </a:lnTo>
                  <a:lnTo>
                    <a:pt x="429" y="746"/>
                  </a:lnTo>
                  <a:lnTo>
                    <a:pt x="429" y="746"/>
                  </a:lnTo>
                  <a:lnTo>
                    <a:pt x="435" y="742"/>
                  </a:lnTo>
                  <a:lnTo>
                    <a:pt x="437" y="740"/>
                  </a:lnTo>
                  <a:lnTo>
                    <a:pt x="440" y="740"/>
                  </a:lnTo>
                  <a:lnTo>
                    <a:pt x="444" y="740"/>
                  </a:lnTo>
                  <a:lnTo>
                    <a:pt x="446" y="740"/>
                  </a:lnTo>
                  <a:lnTo>
                    <a:pt x="451" y="740"/>
                  </a:lnTo>
                  <a:lnTo>
                    <a:pt x="453" y="740"/>
                  </a:lnTo>
                  <a:lnTo>
                    <a:pt x="455" y="740"/>
                  </a:lnTo>
                  <a:lnTo>
                    <a:pt x="457" y="737"/>
                  </a:lnTo>
                  <a:lnTo>
                    <a:pt x="457" y="737"/>
                  </a:lnTo>
                  <a:lnTo>
                    <a:pt x="457" y="735"/>
                  </a:lnTo>
                  <a:lnTo>
                    <a:pt x="457" y="733"/>
                  </a:lnTo>
                  <a:lnTo>
                    <a:pt x="457" y="733"/>
                  </a:lnTo>
                  <a:lnTo>
                    <a:pt x="457" y="731"/>
                  </a:lnTo>
                  <a:lnTo>
                    <a:pt x="457" y="729"/>
                  </a:lnTo>
                  <a:lnTo>
                    <a:pt x="457" y="729"/>
                  </a:lnTo>
                  <a:lnTo>
                    <a:pt x="459" y="729"/>
                  </a:lnTo>
                  <a:lnTo>
                    <a:pt x="466" y="733"/>
                  </a:lnTo>
                  <a:lnTo>
                    <a:pt x="468" y="733"/>
                  </a:lnTo>
                  <a:lnTo>
                    <a:pt x="472" y="733"/>
                  </a:lnTo>
                  <a:lnTo>
                    <a:pt x="475" y="733"/>
                  </a:lnTo>
                  <a:lnTo>
                    <a:pt x="479" y="735"/>
                  </a:lnTo>
                  <a:lnTo>
                    <a:pt x="490" y="746"/>
                  </a:lnTo>
                  <a:lnTo>
                    <a:pt x="492" y="746"/>
                  </a:lnTo>
                  <a:lnTo>
                    <a:pt x="494" y="746"/>
                  </a:lnTo>
                  <a:lnTo>
                    <a:pt x="497" y="746"/>
                  </a:lnTo>
                  <a:lnTo>
                    <a:pt x="497" y="746"/>
                  </a:lnTo>
                  <a:lnTo>
                    <a:pt x="503" y="740"/>
                  </a:lnTo>
                  <a:lnTo>
                    <a:pt x="505" y="740"/>
                  </a:lnTo>
                  <a:lnTo>
                    <a:pt x="505" y="740"/>
                  </a:lnTo>
                  <a:lnTo>
                    <a:pt x="508" y="737"/>
                  </a:lnTo>
                  <a:lnTo>
                    <a:pt x="510" y="737"/>
                  </a:lnTo>
                  <a:lnTo>
                    <a:pt x="512" y="740"/>
                  </a:lnTo>
                  <a:lnTo>
                    <a:pt x="514" y="740"/>
                  </a:lnTo>
                  <a:lnTo>
                    <a:pt x="514" y="740"/>
                  </a:lnTo>
                  <a:lnTo>
                    <a:pt x="516" y="742"/>
                  </a:lnTo>
                  <a:lnTo>
                    <a:pt x="519" y="744"/>
                  </a:lnTo>
                  <a:lnTo>
                    <a:pt x="519" y="748"/>
                  </a:lnTo>
                  <a:lnTo>
                    <a:pt x="519" y="751"/>
                  </a:lnTo>
                  <a:lnTo>
                    <a:pt x="519" y="753"/>
                  </a:lnTo>
                  <a:lnTo>
                    <a:pt x="519" y="757"/>
                  </a:lnTo>
                  <a:lnTo>
                    <a:pt x="519" y="764"/>
                  </a:lnTo>
                  <a:lnTo>
                    <a:pt x="519" y="766"/>
                  </a:lnTo>
                  <a:lnTo>
                    <a:pt x="521" y="768"/>
                  </a:lnTo>
                  <a:lnTo>
                    <a:pt x="523" y="770"/>
                  </a:lnTo>
                  <a:lnTo>
                    <a:pt x="527" y="770"/>
                  </a:lnTo>
                  <a:lnTo>
                    <a:pt x="532" y="773"/>
                  </a:lnTo>
                  <a:lnTo>
                    <a:pt x="536" y="777"/>
                  </a:lnTo>
                  <a:lnTo>
                    <a:pt x="538" y="779"/>
                  </a:lnTo>
                  <a:lnTo>
                    <a:pt x="543" y="786"/>
                  </a:lnTo>
                  <a:lnTo>
                    <a:pt x="547" y="788"/>
                  </a:lnTo>
                  <a:lnTo>
                    <a:pt x="549" y="788"/>
                  </a:lnTo>
                  <a:lnTo>
                    <a:pt x="549" y="786"/>
                  </a:lnTo>
                  <a:lnTo>
                    <a:pt x="554" y="786"/>
                  </a:lnTo>
                  <a:lnTo>
                    <a:pt x="554" y="786"/>
                  </a:lnTo>
                  <a:lnTo>
                    <a:pt x="556" y="784"/>
                  </a:lnTo>
                  <a:lnTo>
                    <a:pt x="556" y="779"/>
                  </a:lnTo>
                  <a:lnTo>
                    <a:pt x="556" y="764"/>
                  </a:lnTo>
                  <a:lnTo>
                    <a:pt x="556" y="757"/>
                  </a:lnTo>
                  <a:lnTo>
                    <a:pt x="554" y="753"/>
                  </a:lnTo>
                  <a:lnTo>
                    <a:pt x="552" y="751"/>
                  </a:lnTo>
                  <a:lnTo>
                    <a:pt x="549" y="748"/>
                  </a:lnTo>
                  <a:lnTo>
                    <a:pt x="549" y="746"/>
                  </a:lnTo>
                  <a:lnTo>
                    <a:pt x="549" y="744"/>
                  </a:lnTo>
                  <a:lnTo>
                    <a:pt x="549" y="740"/>
                  </a:lnTo>
                  <a:lnTo>
                    <a:pt x="552" y="737"/>
                  </a:lnTo>
                  <a:lnTo>
                    <a:pt x="552" y="733"/>
                  </a:lnTo>
                  <a:lnTo>
                    <a:pt x="552" y="733"/>
                  </a:lnTo>
                  <a:lnTo>
                    <a:pt x="552" y="733"/>
                  </a:lnTo>
                  <a:lnTo>
                    <a:pt x="549" y="729"/>
                  </a:lnTo>
                  <a:lnTo>
                    <a:pt x="549" y="722"/>
                  </a:lnTo>
                  <a:lnTo>
                    <a:pt x="549" y="720"/>
                  </a:lnTo>
                  <a:lnTo>
                    <a:pt x="554" y="711"/>
                  </a:lnTo>
                  <a:lnTo>
                    <a:pt x="554" y="709"/>
                  </a:lnTo>
                  <a:lnTo>
                    <a:pt x="554" y="707"/>
                  </a:lnTo>
                  <a:lnTo>
                    <a:pt x="552" y="700"/>
                  </a:lnTo>
                  <a:lnTo>
                    <a:pt x="552" y="696"/>
                  </a:lnTo>
                  <a:lnTo>
                    <a:pt x="552" y="694"/>
                  </a:lnTo>
                  <a:lnTo>
                    <a:pt x="554" y="685"/>
                  </a:lnTo>
                  <a:lnTo>
                    <a:pt x="554" y="683"/>
                  </a:lnTo>
                  <a:lnTo>
                    <a:pt x="552" y="680"/>
                  </a:lnTo>
                  <a:lnTo>
                    <a:pt x="547" y="678"/>
                  </a:lnTo>
                  <a:lnTo>
                    <a:pt x="545" y="678"/>
                  </a:lnTo>
                  <a:lnTo>
                    <a:pt x="543" y="678"/>
                  </a:lnTo>
                  <a:lnTo>
                    <a:pt x="541" y="678"/>
                  </a:lnTo>
                  <a:lnTo>
                    <a:pt x="538" y="676"/>
                  </a:lnTo>
                  <a:lnTo>
                    <a:pt x="538" y="676"/>
                  </a:lnTo>
                  <a:lnTo>
                    <a:pt x="534" y="672"/>
                  </a:lnTo>
                  <a:lnTo>
                    <a:pt x="530" y="665"/>
                  </a:lnTo>
                  <a:lnTo>
                    <a:pt x="530" y="663"/>
                  </a:lnTo>
                  <a:lnTo>
                    <a:pt x="527" y="661"/>
                  </a:lnTo>
                  <a:lnTo>
                    <a:pt x="527" y="661"/>
                  </a:lnTo>
                  <a:lnTo>
                    <a:pt x="530" y="656"/>
                  </a:lnTo>
                  <a:lnTo>
                    <a:pt x="532" y="656"/>
                  </a:lnTo>
                  <a:lnTo>
                    <a:pt x="538" y="656"/>
                  </a:lnTo>
                  <a:lnTo>
                    <a:pt x="541" y="656"/>
                  </a:lnTo>
                  <a:lnTo>
                    <a:pt x="543" y="654"/>
                  </a:lnTo>
                  <a:lnTo>
                    <a:pt x="543" y="652"/>
                  </a:lnTo>
                  <a:lnTo>
                    <a:pt x="545" y="650"/>
                  </a:lnTo>
                  <a:lnTo>
                    <a:pt x="549" y="647"/>
                  </a:lnTo>
                  <a:lnTo>
                    <a:pt x="552" y="645"/>
                  </a:lnTo>
                  <a:lnTo>
                    <a:pt x="552" y="643"/>
                  </a:lnTo>
                  <a:lnTo>
                    <a:pt x="554" y="643"/>
                  </a:lnTo>
                  <a:lnTo>
                    <a:pt x="554" y="641"/>
                  </a:lnTo>
                  <a:lnTo>
                    <a:pt x="554" y="639"/>
                  </a:lnTo>
                  <a:lnTo>
                    <a:pt x="552" y="634"/>
                  </a:lnTo>
                  <a:lnTo>
                    <a:pt x="552" y="632"/>
                  </a:lnTo>
                  <a:lnTo>
                    <a:pt x="552" y="626"/>
                  </a:lnTo>
                  <a:lnTo>
                    <a:pt x="556" y="617"/>
                  </a:lnTo>
                  <a:lnTo>
                    <a:pt x="558" y="617"/>
                  </a:lnTo>
                  <a:lnTo>
                    <a:pt x="558" y="615"/>
                  </a:lnTo>
                  <a:lnTo>
                    <a:pt x="569" y="615"/>
                  </a:lnTo>
                  <a:lnTo>
                    <a:pt x="571" y="615"/>
                  </a:lnTo>
                  <a:lnTo>
                    <a:pt x="571" y="612"/>
                  </a:lnTo>
                  <a:lnTo>
                    <a:pt x="571" y="610"/>
                  </a:lnTo>
                  <a:lnTo>
                    <a:pt x="578" y="588"/>
                  </a:lnTo>
                  <a:lnTo>
                    <a:pt x="582" y="579"/>
                  </a:lnTo>
                  <a:lnTo>
                    <a:pt x="582" y="575"/>
                  </a:lnTo>
                  <a:lnTo>
                    <a:pt x="587" y="551"/>
                  </a:lnTo>
                  <a:lnTo>
                    <a:pt x="587" y="547"/>
                  </a:lnTo>
                  <a:lnTo>
                    <a:pt x="584" y="542"/>
                  </a:lnTo>
                  <a:lnTo>
                    <a:pt x="582" y="540"/>
                  </a:lnTo>
                  <a:lnTo>
                    <a:pt x="580" y="538"/>
                  </a:lnTo>
                  <a:lnTo>
                    <a:pt x="580" y="536"/>
                  </a:lnTo>
                  <a:lnTo>
                    <a:pt x="582" y="518"/>
                  </a:lnTo>
                  <a:lnTo>
                    <a:pt x="584" y="509"/>
                  </a:lnTo>
                  <a:lnTo>
                    <a:pt x="587" y="498"/>
                  </a:lnTo>
                  <a:lnTo>
                    <a:pt x="589" y="498"/>
                  </a:lnTo>
                  <a:lnTo>
                    <a:pt x="604" y="496"/>
                  </a:lnTo>
                  <a:lnTo>
                    <a:pt x="609" y="494"/>
                  </a:lnTo>
                  <a:lnTo>
                    <a:pt x="611" y="492"/>
                  </a:lnTo>
                  <a:lnTo>
                    <a:pt x="613" y="487"/>
                  </a:lnTo>
                  <a:lnTo>
                    <a:pt x="631" y="443"/>
                  </a:lnTo>
                  <a:lnTo>
                    <a:pt x="637" y="435"/>
                  </a:lnTo>
                  <a:lnTo>
                    <a:pt x="639" y="430"/>
                  </a:lnTo>
                  <a:lnTo>
                    <a:pt x="644" y="426"/>
                  </a:lnTo>
                  <a:lnTo>
                    <a:pt x="648" y="421"/>
                  </a:lnTo>
                  <a:lnTo>
                    <a:pt x="659" y="410"/>
                  </a:lnTo>
                  <a:lnTo>
                    <a:pt x="663" y="406"/>
                  </a:lnTo>
                  <a:lnTo>
                    <a:pt x="668" y="395"/>
                  </a:lnTo>
                  <a:lnTo>
                    <a:pt x="668" y="391"/>
                  </a:lnTo>
                  <a:lnTo>
                    <a:pt x="670" y="389"/>
                  </a:lnTo>
                  <a:lnTo>
                    <a:pt x="668" y="386"/>
                  </a:lnTo>
                  <a:lnTo>
                    <a:pt x="666" y="375"/>
                  </a:lnTo>
                  <a:lnTo>
                    <a:pt x="666" y="375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13" name="Freeform 17"/>
            <p:cNvSpPr>
              <a:spLocks/>
            </p:cNvSpPr>
            <p:nvPr/>
          </p:nvSpPr>
          <p:spPr bwMode="auto">
            <a:xfrm>
              <a:off x="5545138" y="4651375"/>
              <a:ext cx="679450" cy="1049337"/>
            </a:xfrm>
            <a:custGeom>
              <a:avLst/>
              <a:gdLst>
                <a:gd name="T0" fmla="*/ 389 w 428"/>
                <a:gd name="T1" fmla="*/ 474 h 661"/>
                <a:gd name="T2" fmla="*/ 371 w 428"/>
                <a:gd name="T3" fmla="*/ 485 h 661"/>
                <a:gd name="T4" fmla="*/ 338 w 428"/>
                <a:gd name="T5" fmla="*/ 489 h 661"/>
                <a:gd name="T6" fmla="*/ 323 w 428"/>
                <a:gd name="T7" fmla="*/ 498 h 661"/>
                <a:gd name="T8" fmla="*/ 299 w 428"/>
                <a:gd name="T9" fmla="*/ 507 h 661"/>
                <a:gd name="T10" fmla="*/ 301 w 428"/>
                <a:gd name="T11" fmla="*/ 456 h 661"/>
                <a:gd name="T12" fmla="*/ 296 w 428"/>
                <a:gd name="T13" fmla="*/ 395 h 661"/>
                <a:gd name="T14" fmla="*/ 266 w 428"/>
                <a:gd name="T15" fmla="*/ 305 h 661"/>
                <a:gd name="T16" fmla="*/ 255 w 428"/>
                <a:gd name="T17" fmla="*/ 285 h 661"/>
                <a:gd name="T18" fmla="*/ 239 w 428"/>
                <a:gd name="T19" fmla="*/ 241 h 661"/>
                <a:gd name="T20" fmla="*/ 244 w 428"/>
                <a:gd name="T21" fmla="*/ 213 h 661"/>
                <a:gd name="T22" fmla="*/ 259 w 428"/>
                <a:gd name="T23" fmla="*/ 209 h 661"/>
                <a:gd name="T24" fmla="*/ 336 w 428"/>
                <a:gd name="T25" fmla="*/ 250 h 661"/>
                <a:gd name="T26" fmla="*/ 354 w 428"/>
                <a:gd name="T27" fmla="*/ 239 h 661"/>
                <a:gd name="T28" fmla="*/ 310 w 428"/>
                <a:gd name="T29" fmla="*/ 195 h 661"/>
                <a:gd name="T30" fmla="*/ 292 w 428"/>
                <a:gd name="T31" fmla="*/ 156 h 661"/>
                <a:gd name="T32" fmla="*/ 283 w 428"/>
                <a:gd name="T33" fmla="*/ 134 h 661"/>
                <a:gd name="T34" fmla="*/ 261 w 428"/>
                <a:gd name="T35" fmla="*/ 90 h 661"/>
                <a:gd name="T36" fmla="*/ 242 w 428"/>
                <a:gd name="T37" fmla="*/ 68 h 661"/>
                <a:gd name="T38" fmla="*/ 231 w 428"/>
                <a:gd name="T39" fmla="*/ 44 h 661"/>
                <a:gd name="T40" fmla="*/ 200 w 428"/>
                <a:gd name="T41" fmla="*/ 20 h 661"/>
                <a:gd name="T42" fmla="*/ 178 w 428"/>
                <a:gd name="T43" fmla="*/ 31 h 661"/>
                <a:gd name="T44" fmla="*/ 147 w 428"/>
                <a:gd name="T45" fmla="*/ 13 h 661"/>
                <a:gd name="T46" fmla="*/ 127 w 428"/>
                <a:gd name="T47" fmla="*/ 9 h 661"/>
                <a:gd name="T48" fmla="*/ 119 w 428"/>
                <a:gd name="T49" fmla="*/ 59 h 661"/>
                <a:gd name="T50" fmla="*/ 132 w 428"/>
                <a:gd name="T51" fmla="*/ 59 h 661"/>
                <a:gd name="T52" fmla="*/ 149 w 428"/>
                <a:gd name="T53" fmla="*/ 99 h 661"/>
                <a:gd name="T54" fmla="*/ 156 w 428"/>
                <a:gd name="T55" fmla="*/ 123 h 661"/>
                <a:gd name="T56" fmla="*/ 152 w 428"/>
                <a:gd name="T57" fmla="*/ 129 h 661"/>
                <a:gd name="T58" fmla="*/ 158 w 428"/>
                <a:gd name="T59" fmla="*/ 165 h 661"/>
                <a:gd name="T60" fmla="*/ 138 w 428"/>
                <a:gd name="T61" fmla="*/ 165 h 661"/>
                <a:gd name="T62" fmla="*/ 136 w 428"/>
                <a:gd name="T63" fmla="*/ 187 h 661"/>
                <a:gd name="T64" fmla="*/ 116 w 428"/>
                <a:gd name="T65" fmla="*/ 200 h 661"/>
                <a:gd name="T66" fmla="*/ 97 w 428"/>
                <a:gd name="T67" fmla="*/ 209 h 661"/>
                <a:gd name="T68" fmla="*/ 99 w 428"/>
                <a:gd name="T69" fmla="*/ 226 h 661"/>
                <a:gd name="T70" fmla="*/ 72 w 428"/>
                <a:gd name="T71" fmla="*/ 230 h 661"/>
                <a:gd name="T72" fmla="*/ 44 w 428"/>
                <a:gd name="T73" fmla="*/ 228 h 661"/>
                <a:gd name="T74" fmla="*/ 51 w 428"/>
                <a:gd name="T75" fmla="*/ 257 h 661"/>
                <a:gd name="T76" fmla="*/ 62 w 428"/>
                <a:gd name="T77" fmla="*/ 272 h 661"/>
                <a:gd name="T78" fmla="*/ 72 w 428"/>
                <a:gd name="T79" fmla="*/ 362 h 661"/>
                <a:gd name="T80" fmla="*/ 9 w 428"/>
                <a:gd name="T81" fmla="*/ 384 h 661"/>
                <a:gd name="T82" fmla="*/ 0 w 428"/>
                <a:gd name="T83" fmla="*/ 428 h 661"/>
                <a:gd name="T84" fmla="*/ 13 w 428"/>
                <a:gd name="T85" fmla="*/ 456 h 661"/>
                <a:gd name="T86" fmla="*/ 37 w 428"/>
                <a:gd name="T87" fmla="*/ 461 h 661"/>
                <a:gd name="T88" fmla="*/ 53 w 428"/>
                <a:gd name="T89" fmla="*/ 470 h 661"/>
                <a:gd name="T90" fmla="*/ 68 w 428"/>
                <a:gd name="T91" fmla="*/ 492 h 661"/>
                <a:gd name="T92" fmla="*/ 81 w 428"/>
                <a:gd name="T93" fmla="*/ 529 h 661"/>
                <a:gd name="T94" fmla="*/ 81 w 428"/>
                <a:gd name="T95" fmla="*/ 571 h 661"/>
                <a:gd name="T96" fmla="*/ 123 w 428"/>
                <a:gd name="T97" fmla="*/ 588 h 661"/>
                <a:gd name="T98" fmla="*/ 143 w 428"/>
                <a:gd name="T99" fmla="*/ 617 h 661"/>
                <a:gd name="T100" fmla="*/ 160 w 428"/>
                <a:gd name="T101" fmla="*/ 639 h 661"/>
                <a:gd name="T102" fmla="*/ 189 w 428"/>
                <a:gd name="T103" fmla="*/ 630 h 661"/>
                <a:gd name="T104" fmla="*/ 195 w 428"/>
                <a:gd name="T105" fmla="*/ 647 h 661"/>
                <a:gd name="T106" fmla="*/ 217 w 428"/>
                <a:gd name="T107" fmla="*/ 650 h 661"/>
                <a:gd name="T108" fmla="*/ 290 w 428"/>
                <a:gd name="T109" fmla="*/ 625 h 661"/>
                <a:gd name="T110" fmla="*/ 343 w 428"/>
                <a:gd name="T111" fmla="*/ 608 h 661"/>
                <a:gd name="T112" fmla="*/ 365 w 428"/>
                <a:gd name="T113" fmla="*/ 601 h 661"/>
                <a:gd name="T114" fmla="*/ 393 w 428"/>
                <a:gd name="T115" fmla="*/ 553 h 661"/>
                <a:gd name="T116" fmla="*/ 393 w 428"/>
                <a:gd name="T117" fmla="*/ 516 h 661"/>
                <a:gd name="T118" fmla="*/ 417 w 428"/>
                <a:gd name="T119" fmla="*/ 509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8" h="661">
                  <a:moveTo>
                    <a:pt x="426" y="498"/>
                  </a:moveTo>
                  <a:lnTo>
                    <a:pt x="426" y="494"/>
                  </a:lnTo>
                  <a:lnTo>
                    <a:pt x="413" y="487"/>
                  </a:lnTo>
                  <a:lnTo>
                    <a:pt x="411" y="485"/>
                  </a:lnTo>
                  <a:lnTo>
                    <a:pt x="404" y="481"/>
                  </a:lnTo>
                  <a:lnTo>
                    <a:pt x="400" y="478"/>
                  </a:lnTo>
                  <a:lnTo>
                    <a:pt x="397" y="476"/>
                  </a:lnTo>
                  <a:lnTo>
                    <a:pt x="391" y="472"/>
                  </a:lnTo>
                  <a:lnTo>
                    <a:pt x="389" y="474"/>
                  </a:lnTo>
                  <a:lnTo>
                    <a:pt x="389" y="478"/>
                  </a:lnTo>
                  <a:lnTo>
                    <a:pt x="386" y="478"/>
                  </a:lnTo>
                  <a:lnTo>
                    <a:pt x="384" y="481"/>
                  </a:lnTo>
                  <a:lnTo>
                    <a:pt x="382" y="481"/>
                  </a:lnTo>
                  <a:lnTo>
                    <a:pt x="380" y="481"/>
                  </a:lnTo>
                  <a:lnTo>
                    <a:pt x="378" y="481"/>
                  </a:lnTo>
                  <a:lnTo>
                    <a:pt x="375" y="481"/>
                  </a:lnTo>
                  <a:lnTo>
                    <a:pt x="373" y="483"/>
                  </a:lnTo>
                  <a:lnTo>
                    <a:pt x="371" y="485"/>
                  </a:lnTo>
                  <a:lnTo>
                    <a:pt x="369" y="485"/>
                  </a:lnTo>
                  <a:lnTo>
                    <a:pt x="367" y="485"/>
                  </a:lnTo>
                  <a:lnTo>
                    <a:pt x="362" y="487"/>
                  </a:lnTo>
                  <a:lnTo>
                    <a:pt x="354" y="489"/>
                  </a:lnTo>
                  <a:lnTo>
                    <a:pt x="349" y="489"/>
                  </a:lnTo>
                  <a:lnTo>
                    <a:pt x="345" y="489"/>
                  </a:lnTo>
                  <a:lnTo>
                    <a:pt x="345" y="489"/>
                  </a:lnTo>
                  <a:lnTo>
                    <a:pt x="340" y="489"/>
                  </a:lnTo>
                  <a:lnTo>
                    <a:pt x="338" y="489"/>
                  </a:lnTo>
                  <a:lnTo>
                    <a:pt x="334" y="487"/>
                  </a:lnTo>
                  <a:lnTo>
                    <a:pt x="332" y="487"/>
                  </a:lnTo>
                  <a:lnTo>
                    <a:pt x="329" y="487"/>
                  </a:lnTo>
                  <a:lnTo>
                    <a:pt x="329" y="487"/>
                  </a:lnTo>
                  <a:lnTo>
                    <a:pt x="329" y="489"/>
                  </a:lnTo>
                  <a:lnTo>
                    <a:pt x="327" y="492"/>
                  </a:lnTo>
                  <a:lnTo>
                    <a:pt x="327" y="494"/>
                  </a:lnTo>
                  <a:lnTo>
                    <a:pt x="325" y="496"/>
                  </a:lnTo>
                  <a:lnTo>
                    <a:pt x="323" y="498"/>
                  </a:lnTo>
                  <a:lnTo>
                    <a:pt x="321" y="500"/>
                  </a:lnTo>
                  <a:lnTo>
                    <a:pt x="318" y="505"/>
                  </a:lnTo>
                  <a:lnTo>
                    <a:pt x="318" y="505"/>
                  </a:lnTo>
                  <a:lnTo>
                    <a:pt x="316" y="507"/>
                  </a:lnTo>
                  <a:lnTo>
                    <a:pt x="314" y="507"/>
                  </a:lnTo>
                  <a:lnTo>
                    <a:pt x="310" y="507"/>
                  </a:lnTo>
                  <a:lnTo>
                    <a:pt x="303" y="509"/>
                  </a:lnTo>
                  <a:lnTo>
                    <a:pt x="301" y="509"/>
                  </a:lnTo>
                  <a:lnTo>
                    <a:pt x="299" y="507"/>
                  </a:lnTo>
                  <a:lnTo>
                    <a:pt x="290" y="487"/>
                  </a:lnTo>
                  <a:lnTo>
                    <a:pt x="290" y="485"/>
                  </a:lnTo>
                  <a:lnTo>
                    <a:pt x="292" y="485"/>
                  </a:lnTo>
                  <a:lnTo>
                    <a:pt x="296" y="485"/>
                  </a:lnTo>
                  <a:lnTo>
                    <a:pt x="299" y="485"/>
                  </a:lnTo>
                  <a:lnTo>
                    <a:pt x="301" y="483"/>
                  </a:lnTo>
                  <a:lnTo>
                    <a:pt x="305" y="467"/>
                  </a:lnTo>
                  <a:lnTo>
                    <a:pt x="303" y="463"/>
                  </a:lnTo>
                  <a:lnTo>
                    <a:pt x="301" y="456"/>
                  </a:lnTo>
                  <a:lnTo>
                    <a:pt x="296" y="448"/>
                  </a:lnTo>
                  <a:lnTo>
                    <a:pt x="296" y="446"/>
                  </a:lnTo>
                  <a:lnTo>
                    <a:pt x="296" y="432"/>
                  </a:lnTo>
                  <a:lnTo>
                    <a:pt x="299" y="419"/>
                  </a:lnTo>
                  <a:lnTo>
                    <a:pt x="299" y="413"/>
                  </a:lnTo>
                  <a:lnTo>
                    <a:pt x="299" y="404"/>
                  </a:lnTo>
                  <a:lnTo>
                    <a:pt x="299" y="402"/>
                  </a:lnTo>
                  <a:lnTo>
                    <a:pt x="296" y="399"/>
                  </a:lnTo>
                  <a:lnTo>
                    <a:pt x="296" y="395"/>
                  </a:lnTo>
                  <a:lnTo>
                    <a:pt x="290" y="386"/>
                  </a:lnTo>
                  <a:lnTo>
                    <a:pt x="285" y="380"/>
                  </a:lnTo>
                  <a:lnTo>
                    <a:pt x="285" y="377"/>
                  </a:lnTo>
                  <a:lnTo>
                    <a:pt x="283" y="373"/>
                  </a:lnTo>
                  <a:lnTo>
                    <a:pt x="281" y="367"/>
                  </a:lnTo>
                  <a:lnTo>
                    <a:pt x="279" y="353"/>
                  </a:lnTo>
                  <a:lnTo>
                    <a:pt x="259" y="312"/>
                  </a:lnTo>
                  <a:lnTo>
                    <a:pt x="257" y="307"/>
                  </a:lnTo>
                  <a:lnTo>
                    <a:pt x="266" y="305"/>
                  </a:lnTo>
                  <a:lnTo>
                    <a:pt x="268" y="305"/>
                  </a:lnTo>
                  <a:lnTo>
                    <a:pt x="268" y="305"/>
                  </a:lnTo>
                  <a:lnTo>
                    <a:pt x="268" y="301"/>
                  </a:lnTo>
                  <a:lnTo>
                    <a:pt x="264" y="296"/>
                  </a:lnTo>
                  <a:lnTo>
                    <a:pt x="261" y="290"/>
                  </a:lnTo>
                  <a:lnTo>
                    <a:pt x="259" y="288"/>
                  </a:lnTo>
                  <a:lnTo>
                    <a:pt x="257" y="288"/>
                  </a:lnTo>
                  <a:lnTo>
                    <a:pt x="257" y="285"/>
                  </a:lnTo>
                  <a:lnTo>
                    <a:pt x="255" y="285"/>
                  </a:lnTo>
                  <a:lnTo>
                    <a:pt x="253" y="285"/>
                  </a:lnTo>
                  <a:lnTo>
                    <a:pt x="250" y="283"/>
                  </a:lnTo>
                  <a:lnTo>
                    <a:pt x="248" y="281"/>
                  </a:lnTo>
                  <a:lnTo>
                    <a:pt x="246" y="277"/>
                  </a:lnTo>
                  <a:lnTo>
                    <a:pt x="246" y="272"/>
                  </a:lnTo>
                  <a:lnTo>
                    <a:pt x="244" y="259"/>
                  </a:lnTo>
                  <a:lnTo>
                    <a:pt x="242" y="252"/>
                  </a:lnTo>
                  <a:lnTo>
                    <a:pt x="242" y="246"/>
                  </a:lnTo>
                  <a:lnTo>
                    <a:pt x="239" y="241"/>
                  </a:lnTo>
                  <a:lnTo>
                    <a:pt x="239" y="239"/>
                  </a:lnTo>
                  <a:lnTo>
                    <a:pt x="239" y="233"/>
                  </a:lnTo>
                  <a:lnTo>
                    <a:pt x="239" y="230"/>
                  </a:lnTo>
                  <a:lnTo>
                    <a:pt x="239" y="228"/>
                  </a:lnTo>
                  <a:lnTo>
                    <a:pt x="244" y="224"/>
                  </a:lnTo>
                  <a:lnTo>
                    <a:pt x="246" y="219"/>
                  </a:lnTo>
                  <a:lnTo>
                    <a:pt x="244" y="215"/>
                  </a:lnTo>
                  <a:lnTo>
                    <a:pt x="242" y="213"/>
                  </a:lnTo>
                  <a:lnTo>
                    <a:pt x="244" y="213"/>
                  </a:lnTo>
                  <a:lnTo>
                    <a:pt x="244" y="209"/>
                  </a:lnTo>
                  <a:lnTo>
                    <a:pt x="246" y="204"/>
                  </a:lnTo>
                  <a:lnTo>
                    <a:pt x="246" y="202"/>
                  </a:lnTo>
                  <a:lnTo>
                    <a:pt x="248" y="202"/>
                  </a:lnTo>
                  <a:lnTo>
                    <a:pt x="250" y="200"/>
                  </a:lnTo>
                  <a:lnTo>
                    <a:pt x="253" y="202"/>
                  </a:lnTo>
                  <a:lnTo>
                    <a:pt x="255" y="202"/>
                  </a:lnTo>
                  <a:lnTo>
                    <a:pt x="257" y="204"/>
                  </a:lnTo>
                  <a:lnTo>
                    <a:pt x="259" y="209"/>
                  </a:lnTo>
                  <a:lnTo>
                    <a:pt x="264" y="213"/>
                  </a:lnTo>
                  <a:lnTo>
                    <a:pt x="294" y="233"/>
                  </a:lnTo>
                  <a:lnTo>
                    <a:pt x="299" y="235"/>
                  </a:lnTo>
                  <a:lnTo>
                    <a:pt x="305" y="244"/>
                  </a:lnTo>
                  <a:lnTo>
                    <a:pt x="310" y="246"/>
                  </a:lnTo>
                  <a:lnTo>
                    <a:pt x="329" y="248"/>
                  </a:lnTo>
                  <a:lnTo>
                    <a:pt x="329" y="248"/>
                  </a:lnTo>
                  <a:lnTo>
                    <a:pt x="334" y="250"/>
                  </a:lnTo>
                  <a:lnTo>
                    <a:pt x="336" y="250"/>
                  </a:lnTo>
                  <a:lnTo>
                    <a:pt x="338" y="250"/>
                  </a:lnTo>
                  <a:lnTo>
                    <a:pt x="343" y="250"/>
                  </a:lnTo>
                  <a:lnTo>
                    <a:pt x="349" y="252"/>
                  </a:lnTo>
                  <a:lnTo>
                    <a:pt x="349" y="252"/>
                  </a:lnTo>
                  <a:lnTo>
                    <a:pt x="351" y="252"/>
                  </a:lnTo>
                  <a:lnTo>
                    <a:pt x="354" y="250"/>
                  </a:lnTo>
                  <a:lnTo>
                    <a:pt x="356" y="244"/>
                  </a:lnTo>
                  <a:lnTo>
                    <a:pt x="356" y="241"/>
                  </a:lnTo>
                  <a:lnTo>
                    <a:pt x="354" y="239"/>
                  </a:lnTo>
                  <a:lnTo>
                    <a:pt x="349" y="235"/>
                  </a:lnTo>
                  <a:lnTo>
                    <a:pt x="340" y="230"/>
                  </a:lnTo>
                  <a:lnTo>
                    <a:pt x="338" y="228"/>
                  </a:lnTo>
                  <a:lnTo>
                    <a:pt x="338" y="226"/>
                  </a:lnTo>
                  <a:lnTo>
                    <a:pt x="334" y="222"/>
                  </a:lnTo>
                  <a:lnTo>
                    <a:pt x="329" y="213"/>
                  </a:lnTo>
                  <a:lnTo>
                    <a:pt x="321" y="202"/>
                  </a:lnTo>
                  <a:lnTo>
                    <a:pt x="314" y="198"/>
                  </a:lnTo>
                  <a:lnTo>
                    <a:pt x="310" y="195"/>
                  </a:lnTo>
                  <a:lnTo>
                    <a:pt x="307" y="193"/>
                  </a:lnTo>
                  <a:lnTo>
                    <a:pt x="305" y="187"/>
                  </a:lnTo>
                  <a:lnTo>
                    <a:pt x="301" y="184"/>
                  </a:lnTo>
                  <a:lnTo>
                    <a:pt x="294" y="180"/>
                  </a:lnTo>
                  <a:lnTo>
                    <a:pt x="292" y="180"/>
                  </a:lnTo>
                  <a:lnTo>
                    <a:pt x="292" y="178"/>
                  </a:lnTo>
                  <a:lnTo>
                    <a:pt x="294" y="173"/>
                  </a:lnTo>
                  <a:lnTo>
                    <a:pt x="292" y="158"/>
                  </a:lnTo>
                  <a:lnTo>
                    <a:pt x="292" y="156"/>
                  </a:lnTo>
                  <a:lnTo>
                    <a:pt x="294" y="156"/>
                  </a:lnTo>
                  <a:lnTo>
                    <a:pt x="292" y="154"/>
                  </a:lnTo>
                  <a:lnTo>
                    <a:pt x="292" y="151"/>
                  </a:lnTo>
                  <a:lnTo>
                    <a:pt x="290" y="151"/>
                  </a:lnTo>
                  <a:lnTo>
                    <a:pt x="288" y="151"/>
                  </a:lnTo>
                  <a:lnTo>
                    <a:pt x="288" y="149"/>
                  </a:lnTo>
                  <a:lnTo>
                    <a:pt x="285" y="138"/>
                  </a:lnTo>
                  <a:lnTo>
                    <a:pt x="283" y="136"/>
                  </a:lnTo>
                  <a:lnTo>
                    <a:pt x="283" y="134"/>
                  </a:lnTo>
                  <a:lnTo>
                    <a:pt x="281" y="134"/>
                  </a:lnTo>
                  <a:lnTo>
                    <a:pt x="279" y="127"/>
                  </a:lnTo>
                  <a:lnTo>
                    <a:pt x="279" y="119"/>
                  </a:lnTo>
                  <a:lnTo>
                    <a:pt x="279" y="116"/>
                  </a:lnTo>
                  <a:lnTo>
                    <a:pt x="274" y="112"/>
                  </a:lnTo>
                  <a:lnTo>
                    <a:pt x="274" y="110"/>
                  </a:lnTo>
                  <a:lnTo>
                    <a:pt x="272" y="103"/>
                  </a:lnTo>
                  <a:lnTo>
                    <a:pt x="270" y="101"/>
                  </a:lnTo>
                  <a:lnTo>
                    <a:pt x="261" y="90"/>
                  </a:lnTo>
                  <a:lnTo>
                    <a:pt x="259" y="88"/>
                  </a:lnTo>
                  <a:lnTo>
                    <a:pt x="259" y="90"/>
                  </a:lnTo>
                  <a:lnTo>
                    <a:pt x="257" y="92"/>
                  </a:lnTo>
                  <a:lnTo>
                    <a:pt x="257" y="92"/>
                  </a:lnTo>
                  <a:lnTo>
                    <a:pt x="255" y="90"/>
                  </a:lnTo>
                  <a:lnTo>
                    <a:pt x="246" y="77"/>
                  </a:lnTo>
                  <a:lnTo>
                    <a:pt x="244" y="72"/>
                  </a:lnTo>
                  <a:lnTo>
                    <a:pt x="242" y="68"/>
                  </a:lnTo>
                  <a:lnTo>
                    <a:pt x="242" y="68"/>
                  </a:lnTo>
                  <a:lnTo>
                    <a:pt x="237" y="68"/>
                  </a:lnTo>
                  <a:lnTo>
                    <a:pt x="237" y="66"/>
                  </a:lnTo>
                  <a:lnTo>
                    <a:pt x="237" y="59"/>
                  </a:lnTo>
                  <a:lnTo>
                    <a:pt x="237" y="57"/>
                  </a:lnTo>
                  <a:lnTo>
                    <a:pt x="237" y="55"/>
                  </a:lnTo>
                  <a:lnTo>
                    <a:pt x="235" y="53"/>
                  </a:lnTo>
                  <a:lnTo>
                    <a:pt x="233" y="50"/>
                  </a:lnTo>
                  <a:lnTo>
                    <a:pt x="233" y="48"/>
                  </a:lnTo>
                  <a:lnTo>
                    <a:pt x="231" y="44"/>
                  </a:lnTo>
                  <a:lnTo>
                    <a:pt x="231" y="42"/>
                  </a:lnTo>
                  <a:lnTo>
                    <a:pt x="224" y="33"/>
                  </a:lnTo>
                  <a:lnTo>
                    <a:pt x="217" y="24"/>
                  </a:lnTo>
                  <a:lnTo>
                    <a:pt x="211" y="24"/>
                  </a:lnTo>
                  <a:lnTo>
                    <a:pt x="209" y="24"/>
                  </a:lnTo>
                  <a:lnTo>
                    <a:pt x="206" y="24"/>
                  </a:lnTo>
                  <a:lnTo>
                    <a:pt x="204" y="24"/>
                  </a:lnTo>
                  <a:lnTo>
                    <a:pt x="202" y="22"/>
                  </a:lnTo>
                  <a:lnTo>
                    <a:pt x="200" y="20"/>
                  </a:lnTo>
                  <a:lnTo>
                    <a:pt x="198" y="20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3" y="24"/>
                  </a:lnTo>
                  <a:lnTo>
                    <a:pt x="187" y="29"/>
                  </a:lnTo>
                  <a:lnTo>
                    <a:pt x="184" y="29"/>
                  </a:lnTo>
                  <a:lnTo>
                    <a:pt x="182" y="31"/>
                  </a:lnTo>
                  <a:lnTo>
                    <a:pt x="180" y="31"/>
                  </a:lnTo>
                  <a:lnTo>
                    <a:pt x="178" y="31"/>
                  </a:lnTo>
                  <a:lnTo>
                    <a:pt x="171" y="29"/>
                  </a:lnTo>
                  <a:lnTo>
                    <a:pt x="169" y="26"/>
                  </a:lnTo>
                  <a:lnTo>
                    <a:pt x="167" y="26"/>
                  </a:lnTo>
                  <a:lnTo>
                    <a:pt x="165" y="24"/>
                  </a:lnTo>
                  <a:lnTo>
                    <a:pt x="160" y="22"/>
                  </a:lnTo>
                  <a:lnTo>
                    <a:pt x="158" y="18"/>
                  </a:lnTo>
                  <a:lnTo>
                    <a:pt x="156" y="15"/>
                  </a:lnTo>
                  <a:lnTo>
                    <a:pt x="154" y="15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7"/>
                  </a:lnTo>
                  <a:lnTo>
                    <a:pt x="143" y="4"/>
                  </a:lnTo>
                  <a:lnTo>
                    <a:pt x="143" y="2"/>
                  </a:lnTo>
                  <a:lnTo>
                    <a:pt x="138" y="0"/>
                  </a:lnTo>
                  <a:lnTo>
                    <a:pt x="127" y="9"/>
                  </a:lnTo>
                  <a:lnTo>
                    <a:pt x="121" y="15"/>
                  </a:lnTo>
                  <a:lnTo>
                    <a:pt x="119" y="18"/>
                  </a:lnTo>
                  <a:lnTo>
                    <a:pt x="116" y="20"/>
                  </a:lnTo>
                  <a:lnTo>
                    <a:pt x="112" y="35"/>
                  </a:lnTo>
                  <a:lnTo>
                    <a:pt x="108" y="46"/>
                  </a:lnTo>
                  <a:lnTo>
                    <a:pt x="114" y="57"/>
                  </a:lnTo>
                  <a:lnTo>
                    <a:pt x="116" y="57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21" y="59"/>
                  </a:lnTo>
                  <a:lnTo>
                    <a:pt x="121" y="57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5" y="57"/>
                  </a:lnTo>
                  <a:lnTo>
                    <a:pt x="127" y="57"/>
                  </a:lnTo>
                  <a:lnTo>
                    <a:pt x="130" y="59"/>
                  </a:lnTo>
                  <a:lnTo>
                    <a:pt x="130" y="59"/>
                  </a:lnTo>
                  <a:lnTo>
                    <a:pt x="132" y="59"/>
                  </a:lnTo>
                  <a:lnTo>
                    <a:pt x="134" y="66"/>
                  </a:lnTo>
                  <a:lnTo>
                    <a:pt x="134" y="68"/>
                  </a:lnTo>
                  <a:lnTo>
                    <a:pt x="138" y="72"/>
                  </a:lnTo>
                  <a:lnTo>
                    <a:pt x="147" y="83"/>
                  </a:lnTo>
                  <a:lnTo>
                    <a:pt x="149" y="88"/>
                  </a:lnTo>
                  <a:lnTo>
                    <a:pt x="149" y="90"/>
                  </a:lnTo>
                  <a:lnTo>
                    <a:pt x="149" y="92"/>
                  </a:lnTo>
                  <a:lnTo>
                    <a:pt x="149" y="97"/>
                  </a:lnTo>
                  <a:lnTo>
                    <a:pt x="149" y="99"/>
                  </a:lnTo>
                  <a:lnTo>
                    <a:pt x="149" y="101"/>
                  </a:lnTo>
                  <a:lnTo>
                    <a:pt x="149" y="103"/>
                  </a:lnTo>
                  <a:lnTo>
                    <a:pt x="149" y="105"/>
                  </a:lnTo>
                  <a:lnTo>
                    <a:pt x="154" y="114"/>
                  </a:lnTo>
                  <a:lnTo>
                    <a:pt x="156" y="116"/>
                  </a:lnTo>
                  <a:lnTo>
                    <a:pt x="156" y="119"/>
                  </a:lnTo>
                  <a:lnTo>
                    <a:pt x="156" y="121"/>
                  </a:lnTo>
                  <a:lnTo>
                    <a:pt x="156" y="121"/>
                  </a:lnTo>
                  <a:lnTo>
                    <a:pt x="156" y="123"/>
                  </a:lnTo>
                  <a:lnTo>
                    <a:pt x="154" y="125"/>
                  </a:lnTo>
                  <a:lnTo>
                    <a:pt x="154" y="125"/>
                  </a:lnTo>
                  <a:lnTo>
                    <a:pt x="154" y="125"/>
                  </a:lnTo>
                  <a:lnTo>
                    <a:pt x="154" y="127"/>
                  </a:lnTo>
                  <a:lnTo>
                    <a:pt x="154" y="127"/>
                  </a:lnTo>
                  <a:lnTo>
                    <a:pt x="154" y="129"/>
                  </a:lnTo>
                  <a:lnTo>
                    <a:pt x="154" y="129"/>
                  </a:lnTo>
                  <a:lnTo>
                    <a:pt x="154" y="129"/>
                  </a:lnTo>
                  <a:lnTo>
                    <a:pt x="152" y="129"/>
                  </a:lnTo>
                  <a:lnTo>
                    <a:pt x="149" y="129"/>
                  </a:lnTo>
                  <a:lnTo>
                    <a:pt x="149" y="129"/>
                  </a:lnTo>
                  <a:lnTo>
                    <a:pt x="147" y="129"/>
                  </a:lnTo>
                  <a:lnTo>
                    <a:pt x="149" y="136"/>
                  </a:lnTo>
                  <a:lnTo>
                    <a:pt x="149" y="138"/>
                  </a:lnTo>
                  <a:lnTo>
                    <a:pt x="147" y="145"/>
                  </a:lnTo>
                  <a:lnTo>
                    <a:pt x="152" y="149"/>
                  </a:lnTo>
                  <a:lnTo>
                    <a:pt x="158" y="162"/>
                  </a:lnTo>
                  <a:lnTo>
                    <a:pt x="158" y="165"/>
                  </a:lnTo>
                  <a:lnTo>
                    <a:pt x="158" y="169"/>
                  </a:lnTo>
                  <a:lnTo>
                    <a:pt x="158" y="171"/>
                  </a:lnTo>
                  <a:lnTo>
                    <a:pt x="156" y="171"/>
                  </a:lnTo>
                  <a:lnTo>
                    <a:pt x="154" y="171"/>
                  </a:lnTo>
                  <a:lnTo>
                    <a:pt x="149" y="167"/>
                  </a:lnTo>
                  <a:lnTo>
                    <a:pt x="145" y="165"/>
                  </a:lnTo>
                  <a:lnTo>
                    <a:pt x="143" y="165"/>
                  </a:lnTo>
                  <a:lnTo>
                    <a:pt x="141" y="165"/>
                  </a:lnTo>
                  <a:lnTo>
                    <a:pt x="138" y="165"/>
                  </a:lnTo>
                  <a:lnTo>
                    <a:pt x="136" y="167"/>
                  </a:lnTo>
                  <a:lnTo>
                    <a:pt x="134" y="167"/>
                  </a:lnTo>
                  <a:lnTo>
                    <a:pt x="134" y="169"/>
                  </a:lnTo>
                  <a:lnTo>
                    <a:pt x="134" y="171"/>
                  </a:lnTo>
                  <a:lnTo>
                    <a:pt x="134" y="173"/>
                  </a:lnTo>
                  <a:lnTo>
                    <a:pt x="134" y="176"/>
                  </a:lnTo>
                  <a:lnTo>
                    <a:pt x="134" y="178"/>
                  </a:lnTo>
                  <a:lnTo>
                    <a:pt x="134" y="182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9"/>
                  </a:lnTo>
                  <a:lnTo>
                    <a:pt x="136" y="191"/>
                  </a:lnTo>
                  <a:lnTo>
                    <a:pt x="134" y="193"/>
                  </a:lnTo>
                  <a:lnTo>
                    <a:pt x="132" y="195"/>
                  </a:lnTo>
                  <a:lnTo>
                    <a:pt x="130" y="198"/>
                  </a:lnTo>
                  <a:lnTo>
                    <a:pt x="123" y="198"/>
                  </a:lnTo>
                  <a:lnTo>
                    <a:pt x="119" y="198"/>
                  </a:lnTo>
                  <a:lnTo>
                    <a:pt x="116" y="200"/>
                  </a:lnTo>
                  <a:lnTo>
                    <a:pt x="112" y="200"/>
                  </a:lnTo>
                  <a:lnTo>
                    <a:pt x="110" y="200"/>
                  </a:lnTo>
                  <a:lnTo>
                    <a:pt x="108" y="200"/>
                  </a:lnTo>
                  <a:lnTo>
                    <a:pt x="105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1" y="200"/>
                  </a:lnTo>
                  <a:lnTo>
                    <a:pt x="99" y="204"/>
                  </a:lnTo>
                  <a:lnTo>
                    <a:pt x="97" y="209"/>
                  </a:lnTo>
                  <a:lnTo>
                    <a:pt x="86" y="213"/>
                  </a:lnTo>
                  <a:lnTo>
                    <a:pt x="83" y="215"/>
                  </a:lnTo>
                  <a:lnTo>
                    <a:pt x="83" y="217"/>
                  </a:lnTo>
                  <a:lnTo>
                    <a:pt x="86" y="217"/>
                  </a:lnTo>
                  <a:lnTo>
                    <a:pt x="90" y="224"/>
                  </a:lnTo>
                  <a:lnTo>
                    <a:pt x="90" y="224"/>
                  </a:lnTo>
                  <a:lnTo>
                    <a:pt x="92" y="226"/>
                  </a:lnTo>
                  <a:lnTo>
                    <a:pt x="97" y="226"/>
                  </a:lnTo>
                  <a:lnTo>
                    <a:pt x="99" y="226"/>
                  </a:lnTo>
                  <a:lnTo>
                    <a:pt x="99" y="228"/>
                  </a:lnTo>
                  <a:lnTo>
                    <a:pt x="99" y="228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6" y="235"/>
                  </a:lnTo>
                  <a:lnTo>
                    <a:pt x="83" y="233"/>
                  </a:lnTo>
                  <a:lnTo>
                    <a:pt x="77" y="233"/>
                  </a:lnTo>
                  <a:lnTo>
                    <a:pt x="75" y="233"/>
                  </a:lnTo>
                  <a:lnTo>
                    <a:pt x="72" y="230"/>
                  </a:lnTo>
                  <a:lnTo>
                    <a:pt x="72" y="230"/>
                  </a:lnTo>
                  <a:lnTo>
                    <a:pt x="68" y="224"/>
                  </a:lnTo>
                  <a:lnTo>
                    <a:pt x="68" y="222"/>
                  </a:lnTo>
                  <a:lnTo>
                    <a:pt x="66" y="222"/>
                  </a:lnTo>
                  <a:lnTo>
                    <a:pt x="64" y="222"/>
                  </a:lnTo>
                  <a:lnTo>
                    <a:pt x="62" y="222"/>
                  </a:lnTo>
                  <a:lnTo>
                    <a:pt x="55" y="224"/>
                  </a:lnTo>
                  <a:lnTo>
                    <a:pt x="46" y="226"/>
                  </a:lnTo>
                  <a:lnTo>
                    <a:pt x="44" y="228"/>
                  </a:lnTo>
                  <a:lnTo>
                    <a:pt x="44" y="228"/>
                  </a:lnTo>
                  <a:lnTo>
                    <a:pt x="37" y="246"/>
                  </a:lnTo>
                  <a:lnTo>
                    <a:pt x="40" y="248"/>
                  </a:lnTo>
                  <a:lnTo>
                    <a:pt x="40" y="250"/>
                  </a:lnTo>
                  <a:lnTo>
                    <a:pt x="42" y="250"/>
                  </a:lnTo>
                  <a:lnTo>
                    <a:pt x="46" y="252"/>
                  </a:lnTo>
                  <a:lnTo>
                    <a:pt x="51" y="255"/>
                  </a:lnTo>
                  <a:lnTo>
                    <a:pt x="51" y="257"/>
                  </a:lnTo>
                  <a:lnTo>
                    <a:pt x="51" y="257"/>
                  </a:lnTo>
                  <a:lnTo>
                    <a:pt x="53" y="259"/>
                  </a:lnTo>
                  <a:lnTo>
                    <a:pt x="53" y="261"/>
                  </a:lnTo>
                  <a:lnTo>
                    <a:pt x="53" y="263"/>
                  </a:lnTo>
                  <a:lnTo>
                    <a:pt x="55" y="263"/>
                  </a:lnTo>
                  <a:lnTo>
                    <a:pt x="57" y="266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62" y="270"/>
                  </a:lnTo>
                  <a:lnTo>
                    <a:pt x="62" y="272"/>
                  </a:lnTo>
                  <a:lnTo>
                    <a:pt x="64" y="274"/>
                  </a:lnTo>
                  <a:lnTo>
                    <a:pt x="64" y="290"/>
                  </a:lnTo>
                  <a:lnTo>
                    <a:pt x="64" y="296"/>
                  </a:lnTo>
                  <a:lnTo>
                    <a:pt x="70" y="312"/>
                  </a:lnTo>
                  <a:lnTo>
                    <a:pt x="75" y="325"/>
                  </a:lnTo>
                  <a:lnTo>
                    <a:pt x="77" y="334"/>
                  </a:lnTo>
                  <a:lnTo>
                    <a:pt x="75" y="356"/>
                  </a:lnTo>
                  <a:lnTo>
                    <a:pt x="72" y="360"/>
                  </a:lnTo>
                  <a:lnTo>
                    <a:pt x="72" y="362"/>
                  </a:lnTo>
                  <a:lnTo>
                    <a:pt x="70" y="364"/>
                  </a:lnTo>
                  <a:lnTo>
                    <a:pt x="68" y="364"/>
                  </a:lnTo>
                  <a:lnTo>
                    <a:pt x="57" y="364"/>
                  </a:lnTo>
                  <a:lnTo>
                    <a:pt x="26" y="369"/>
                  </a:lnTo>
                  <a:lnTo>
                    <a:pt x="20" y="373"/>
                  </a:lnTo>
                  <a:lnTo>
                    <a:pt x="15" y="375"/>
                  </a:lnTo>
                  <a:lnTo>
                    <a:pt x="13" y="380"/>
                  </a:lnTo>
                  <a:lnTo>
                    <a:pt x="11" y="384"/>
                  </a:lnTo>
                  <a:lnTo>
                    <a:pt x="9" y="384"/>
                  </a:lnTo>
                  <a:lnTo>
                    <a:pt x="9" y="388"/>
                  </a:lnTo>
                  <a:lnTo>
                    <a:pt x="9" y="391"/>
                  </a:lnTo>
                  <a:lnTo>
                    <a:pt x="13" y="399"/>
                  </a:lnTo>
                  <a:lnTo>
                    <a:pt x="13" y="402"/>
                  </a:lnTo>
                  <a:lnTo>
                    <a:pt x="13" y="406"/>
                  </a:lnTo>
                  <a:lnTo>
                    <a:pt x="7" y="419"/>
                  </a:lnTo>
                  <a:lnTo>
                    <a:pt x="4" y="421"/>
                  </a:lnTo>
                  <a:lnTo>
                    <a:pt x="2" y="426"/>
                  </a:lnTo>
                  <a:lnTo>
                    <a:pt x="0" y="428"/>
                  </a:lnTo>
                  <a:lnTo>
                    <a:pt x="2" y="430"/>
                  </a:lnTo>
                  <a:lnTo>
                    <a:pt x="4" y="432"/>
                  </a:lnTo>
                  <a:lnTo>
                    <a:pt x="11" y="439"/>
                  </a:lnTo>
                  <a:lnTo>
                    <a:pt x="13" y="439"/>
                  </a:lnTo>
                  <a:lnTo>
                    <a:pt x="13" y="441"/>
                  </a:lnTo>
                  <a:lnTo>
                    <a:pt x="15" y="443"/>
                  </a:lnTo>
                  <a:lnTo>
                    <a:pt x="15" y="446"/>
                  </a:lnTo>
                  <a:lnTo>
                    <a:pt x="15" y="448"/>
                  </a:lnTo>
                  <a:lnTo>
                    <a:pt x="13" y="456"/>
                  </a:lnTo>
                  <a:lnTo>
                    <a:pt x="15" y="463"/>
                  </a:lnTo>
                  <a:lnTo>
                    <a:pt x="15" y="470"/>
                  </a:lnTo>
                  <a:lnTo>
                    <a:pt x="15" y="470"/>
                  </a:lnTo>
                  <a:lnTo>
                    <a:pt x="18" y="472"/>
                  </a:lnTo>
                  <a:lnTo>
                    <a:pt x="26" y="470"/>
                  </a:lnTo>
                  <a:lnTo>
                    <a:pt x="29" y="467"/>
                  </a:lnTo>
                  <a:lnTo>
                    <a:pt x="31" y="467"/>
                  </a:lnTo>
                  <a:lnTo>
                    <a:pt x="33" y="465"/>
                  </a:lnTo>
                  <a:lnTo>
                    <a:pt x="37" y="461"/>
                  </a:lnTo>
                  <a:lnTo>
                    <a:pt x="37" y="459"/>
                  </a:lnTo>
                  <a:lnTo>
                    <a:pt x="40" y="459"/>
                  </a:lnTo>
                  <a:lnTo>
                    <a:pt x="42" y="459"/>
                  </a:lnTo>
                  <a:lnTo>
                    <a:pt x="44" y="459"/>
                  </a:lnTo>
                  <a:lnTo>
                    <a:pt x="46" y="461"/>
                  </a:lnTo>
                  <a:lnTo>
                    <a:pt x="46" y="463"/>
                  </a:lnTo>
                  <a:lnTo>
                    <a:pt x="48" y="465"/>
                  </a:lnTo>
                  <a:lnTo>
                    <a:pt x="51" y="467"/>
                  </a:lnTo>
                  <a:lnTo>
                    <a:pt x="53" y="470"/>
                  </a:lnTo>
                  <a:lnTo>
                    <a:pt x="53" y="470"/>
                  </a:lnTo>
                  <a:lnTo>
                    <a:pt x="55" y="472"/>
                  </a:lnTo>
                  <a:lnTo>
                    <a:pt x="53" y="476"/>
                  </a:lnTo>
                  <a:lnTo>
                    <a:pt x="53" y="478"/>
                  </a:lnTo>
                  <a:lnTo>
                    <a:pt x="55" y="483"/>
                  </a:lnTo>
                  <a:lnTo>
                    <a:pt x="57" y="485"/>
                  </a:lnTo>
                  <a:lnTo>
                    <a:pt x="66" y="489"/>
                  </a:lnTo>
                  <a:lnTo>
                    <a:pt x="66" y="492"/>
                  </a:lnTo>
                  <a:lnTo>
                    <a:pt x="68" y="492"/>
                  </a:lnTo>
                  <a:lnTo>
                    <a:pt x="68" y="496"/>
                  </a:lnTo>
                  <a:lnTo>
                    <a:pt x="68" y="498"/>
                  </a:lnTo>
                  <a:lnTo>
                    <a:pt x="70" y="505"/>
                  </a:lnTo>
                  <a:lnTo>
                    <a:pt x="70" y="509"/>
                  </a:lnTo>
                  <a:lnTo>
                    <a:pt x="75" y="514"/>
                  </a:lnTo>
                  <a:lnTo>
                    <a:pt x="77" y="520"/>
                  </a:lnTo>
                  <a:lnTo>
                    <a:pt x="81" y="525"/>
                  </a:lnTo>
                  <a:lnTo>
                    <a:pt x="81" y="527"/>
                  </a:lnTo>
                  <a:lnTo>
                    <a:pt x="81" y="529"/>
                  </a:lnTo>
                  <a:lnTo>
                    <a:pt x="83" y="535"/>
                  </a:lnTo>
                  <a:lnTo>
                    <a:pt x="83" y="542"/>
                  </a:lnTo>
                  <a:lnTo>
                    <a:pt x="81" y="544"/>
                  </a:lnTo>
                  <a:lnTo>
                    <a:pt x="77" y="562"/>
                  </a:lnTo>
                  <a:lnTo>
                    <a:pt x="77" y="564"/>
                  </a:lnTo>
                  <a:lnTo>
                    <a:pt x="77" y="566"/>
                  </a:lnTo>
                  <a:lnTo>
                    <a:pt x="77" y="566"/>
                  </a:lnTo>
                  <a:lnTo>
                    <a:pt x="79" y="568"/>
                  </a:lnTo>
                  <a:lnTo>
                    <a:pt x="81" y="571"/>
                  </a:lnTo>
                  <a:lnTo>
                    <a:pt x="86" y="573"/>
                  </a:lnTo>
                  <a:lnTo>
                    <a:pt x="99" y="575"/>
                  </a:lnTo>
                  <a:lnTo>
                    <a:pt x="114" y="579"/>
                  </a:lnTo>
                  <a:lnTo>
                    <a:pt x="121" y="579"/>
                  </a:lnTo>
                  <a:lnTo>
                    <a:pt x="123" y="582"/>
                  </a:lnTo>
                  <a:lnTo>
                    <a:pt x="123" y="582"/>
                  </a:lnTo>
                  <a:lnTo>
                    <a:pt x="125" y="584"/>
                  </a:lnTo>
                  <a:lnTo>
                    <a:pt x="123" y="586"/>
                  </a:lnTo>
                  <a:lnTo>
                    <a:pt x="123" y="588"/>
                  </a:lnTo>
                  <a:lnTo>
                    <a:pt x="123" y="590"/>
                  </a:lnTo>
                  <a:lnTo>
                    <a:pt x="125" y="595"/>
                  </a:lnTo>
                  <a:lnTo>
                    <a:pt x="130" y="601"/>
                  </a:lnTo>
                  <a:lnTo>
                    <a:pt x="132" y="606"/>
                  </a:lnTo>
                  <a:lnTo>
                    <a:pt x="132" y="608"/>
                  </a:lnTo>
                  <a:lnTo>
                    <a:pt x="134" y="610"/>
                  </a:lnTo>
                  <a:lnTo>
                    <a:pt x="134" y="612"/>
                  </a:lnTo>
                  <a:lnTo>
                    <a:pt x="136" y="615"/>
                  </a:lnTo>
                  <a:lnTo>
                    <a:pt x="143" y="617"/>
                  </a:lnTo>
                  <a:lnTo>
                    <a:pt x="147" y="619"/>
                  </a:lnTo>
                  <a:lnTo>
                    <a:pt x="147" y="623"/>
                  </a:lnTo>
                  <a:lnTo>
                    <a:pt x="147" y="625"/>
                  </a:lnTo>
                  <a:lnTo>
                    <a:pt x="149" y="625"/>
                  </a:lnTo>
                  <a:lnTo>
                    <a:pt x="149" y="628"/>
                  </a:lnTo>
                  <a:lnTo>
                    <a:pt x="156" y="634"/>
                  </a:lnTo>
                  <a:lnTo>
                    <a:pt x="158" y="636"/>
                  </a:lnTo>
                  <a:lnTo>
                    <a:pt x="158" y="636"/>
                  </a:lnTo>
                  <a:lnTo>
                    <a:pt x="160" y="639"/>
                  </a:lnTo>
                  <a:lnTo>
                    <a:pt x="165" y="639"/>
                  </a:lnTo>
                  <a:lnTo>
                    <a:pt x="169" y="639"/>
                  </a:lnTo>
                  <a:lnTo>
                    <a:pt x="171" y="639"/>
                  </a:lnTo>
                  <a:lnTo>
                    <a:pt x="173" y="639"/>
                  </a:lnTo>
                  <a:lnTo>
                    <a:pt x="178" y="636"/>
                  </a:lnTo>
                  <a:lnTo>
                    <a:pt x="182" y="634"/>
                  </a:lnTo>
                  <a:lnTo>
                    <a:pt x="187" y="632"/>
                  </a:lnTo>
                  <a:lnTo>
                    <a:pt x="189" y="630"/>
                  </a:lnTo>
                  <a:lnTo>
                    <a:pt x="189" y="630"/>
                  </a:lnTo>
                  <a:lnTo>
                    <a:pt x="191" y="632"/>
                  </a:lnTo>
                  <a:lnTo>
                    <a:pt x="191" y="634"/>
                  </a:lnTo>
                  <a:lnTo>
                    <a:pt x="193" y="641"/>
                  </a:lnTo>
                  <a:lnTo>
                    <a:pt x="193" y="641"/>
                  </a:lnTo>
                  <a:lnTo>
                    <a:pt x="193" y="641"/>
                  </a:lnTo>
                  <a:lnTo>
                    <a:pt x="193" y="643"/>
                  </a:lnTo>
                  <a:lnTo>
                    <a:pt x="195" y="643"/>
                  </a:lnTo>
                  <a:lnTo>
                    <a:pt x="195" y="645"/>
                  </a:lnTo>
                  <a:lnTo>
                    <a:pt x="195" y="647"/>
                  </a:lnTo>
                  <a:lnTo>
                    <a:pt x="195" y="656"/>
                  </a:lnTo>
                  <a:lnTo>
                    <a:pt x="195" y="656"/>
                  </a:lnTo>
                  <a:lnTo>
                    <a:pt x="195" y="658"/>
                  </a:lnTo>
                  <a:lnTo>
                    <a:pt x="195" y="661"/>
                  </a:lnTo>
                  <a:lnTo>
                    <a:pt x="198" y="661"/>
                  </a:lnTo>
                  <a:lnTo>
                    <a:pt x="200" y="661"/>
                  </a:lnTo>
                  <a:lnTo>
                    <a:pt x="215" y="654"/>
                  </a:lnTo>
                  <a:lnTo>
                    <a:pt x="217" y="652"/>
                  </a:lnTo>
                  <a:lnTo>
                    <a:pt x="217" y="650"/>
                  </a:lnTo>
                  <a:lnTo>
                    <a:pt x="220" y="645"/>
                  </a:lnTo>
                  <a:lnTo>
                    <a:pt x="228" y="632"/>
                  </a:lnTo>
                  <a:lnTo>
                    <a:pt x="228" y="632"/>
                  </a:lnTo>
                  <a:lnTo>
                    <a:pt x="231" y="630"/>
                  </a:lnTo>
                  <a:lnTo>
                    <a:pt x="235" y="630"/>
                  </a:lnTo>
                  <a:lnTo>
                    <a:pt x="255" y="630"/>
                  </a:lnTo>
                  <a:lnTo>
                    <a:pt x="274" y="628"/>
                  </a:lnTo>
                  <a:lnTo>
                    <a:pt x="281" y="628"/>
                  </a:lnTo>
                  <a:lnTo>
                    <a:pt x="290" y="625"/>
                  </a:lnTo>
                  <a:lnTo>
                    <a:pt x="312" y="615"/>
                  </a:lnTo>
                  <a:lnTo>
                    <a:pt x="318" y="617"/>
                  </a:lnTo>
                  <a:lnTo>
                    <a:pt x="318" y="619"/>
                  </a:lnTo>
                  <a:lnTo>
                    <a:pt x="323" y="619"/>
                  </a:lnTo>
                  <a:lnTo>
                    <a:pt x="336" y="621"/>
                  </a:lnTo>
                  <a:lnTo>
                    <a:pt x="345" y="621"/>
                  </a:lnTo>
                  <a:lnTo>
                    <a:pt x="345" y="619"/>
                  </a:lnTo>
                  <a:lnTo>
                    <a:pt x="343" y="615"/>
                  </a:lnTo>
                  <a:lnTo>
                    <a:pt x="343" y="608"/>
                  </a:lnTo>
                  <a:lnTo>
                    <a:pt x="343" y="601"/>
                  </a:lnTo>
                  <a:lnTo>
                    <a:pt x="345" y="599"/>
                  </a:lnTo>
                  <a:lnTo>
                    <a:pt x="347" y="599"/>
                  </a:lnTo>
                  <a:lnTo>
                    <a:pt x="349" y="599"/>
                  </a:lnTo>
                  <a:lnTo>
                    <a:pt x="351" y="599"/>
                  </a:lnTo>
                  <a:lnTo>
                    <a:pt x="356" y="599"/>
                  </a:lnTo>
                  <a:lnTo>
                    <a:pt x="362" y="601"/>
                  </a:lnTo>
                  <a:lnTo>
                    <a:pt x="365" y="601"/>
                  </a:lnTo>
                  <a:lnTo>
                    <a:pt x="365" y="601"/>
                  </a:lnTo>
                  <a:lnTo>
                    <a:pt x="367" y="601"/>
                  </a:lnTo>
                  <a:lnTo>
                    <a:pt x="367" y="599"/>
                  </a:lnTo>
                  <a:lnTo>
                    <a:pt x="369" y="597"/>
                  </a:lnTo>
                  <a:lnTo>
                    <a:pt x="375" y="584"/>
                  </a:lnTo>
                  <a:lnTo>
                    <a:pt x="378" y="584"/>
                  </a:lnTo>
                  <a:lnTo>
                    <a:pt x="389" y="573"/>
                  </a:lnTo>
                  <a:lnTo>
                    <a:pt x="391" y="568"/>
                  </a:lnTo>
                  <a:lnTo>
                    <a:pt x="393" y="562"/>
                  </a:lnTo>
                  <a:lnTo>
                    <a:pt x="393" y="553"/>
                  </a:lnTo>
                  <a:lnTo>
                    <a:pt x="395" y="544"/>
                  </a:lnTo>
                  <a:lnTo>
                    <a:pt x="395" y="542"/>
                  </a:lnTo>
                  <a:lnTo>
                    <a:pt x="395" y="540"/>
                  </a:lnTo>
                  <a:lnTo>
                    <a:pt x="395" y="538"/>
                  </a:lnTo>
                  <a:lnTo>
                    <a:pt x="395" y="535"/>
                  </a:lnTo>
                  <a:lnTo>
                    <a:pt x="391" y="531"/>
                  </a:lnTo>
                  <a:lnTo>
                    <a:pt x="391" y="527"/>
                  </a:lnTo>
                  <a:lnTo>
                    <a:pt x="391" y="518"/>
                  </a:lnTo>
                  <a:lnTo>
                    <a:pt x="393" y="516"/>
                  </a:lnTo>
                  <a:lnTo>
                    <a:pt x="395" y="514"/>
                  </a:lnTo>
                  <a:lnTo>
                    <a:pt x="395" y="511"/>
                  </a:lnTo>
                  <a:lnTo>
                    <a:pt x="397" y="511"/>
                  </a:lnTo>
                  <a:lnTo>
                    <a:pt x="400" y="509"/>
                  </a:lnTo>
                  <a:lnTo>
                    <a:pt x="402" y="509"/>
                  </a:lnTo>
                  <a:lnTo>
                    <a:pt x="404" y="507"/>
                  </a:lnTo>
                  <a:lnTo>
                    <a:pt x="406" y="507"/>
                  </a:lnTo>
                  <a:lnTo>
                    <a:pt x="415" y="509"/>
                  </a:lnTo>
                  <a:lnTo>
                    <a:pt x="417" y="509"/>
                  </a:lnTo>
                  <a:lnTo>
                    <a:pt x="419" y="509"/>
                  </a:lnTo>
                  <a:lnTo>
                    <a:pt x="424" y="507"/>
                  </a:lnTo>
                  <a:lnTo>
                    <a:pt x="426" y="507"/>
                  </a:lnTo>
                  <a:lnTo>
                    <a:pt x="428" y="505"/>
                  </a:lnTo>
                  <a:lnTo>
                    <a:pt x="428" y="503"/>
                  </a:lnTo>
                  <a:lnTo>
                    <a:pt x="426" y="498"/>
                  </a:lnTo>
                  <a:lnTo>
                    <a:pt x="426" y="498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14" name="Freeform 18"/>
            <p:cNvSpPr>
              <a:spLocks/>
            </p:cNvSpPr>
            <p:nvPr/>
          </p:nvSpPr>
          <p:spPr bwMode="auto">
            <a:xfrm>
              <a:off x="5562600" y="5410200"/>
              <a:ext cx="1250950" cy="815975"/>
            </a:xfrm>
            <a:custGeom>
              <a:avLst/>
              <a:gdLst>
                <a:gd name="T0" fmla="*/ 768 w 788"/>
                <a:gd name="T1" fmla="*/ 218 h 514"/>
                <a:gd name="T2" fmla="*/ 773 w 788"/>
                <a:gd name="T3" fmla="*/ 194 h 514"/>
                <a:gd name="T4" fmla="*/ 755 w 788"/>
                <a:gd name="T5" fmla="*/ 163 h 514"/>
                <a:gd name="T6" fmla="*/ 753 w 788"/>
                <a:gd name="T7" fmla="*/ 130 h 514"/>
                <a:gd name="T8" fmla="*/ 725 w 788"/>
                <a:gd name="T9" fmla="*/ 108 h 514"/>
                <a:gd name="T10" fmla="*/ 720 w 788"/>
                <a:gd name="T11" fmla="*/ 82 h 514"/>
                <a:gd name="T12" fmla="*/ 703 w 788"/>
                <a:gd name="T13" fmla="*/ 88 h 514"/>
                <a:gd name="T14" fmla="*/ 674 w 788"/>
                <a:gd name="T15" fmla="*/ 75 h 514"/>
                <a:gd name="T16" fmla="*/ 663 w 788"/>
                <a:gd name="T17" fmla="*/ 77 h 514"/>
                <a:gd name="T18" fmla="*/ 646 w 788"/>
                <a:gd name="T19" fmla="*/ 82 h 514"/>
                <a:gd name="T20" fmla="*/ 604 w 788"/>
                <a:gd name="T21" fmla="*/ 79 h 514"/>
                <a:gd name="T22" fmla="*/ 597 w 788"/>
                <a:gd name="T23" fmla="*/ 55 h 514"/>
                <a:gd name="T24" fmla="*/ 608 w 788"/>
                <a:gd name="T25" fmla="*/ 42 h 514"/>
                <a:gd name="T26" fmla="*/ 593 w 788"/>
                <a:gd name="T27" fmla="*/ 33 h 514"/>
                <a:gd name="T28" fmla="*/ 569 w 788"/>
                <a:gd name="T29" fmla="*/ 3 h 514"/>
                <a:gd name="T30" fmla="*/ 566 w 788"/>
                <a:gd name="T31" fmla="*/ 16 h 514"/>
                <a:gd name="T32" fmla="*/ 564 w 788"/>
                <a:gd name="T33" fmla="*/ 36 h 514"/>
                <a:gd name="T34" fmla="*/ 549 w 788"/>
                <a:gd name="T35" fmla="*/ 31 h 514"/>
                <a:gd name="T36" fmla="*/ 527 w 788"/>
                <a:gd name="T37" fmla="*/ 33 h 514"/>
                <a:gd name="T38" fmla="*/ 481 w 788"/>
                <a:gd name="T39" fmla="*/ 11 h 514"/>
                <a:gd name="T40" fmla="*/ 452 w 788"/>
                <a:gd name="T41" fmla="*/ 5 h 514"/>
                <a:gd name="T42" fmla="*/ 428 w 788"/>
                <a:gd name="T43" fmla="*/ 0 h 514"/>
                <a:gd name="T44" fmla="*/ 413 w 788"/>
                <a:gd name="T45" fmla="*/ 29 h 514"/>
                <a:gd name="T46" fmla="*/ 386 w 788"/>
                <a:gd name="T47" fmla="*/ 33 h 514"/>
                <a:gd name="T48" fmla="*/ 384 w 788"/>
                <a:gd name="T49" fmla="*/ 60 h 514"/>
                <a:gd name="T50" fmla="*/ 367 w 788"/>
                <a:gd name="T51" fmla="*/ 106 h 514"/>
                <a:gd name="T52" fmla="*/ 345 w 788"/>
                <a:gd name="T53" fmla="*/ 121 h 514"/>
                <a:gd name="T54" fmla="*/ 334 w 788"/>
                <a:gd name="T55" fmla="*/ 141 h 514"/>
                <a:gd name="T56" fmla="*/ 270 w 788"/>
                <a:gd name="T57" fmla="*/ 150 h 514"/>
                <a:gd name="T58" fmla="*/ 206 w 788"/>
                <a:gd name="T59" fmla="*/ 172 h 514"/>
                <a:gd name="T60" fmla="*/ 184 w 788"/>
                <a:gd name="T61" fmla="*/ 178 h 514"/>
                <a:gd name="T62" fmla="*/ 180 w 788"/>
                <a:gd name="T63" fmla="*/ 156 h 514"/>
                <a:gd name="T64" fmla="*/ 160 w 788"/>
                <a:gd name="T65" fmla="*/ 161 h 514"/>
                <a:gd name="T66" fmla="*/ 138 w 788"/>
                <a:gd name="T67" fmla="*/ 147 h 514"/>
                <a:gd name="T68" fmla="*/ 121 w 788"/>
                <a:gd name="T69" fmla="*/ 130 h 514"/>
                <a:gd name="T70" fmla="*/ 112 w 788"/>
                <a:gd name="T71" fmla="*/ 104 h 514"/>
                <a:gd name="T72" fmla="*/ 66 w 788"/>
                <a:gd name="T73" fmla="*/ 88 h 514"/>
                <a:gd name="T74" fmla="*/ 11 w 788"/>
                <a:gd name="T75" fmla="*/ 132 h 514"/>
                <a:gd name="T76" fmla="*/ 11 w 788"/>
                <a:gd name="T77" fmla="*/ 154 h 514"/>
                <a:gd name="T78" fmla="*/ 110 w 788"/>
                <a:gd name="T79" fmla="*/ 205 h 514"/>
                <a:gd name="T80" fmla="*/ 125 w 788"/>
                <a:gd name="T81" fmla="*/ 226 h 514"/>
                <a:gd name="T82" fmla="*/ 158 w 788"/>
                <a:gd name="T83" fmla="*/ 237 h 514"/>
                <a:gd name="T84" fmla="*/ 193 w 788"/>
                <a:gd name="T85" fmla="*/ 262 h 514"/>
                <a:gd name="T86" fmla="*/ 253 w 788"/>
                <a:gd name="T87" fmla="*/ 299 h 514"/>
                <a:gd name="T88" fmla="*/ 323 w 788"/>
                <a:gd name="T89" fmla="*/ 323 h 514"/>
                <a:gd name="T90" fmla="*/ 343 w 788"/>
                <a:gd name="T91" fmla="*/ 338 h 514"/>
                <a:gd name="T92" fmla="*/ 444 w 788"/>
                <a:gd name="T93" fmla="*/ 387 h 514"/>
                <a:gd name="T94" fmla="*/ 492 w 788"/>
                <a:gd name="T95" fmla="*/ 400 h 514"/>
                <a:gd name="T96" fmla="*/ 516 w 788"/>
                <a:gd name="T97" fmla="*/ 422 h 514"/>
                <a:gd name="T98" fmla="*/ 547 w 788"/>
                <a:gd name="T99" fmla="*/ 446 h 514"/>
                <a:gd name="T100" fmla="*/ 571 w 788"/>
                <a:gd name="T101" fmla="*/ 461 h 514"/>
                <a:gd name="T102" fmla="*/ 643 w 788"/>
                <a:gd name="T103" fmla="*/ 501 h 514"/>
                <a:gd name="T104" fmla="*/ 667 w 788"/>
                <a:gd name="T105" fmla="*/ 514 h 514"/>
                <a:gd name="T106" fmla="*/ 689 w 788"/>
                <a:gd name="T107" fmla="*/ 483 h 514"/>
                <a:gd name="T108" fmla="*/ 678 w 788"/>
                <a:gd name="T109" fmla="*/ 444 h 514"/>
                <a:gd name="T110" fmla="*/ 687 w 788"/>
                <a:gd name="T111" fmla="*/ 409 h 514"/>
                <a:gd name="T112" fmla="*/ 700 w 788"/>
                <a:gd name="T113" fmla="*/ 382 h 514"/>
                <a:gd name="T114" fmla="*/ 733 w 788"/>
                <a:gd name="T115" fmla="*/ 349 h 514"/>
                <a:gd name="T116" fmla="*/ 755 w 788"/>
                <a:gd name="T117" fmla="*/ 354 h 514"/>
                <a:gd name="T118" fmla="*/ 764 w 788"/>
                <a:gd name="T119" fmla="*/ 334 h 514"/>
                <a:gd name="T120" fmla="*/ 784 w 788"/>
                <a:gd name="T121" fmla="*/ 299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88" h="514">
                  <a:moveTo>
                    <a:pt x="786" y="242"/>
                  </a:moveTo>
                  <a:lnTo>
                    <a:pt x="779" y="235"/>
                  </a:lnTo>
                  <a:lnTo>
                    <a:pt x="777" y="233"/>
                  </a:lnTo>
                  <a:lnTo>
                    <a:pt x="775" y="226"/>
                  </a:lnTo>
                  <a:lnTo>
                    <a:pt x="773" y="224"/>
                  </a:lnTo>
                  <a:lnTo>
                    <a:pt x="771" y="222"/>
                  </a:lnTo>
                  <a:lnTo>
                    <a:pt x="771" y="220"/>
                  </a:lnTo>
                  <a:lnTo>
                    <a:pt x="768" y="218"/>
                  </a:lnTo>
                  <a:lnTo>
                    <a:pt x="768" y="216"/>
                  </a:lnTo>
                  <a:lnTo>
                    <a:pt x="768" y="213"/>
                  </a:lnTo>
                  <a:lnTo>
                    <a:pt x="771" y="213"/>
                  </a:lnTo>
                  <a:lnTo>
                    <a:pt x="775" y="205"/>
                  </a:lnTo>
                  <a:lnTo>
                    <a:pt x="775" y="202"/>
                  </a:lnTo>
                  <a:lnTo>
                    <a:pt x="775" y="200"/>
                  </a:lnTo>
                  <a:lnTo>
                    <a:pt x="775" y="198"/>
                  </a:lnTo>
                  <a:lnTo>
                    <a:pt x="773" y="194"/>
                  </a:lnTo>
                  <a:lnTo>
                    <a:pt x="773" y="191"/>
                  </a:lnTo>
                  <a:lnTo>
                    <a:pt x="764" y="187"/>
                  </a:lnTo>
                  <a:lnTo>
                    <a:pt x="762" y="183"/>
                  </a:lnTo>
                  <a:lnTo>
                    <a:pt x="755" y="176"/>
                  </a:lnTo>
                  <a:lnTo>
                    <a:pt x="755" y="174"/>
                  </a:lnTo>
                  <a:lnTo>
                    <a:pt x="755" y="172"/>
                  </a:lnTo>
                  <a:lnTo>
                    <a:pt x="755" y="165"/>
                  </a:lnTo>
                  <a:lnTo>
                    <a:pt x="755" y="163"/>
                  </a:lnTo>
                  <a:lnTo>
                    <a:pt x="755" y="161"/>
                  </a:lnTo>
                  <a:lnTo>
                    <a:pt x="755" y="158"/>
                  </a:lnTo>
                  <a:lnTo>
                    <a:pt x="755" y="156"/>
                  </a:lnTo>
                  <a:lnTo>
                    <a:pt x="753" y="154"/>
                  </a:lnTo>
                  <a:lnTo>
                    <a:pt x="751" y="152"/>
                  </a:lnTo>
                  <a:lnTo>
                    <a:pt x="751" y="150"/>
                  </a:lnTo>
                  <a:lnTo>
                    <a:pt x="753" y="137"/>
                  </a:lnTo>
                  <a:lnTo>
                    <a:pt x="753" y="130"/>
                  </a:lnTo>
                  <a:lnTo>
                    <a:pt x="749" y="128"/>
                  </a:lnTo>
                  <a:lnTo>
                    <a:pt x="744" y="121"/>
                  </a:lnTo>
                  <a:lnTo>
                    <a:pt x="742" y="119"/>
                  </a:lnTo>
                  <a:lnTo>
                    <a:pt x="738" y="115"/>
                  </a:lnTo>
                  <a:lnTo>
                    <a:pt x="733" y="112"/>
                  </a:lnTo>
                  <a:lnTo>
                    <a:pt x="729" y="112"/>
                  </a:lnTo>
                  <a:lnTo>
                    <a:pt x="727" y="110"/>
                  </a:lnTo>
                  <a:lnTo>
                    <a:pt x="725" y="108"/>
                  </a:lnTo>
                  <a:lnTo>
                    <a:pt x="725" y="106"/>
                  </a:lnTo>
                  <a:lnTo>
                    <a:pt x="725" y="99"/>
                  </a:lnTo>
                  <a:lnTo>
                    <a:pt x="725" y="95"/>
                  </a:lnTo>
                  <a:lnTo>
                    <a:pt x="725" y="93"/>
                  </a:lnTo>
                  <a:lnTo>
                    <a:pt x="725" y="90"/>
                  </a:lnTo>
                  <a:lnTo>
                    <a:pt x="725" y="86"/>
                  </a:lnTo>
                  <a:lnTo>
                    <a:pt x="722" y="84"/>
                  </a:lnTo>
                  <a:lnTo>
                    <a:pt x="720" y="82"/>
                  </a:lnTo>
                  <a:lnTo>
                    <a:pt x="720" y="82"/>
                  </a:lnTo>
                  <a:lnTo>
                    <a:pt x="718" y="82"/>
                  </a:lnTo>
                  <a:lnTo>
                    <a:pt x="716" y="79"/>
                  </a:lnTo>
                  <a:lnTo>
                    <a:pt x="714" y="79"/>
                  </a:lnTo>
                  <a:lnTo>
                    <a:pt x="711" y="82"/>
                  </a:lnTo>
                  <a:lnTo>
                    <a:pt x="711" y="82"/>
                  </a:lnTo>
                  <a:lnTo>
                    <a:pt x="709" y="82"/>
                  </a:lnTo>
                  <a:lnTo>
                    <a:pt x="703" y="88"/>
                  </a:lnTo>
                  <a:lnTo>
                    <a:pt x="703" y="88"/>
                  </a:lnTo>
                  <a:lnTo>
                    <a:pt x="700" y="88"/>
                  </a:lnTo>
                  <a:lnTo>
                    <a:pt x="698" y="88"/>
                  </a:lnTo>
                  <a:lnTo>
                    <a:pt x="696" y="88"/>
                  </a:lnTo>
                  <a:lnTo>
                    <a:pt x="685" y="77"/>
                  </a:lnTo>
                  <a:lnTo>
                    <a:pt x="681" y="75"/>
                  </a:lnTo>
                  <a:lnTo>
                    <a:pt x="678" y="75"/>
                  </a:lnTo>
                  <a:lnTo>
                    <a:pt x="674" y="75"/>
                  </a:lnTo>
                  <a:lnTo>
                    <a:pt x="672" y="75"/>
                  </a:lnTo>
                  <a:lnTo>
                    <a:pt x="665" y="71"/>
                  </a:lnTo>
                  <a:lnTo>
                    <a:pt x="663" y="71"/>
                  </a:lnTo>
                  <a:lnTo>
                    <a:pt x="663" y="71"/>
                  </a:lnTo>
                  <a:lnTo>
                    <a:pt x="663" y="73"/>
                  </a:lnTo>
                  <a:lnTo>
                    <a:pt x="663" y="75"/>
                  </a:lnTo>
                  <a:lnTo>
                    <a:pt x="663" y="75"/>
                  </a:lnTo>
                  <a:lnTo>
                    <a:pt x="663" y="77"/>
                  </a:lnTo>
                  <a:lnTo>
                    <a:pt x="663" y="79"/>
                  </a:lnTo>
                  <a:lnTo>
                    <a:pt x="663" y="79"/>
                  </a:lnTo>
                  <a:lnTo>
                    <a:pt x="661" y="82"/>
                  </a:lnTo>
                  <a:lnTo>
                    <a:pt x="659" y="82"/>
                  </a:lnTo>
                  <a:lnTo>
                    <a:pt x="657" y="82"/>
                  </a:lnTo>
                  <a:lnTo>
                    <a:pt x="652" y="82"/>
                  </a:lnTo>
                  <a:lnTo>
                    <a:pt x="650" y="82"/>
                  </a:lnTo>
                  <a:lnTo>
                    <a:pt x="646" y="82"/>
                  </a:lnTo>
                  <a:lnTo>
                    <a:pt x="643" y="82"/>
                  </a:lnTo>
                  <a:lnTo>
                    <a:pt x="641" y="84"/>
                  </a:lnTo>
                  <a:lnTo>
                    <a:pt x="635" y="88"/>
                  </a:lnTo>
                  <a:lnTo>
                    <a:pt x="635" y="88"/>
                  </a:lnTo>
                  <a:lnTo>
                    <a:pt x="632" y="88"/>
                  </a:lnTo>
                  <a:lnTo>
                    <a:pt x="630" y="86"/>
                  </a:lnTo>
                  <a:lnTo>
                    <a:pt x="628" y="86"/>
                  </a:lnTo>
                  <a:lnTo>
                    <a:pt x="604" y="79"/>
                  </a:lnTo>
                  <a:lnTo>
                    <a:pt x="599" y="77"/>
                  </a:lnTo>
                  <a:lnTo>
                    <a:pt x="597" y="75"/>
                  </a:lnTo>
                  <a:lnTo>
                    <a:pt x="597" y="73"/>
                  </a:lnTo>
                  <a:lnTo>
                    <a:pt x="599" y="68"/>
                  </a:lnTo>
                  <a:lnTo>
                    <a:pt x="599" y="68"/>
                  </a:lnTo>
                  <a:lnTo>
                    <a:pt x="599" y="66"/>
                  </a:lnTo>
                  <a:lnTo>
                    <a:pt x="599" y="64"/>
                  </a:lnTo>
                  <a:lnTo>
                    <a:pt x="597" y="55"/>
                  </a:lnTo>
                  <a:lnTo>
                    <a:pt x="599" y="53"/>
                  </a:lnTo>
                  <a:lnTo>
                    <a:pt x="599" y="51"/>
                  </a:lnTo>
                  <a:lnTo>
                    <a:pt x="602" y="51"/>
                  </a:lnTo>
                  <a:lnTo>
                    <a:pt x="604" y="49"/>
                  </a:lnTo>
                  <a:lnTo>
                    <a:pt x="606" y="47"/>
                  </a:lnTo>
                  <a:lnTo>
                    <a:pt x="606" y="47"/>
                  </a:lnTo>
                  <a:lnTo>
                    <a:pt x="608" y="44"/>
                  </a:lnTo>
                  <a:lnTo>
                    <a:pt x="608" y="42"/>
                  </a:lnTo>
                  <a:lnTo>
                    <a:pt x="606" y="40"/>
                  </a:lnTo>
                  <a:lnTo>
                    <a:pt x="606" y="40"/>
                  </a:lnTo>
                  <a:lnTo>
                    <a:pt x="602" y="40"/>
                  </a:lnTo>
                  <a:lnTo>
                    <a:pt x="599" y="38"/>
                  </a:lnTo>
                  <a:lnTo>
                    <a:pt x="597" y="38"/>
                  </a:lnTo>
                  <a:lnTo>
                    <a:pt x="595" y="36"/>
                  </a:lnTo>
                  <a:lnTo>
                    <a:pt x="593" y="36"/>
                  </a:lnTo>
                  <a:lnTo>
                    <a:pt x="593" y="33"/>
                  </a:lnTo>
                  <a:lnTo>
                    <a:pt x="591" y="27"/>
                  </a:lnTo>
                  <a:lnTo>
                    <a:pt x="586" y="22"/>
                  </a:lnTo>
                  <a:lnTo>
                    <a:pt x="577" y="9"/>
                  </a:lnTo>
                  <a:lnTo>
                    <a:pt x="573" y="5"/>
                  </a:lnTo>
                  <a:lnTo>
                    <a:pt x="573" y="5"/>
                  </a:lnTo>
                  <a:lnTo>
                    <a:pt x="571" y="3"/>
                  </a:lnTo>
                  <a:lnTo>
                    <a:pt x="569" y="3"/>
                  </a:lnTo>
                  <a:lnTo>
                    <a:pt x="569" y="3"/>
                  </a:lnTo>
                  <a:lnTo>
                    <a:pt x="566" y="3"/>
                  </a:lnTo>
                  <a:lnTo>
                    <a:pt x="564" y="5"/>
                  </a:lnTo>
                  <a:lnTo>
                    <a:pt x="564" y="7"/>
                  </a:lnTo>
                  <a:lnTo>
                    <a:pt x="564" y="9"/>
                  </a:lnTo>
                  <a:lnTo>
                    <a:pt x="562" y="9"/>
                  </a:lnTo>
                  <a:lnTo>
                    <a:pt x="564" y="11"/>
                  </a:lnTo>
                  <a:lnTo>
                    <a:pt x="566" y="16"/>
                  </a:lnTo>
                  <a:lnTo>
                    <a:pt x="566" y="16"/>
                  </a:lnTo>
                  <a:lnTo>
                    <a:pt x="566" y="18"/>
                  </a:lnTo>
                  <a:lnTo>
                    <a:pt x="566" y="20"/>
                  </a:lnTo>
                  <a:lnTo>
                    <a:pt x="566" y="25"/>
                  </a:lnTo>
                  <a:lnTo>
                    <a:pt x="566" y="27"/>
                  </a:lnTo>
                  <a:lnTo>
                    <a:pt x="564" y="31"/>
                  </a:lnTo>
                  <a:lnTo>
                    <a:pt x="564" y="33"/>
                  </a:lnTo>
                  <a:lnTo>
                    <a:pt x="564" y="36"/>
                  </a:lnTo>
                  <a:lnTo>
                    <a:pt x="564" y="36"/>
                  </a:lnTo>
                  <a:lnTo>
                    <a:pt x="560" y="42"/>
                  </a:lnTo>
                  <a:lnTo>
                    <a:pt x="558" y="44"/>
                  </a:lnTo>
                  <a:lnTo>
                    <a:pt x="556" y="44"/>
                  </a:lnTo>
                  <a:lnTo>
                    <a:pt x="553" y="42"/>
                  </a:lnTo>
                  <a:lnTo>
                    <a:pt x="553" y="42"/>
                  </a:lnTo>
                  <a:lnTo>
                    <a:pt x="551" y="40"/>
                  </a:lnTo>
                  <a:lnTo>
                    <a:pt x="551" y="38"/>
                  </a:lnTo>
                  <a:lnTo>
                    <a:pt x="549" y="31"/>
                  </a:lnTo>
                  <a:lnTo>
                    <a:pt x="547" y="31"/>
                  </a:lnTo>
                  <a:lnTo>
                    <a:pt x="547" y="29"/>
                  </a:lnTo>
                  <a:lnTo>
                    <a:pt x="545" y="29"/>
                  </a:lnTo>
                  <a:lnTo>
                    <a:pt x="542" y="27"/>
                  </a:lnTo>
                  <a:lnTo>
                    <a:pt x="540" y="27"/>
                  </a:lnTo>
                  <a:lnTo>
                    <a:pt x="536" y="31"/>
                  </a:lnTo>
                  <a:lnTo>
                    <a:pt x="531" y="31"/>
                  </a:lnTo>
                  <a:lnTo>
                    <a:pt x="527" y="33"/>
                  </a:lnTo>
                  <a:lnTo>
                    <a:pt x="523" y="33"/>
                  </a:lnTo>
                  <a:lnTo>
                    <a:pt x="509" y="36"/>
                  </a:lnTo>
                  <a:lnTo>
                    <a:pt x="498" y="33"/>
                  </a:lnTo>
                  <a:lnTo>
                    <a:pt x="494" y="31"/>
                  </a:lnTo>
                  <a:lnTo>
                    <a:pt x="481" y="16"/>
                  </a:lnTo>
                  <a:lnTo>
                    <a:pt x="481" y="14"/>
                  </a:lnTo>
                  <a:lnTo>
                    <a:pt x="481" y="11"/>
                  </a:lnTo>
                  <a:lnTo>
                    <a:pt x="481" y="11"/>
                  </a:lnTo>
                  <a:lnTo>
                    <a:pt x="481" y="7"/>
                  </a:lnTo>
                  <a:lnTo>
                    <a:pt x="481" y="5"/>
                  </a:lnTo>
                  <a:lnTo>
                    <a:pt x="465" y="7"/>
                  </a:lnTo>
                  <a:lnTo>
                    <a:pt x="461" y="9"/>
                  </a:lnTo>
                  <a:lnTo>
                    <a:pt x="459" y="7"/>
                  </a:lnTo>
                  <a:lnTo>
                    <a:pt x="457" y="7"/>
                  </a:lnTo>
                  <a:lnTo>
                    <a:pt x="455" y="7"/>
                  </a:lnTo>
                  <a:lnTo>
                    <a:pt x="452" y="5"/>
                  </a:lnTo>
                  <a:lnTo>
                    <a:pt x="448" y="5"/>
                  </a:lnTo>
                  <a:lnTo>
                    <a:pt x="444" y="5"/>
                  </a:lnTo>
                  <a:lnTo>
                    <a:pt x="439" y="5"/>
                  </a:lnTo>
                  <a:lnTo>
                    <a:pt x="437" y="5"/>
                  </a:lnTo>
                  <a:lnTo>
                    <a:pt x="435" y="3"/>
                  </a:lnTo>
                  <a:lnTo>
                    <a:pt x="435" y="3"/>
                  </a:lnTo>
                  <a:lnTo>
                    <a:pt x="430" y="0"/>
                  </a:lnTo>
                  <a:lnTo>
                    <a:pt x="428" y="0"/>
                  </a:lnTo>
                  <a:lnTo>
                    <a:pt x="424" y="3"/>
                  </a:lnTo>
                  <a:lnTo>
                    <a:pt x="419" y="7"/>
                  </a:lnTo>
                  <a:lnTo>
                    <a:pt x="415" y="16"/>
                  </a:lnTo>
                  <a:lnTo>
                    <a:pt x="415" y="20"/>
                  </a:lnTo>
                  <a:lnTo>
                    <a:pt x="417" y="25"/>
                  </a:lnTo>
                  <a:lnTo>
                    <a:pt x="417" y="27"/>
                  </a:lnTo>
                  <a:lnTo>
                    <a:pt x="415" y="29"/>
                  </a:lnTo>
                  <a:lnTo>
                    <a:pt x="413" y="29"/>
                  </a:lnTo>
                  <a:lnTo>
                    <a:pt x="408" y="31"/>
                  </a:lnTo>
                  <a:lnTo>
                    <a:pt x="406" y="31"/>
                  </a:lnTo>
                  <a:lnTo>
                    <a:pt x="404" y="31"/>
                  </a:lnTo>
                  <a:lnTo>
                    <a:pt x="395" y="29"/>
                  </a:lnTo>
                  <a:lnTo>
                    <a:pt x="393" y="29"/>
                  </a:lnTo>
                  <a:lnTo>
                    <a:pt x="391" y="31"/>
                  </a:lnTo>
                  <a:lnTo>
                    <a:pt x="389" y="31"/>
                  </a:lnTo>
                  <a:lnTo>
                    <a:pt x="386" y="33"/>
                  </a:lnTo>
                  <a:lnTo>
                    <a:pt x="384" y="33"/>
                  </a:lnTo>
                  <a:lnTo>
                    <a:pt x="384" y="36"/>
                  </a:lnTo>
                  <a:lnTo>
                    <a:pt x="382" y="38"/>
                  </a:lnTo>
                  <a:lnTo>
                    <a:pt x="380" y="40"/>
                  </a:lnTo>
                  <a:lnTo>
                    <a:pt x="380" y="49"/>
                  </a:lnTo>
                  <a:lnTo>
                    <a:pt x="380" y="53"/>
                  </a:lnTo>
                  <a:lnTo>
                    <a:pt x="384" y="57"/>
                  </a:lnTo>
                  <a:lnTo>
                    <a:pt x="384" y="60"/>
                  </a:lnTo>
                  <a:lnTo>
                    <a:pt x="384" y="62"/>
                  </a:lnTo>
                  <a:lnTo>
                    <a:pt x="384" y="64"/>
                  </a:lnTo>
                  <a:lnTo>
                    <a:pt x="384" y="66"/>
                  </a:lnTo>
                  <a:lnTo>
                    <a:pt x="382" y="75"/>
                  </a:lnTo>
                  <a:lnTo>
                    <a:pt x="382" y="84"/>
                  </a:lnTo>
                  <a:lnTo>
                    <a:pt x="380" y="90"/>
                  </a:lnTo>
                  <a:lnTo>
                    <a:pt x="378" y="95"/>
                  </a:lnTo>
                  <a:lnTo>
                    <a:pt x="367" y="106"/>
                  </a:lnTo>
                  <a:lnTo>
                    <a:pt x="364" y="106"/>
                  </a:lnTo>
                  <a:lnTo>
                    <a:pt x="358" y="119"/>
                  </a:lnTo>
                  <a:lnTo>
                    <a:pt x="356" y="121"/>
                  </a:lnTo>
                  <a:lnTo>
                    <a:pt x="356" y="123"/>
                  </a:lnTo>
                  <a:lnTo>
                    <a:pt x="354" y="123"/>
                  </a:lnTo>
                  <a:lnTo>
                    <a:pt x="354" y="123"/>
                  </a:lnTo>
                  <a:lnTo>
                    <a:pt x="351" y="123"/>
                  </a:lnTo>
                  <a:lnTo>
                    <a:pt x="345" y="121"/>
                  </a:lnTo>
                  <a:lnTo>
                    <a:pt x="340" y="121"/>
                  </a:lnTo>
                  <a:lnTo>
                    <a:pt x="338" y="121"/>
                  </a:lnTo>
                  <a:lnTo>
                    <a:pt x="336" y="121"/>
                  </a:lnTo>
                  <a:lnTo>
                    <a:pt x="334" y="121"/>
                  </a:lnTo>
                  <a:lnTo>
                    <a:pt x="332" y="123"/>
                  </a:lnTo>
                  <a:lnTo>
                    <a:pt x="332" y="130"/>
                  </a:lnTo>
                  <a:lnTo>
                    <a:pt x="332" y="137"/>
                  </a:lnTo>
                  <a:lnTo>
                    <a:pt x="334" y="141"/>
                  </a:lnTo>
                  <a:lnTo>
                    <a:pt x="334" y="143"/>
                  </a:lnTo>
                  <a:lnTo>
                    <a:pt x="325" y="143"/>
                  </a:lnTo>
                  <a:lnTo>
                    <a:pt x="312" y="141"/>
                  </a:lnTo>
                  <a:lnTo>
                    <a:pt x="307" y="141"/>
                  </a:lnTo>
                  <a:lnTo>
                    <a:pt x="307" y="139"/>
                  </a:lnTo>
                  <a:lnTo>
                    <a:pt x="301" y="137"/>
                  </a:lnTo>
                  <a:lnTo>
                    <a:pt x="279" y="147"/>
                  </a:lnTo>
                  <a:lnTo>
                    <a:pt x="270" y="150"/>
                  </a:lnTo>
                  <a:lnTo>
                    <a:pt x="263" y="150"/>
                  </a:lnTo>
                  <a:lnTo>
                    <a:pt x="244" y="152"/>
                  </a:lnTo>
                  <a:lnTo>
                    <a:pt x="224" y="152"/>
                  </a:lnTo>
                  <a:lnTo>
                    <a:pt x="220" y="152"/>
                  </a:lnTo>
                  <a:lnTo>
                    <a:pt x="217" y="154"/>
                  </a:lnTo>
                  <a:lnTo>
                    <a:pt x="217" y="154"/>
                  </a:lnTo>
                  <a:lnTo>
                    <a:pt x="209" y="167"/>
                  </a:lnTo>
                  <a:lnTo>
                    <a:pt x="206" y="172"/>
                  </a:lnTo>
                  <a:lnTo>
                    <a:pt x="206" y="174"/>
                  </a:lnTo>
                  <a:lnTo>
                    <a:pt x="204" y="176"/>
                  </a:lnTo>
                  <a:lnTo>
                    <a:pt x="189" y="183"/>
                  </a:lnTo>
                  <a:lnTo>
                    <a:pt x="187" y="183"/>
                  </a:lnTo>
                  <a:lnTo>
                    <a:pt x="184" y="183"/>
                  </a:lnTo>
                  <a:lnTo>
                    <a:pt x="184" y="180"/>
                  </a:lnTo>
                  <a:lnTo>
                    <a:pt x="184" y="178"/>
                  </a:lnTo>
                  <a:lnTo>
                    <a:pt x="184" y="178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2" y="163"/>
                  </a:lnTo>
                  <a:lnTo>
                    <a:pt x="182" y="163"/>
                  </a:lnTo>
                  <a:lnTo>
                    <a:pt x="180" y="156"/>
                  </a:lnTo>
                  <a:lnTo>
                    <a:pt x="180" y="154"/>
                  </a:lnTo>
                  <a:lnTo>
                    <a:pt x="178" y="152"/>
                  </a:lnTo>
                  <a:lnTo>
                    <a:pt x="178" y="152"/>
                  </a:lnTo>
                  <a:lnTo>
                    <a:pt x="176" y="154"/>
                  </a:lnTo>
                  <a:lnTo>
                    <a:pt x="171" y="156"/>
                  </a:lnTo>
                  <a:lnTo>
                    <a:pt x="167" y="158"/>
                  </a:lnTo>
                  <a:lnTo>
                    <a:pt x="162" y="161"/>
                  </a:lnTo>
                  <a:lnTo>
                    <a:pt x="160" y="161"/>
                  </a:lnTo>
                  <a:lnTo>
                    <a:pt x="158" y="161"/>
                  </a:lnTo>
                  <a:lnTo>
                    <a:pt x="154" y="161"/>
                  </a:lnTo>
                  <a:lnTo>
                    <a:pt x="149" y="161"/>
                  </a:lnTo>
                  <a:lnTo>
                    <a:pt x="147" y="158"/>
                  </a:lnTo>
                  <a:lnTo>
                    <a:pt x="147" y="158"/>
                  </a:lnTo>
                  <a:lnTo>
                    <a:pt x="145" y="156"/>
                  </a:lnTo>
                  <a:lnTo>
                    <a:pt x="138" y="150"/>
                  </a:lnTo>
                  <a:lnTo>
                    <a:pt x="138" y="147"/>
                  </a:lnTo>
                  <a:lnTo>
                    <a:pt x="136" y="147"/>
                  </a:lnTo>
                  <a:lnTo>
                    <a:pt x="136" y="145"/>
                  </a:lnTo>
                  <a:lnTo>
                    <a:pt x="136" y="141"/>
                  </a:lnTo>
                  <a:lnTo>
                    <a:pt x="132" y="139"/>
                  </a:lnTo>
                  <a:lnTo>
                    <a:pt x="125" y="137"/>
                  </a:lnTo>
                  <a:lnTo>
                    <a:pt x="123" y="134"/>
                  </a:lnTo>
                  <a:lnTo>
                    <a:pt x="123" y="132"/>
                  </a:lnTo>
                  <a:lnTo>
                    <a:pt x="121" y="130"/>
                  </a:lnTo>
                  <a:lnTo>
                    <a:pt x="121" y="128"/>
                  </a:lnTo>
                  <a:lnTo>
                    <a:pt x="119" y="123"/>
                  </a:lnTo>
                  <a:lnTo>
                    <a:pt x="114" y="117"/>
                  </a:lnTo>
                  <a:lnTo>
                    <a:pt x="112" y="112"/>
                  </a:lnTo>
                  <a:lnTo>
                    <a:pt x="112" y="110"/>
                  </a:lnTo>
                  <a:lnTo>
                    <a:pt x="112" y="108"/>
                  </a:lnTo>
                  <a:lnTo>
                    <a:pt x="114" y="106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0" y="101"/>
                  </a:lnTo>
                  <a:lnTo>
                    <a:pt x="103" y="101"/>
                  </a:lnTo>
                  <a:lnTo>
                    <a:pt x="88" y="97"/>
                  </a:lnTo>
                  <a:lnTo>
                    <a:pt x="75" y="95"/>
                  </a:lnTo>
                  <a:lnTo>
                    <a:pt x="70" y="93"/>
                  </a:lnTo>
                  <a:lnTo>
                    <a:pt x="68" y="90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6"/>
                  </a:lnTo>
                  <a:lnTo>
                    <a:pt x="66" y="84"/>
                  </a:lnTo>
                  <a:lnTo>
                    <a:pt x="26" y="108"/>
                  </a:lnTo>
                  <a:lnTo>
                    <a:pt x="22" y="112"/>
                  </a:lnTo>
                  <a:lnTo>
                    <a:pt x="13" y="126"/>
                  </a:lnTo>
                  <a:lnTo>
                    <a:pt x="13" y="128"/>
                  </a:lnTo>
                  <a:lnTo>
                    <a:pt x="11" y="132"/>
                  </a:lnTo>
                  <a:lnTo>
                    <a:pt x="11" y="134"/>
                  </a:lnTo>
                  <a:lnTo>
                    <a:pt x="0" y="150"/>
                  </a:lnTo>
                  <a:lnTo>
                    <a:pt x="0" y="150"/>
                  </a:lnTo>
                  <a:lnTo>
                    <a:pt x="2" y="154"/>
                  </a:lnTo>
                  <a:lnTo>
                    <a:pt x="4" y="156"/>
                  </a:lnTo>
                  <a:lnTo>
                    <a:pt x="7" y="156"/>
                  </a:lnTo>
                  <a:lnTo>
                    <a:pt x="7" y="154"/>
                  </a:lnTo>
                  <a:lnTo>
                    <a:pt x="11" y="154"/>
                  </a:lnTo>
                  <a:lnTo>
                    <a:pt x="13" y="156"/>
                  </a:lnTo>
                  <a:lnTo>
                    <a:pt x="18" y="158"/>
                  </a:lnTo>
                  <a:lnTo>
                    <a:pt x="37" y="169"/>
                  </a:lnTo>
                  <a:lnTo>
                    <a:pt x="42" y="176"/>
                  </a:lnTo>
                  <a:lnTo>
                    <a:pt x="59" y="183"/>
                  </a:lnTo>
                  <a:lnTo>
                    <a:pt x="72" y="189"/>
                  </a:lnTo>
                  <a:lnTo>
                    <a:pt x="99" y="202"/>
                  </a:lnTo>
                  <a:lnTo>
                    <a:pt x="110" y="205"/>
                  </a:lnTo>
                  <a:lnTo>
                    <a:pt x="114" y="207"/>
                  </a:lnTo>
                  <a:lnTo>
                    <a:pt x="114" y="209"/>
                  </a:lnTo>
                  <a:lnTo>
                    <a:pt x="114" y="211"/>
                  </a:lnTo>
                  <a:lnTo>
                    <a:pt x="116" y="213"/>
                  </a:lnTo>
                  <a:lnTo>
                    <a:pt x="116" y="216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25" y="226"/>
                  </a:lnTo>
                  <a:lnTo>
                    <a:pt x="132" y="229"/>
                  </a:lnTo>
                  <a:lnTo>
                    <a:pt x="138" y="231"/>
                  </a:lnTo>
                  <a:lnTo>
                    <a:pt x="145" y="229"/>
                  </a:lnTo>
                  <a:lnTo>
                    <a:pt x="152" y="231"/>
                  </a:lnTo>
                  <a:lnTo>
                    <a:pt x="154" y="231"/>
                  </a:lnTo>
                  <a:lnTo>
                    <a:pt x="154" y="233"/>
                  </a:lnTo>
                  <a:lnTo>
                    <a:pt x="156" y="235"/>
                  </a:lnTo>
                  <a:lnTo>
                    <a:pt x="158" y="237"/>
                  </a:lnTo>
                  <a:lnTo>
                    <a:pt x="167" y="240"/>
                  </a:lnTo>
                  <a:lnTo>
                    <a:pt x="169" y="240"/>
                  </a:lnTo>
                  <a:lnTo>
                    <a:pt x="187" y="248"/>
                  </a:lnTo>
                  <a:lnTo>
                    <a:pt x="191" y="251"/>
                  </a:lnTo>
                  <a:lnTo>
                    <a:pt x="193" y="255"/>
                  </a:lnTo>
                  <a:lnTo>
                    <a:pt x="195" y="257"/>
                  </a:lnTo>
                  <a:lnTo>
                    <a:pt x="193" y="259"/>
                  </a:lnTo>
                  <a:lnTo>
                    <a:pt x="193" y="262"/>
                  </a:lnTo>
                  <a:lnTo>
                    <a:pt x="200" y="266"/>
                  </a:lnTo>
                  <a:lnTo>
                    <a:pt x="213" y="277"/>
                  </a:lnTo>
                  <a:lnTo>
                    <a:pt x="224" y="284"/>
                  </a:lnTo>
                  <a:lnTo>
                    <a:pt x="228" y="288"/>
                  </a:lnTo>
                  <a:lnTo>
                    <a:pt x="242" y="295"/>
                  </a:lnTo>
                  <a:lnTo>
                    <a:pt x="248" y="297"/>
                  </a:lnTo>
                  <a:lnTo>
                    <a:pt x="250" y="297"/>
                  </a:lnTo>
                  <a:lnTo>
                    <a:pt x="253" y="299"/>
                  </a:lnTo>
                  <a:lnTo>
                    <a:pt x="255" y="301"/>
                  </a:lnTo>
                  <a:lnTo>
                    <a:pt x="255" y="308"/>
                  </a:lnTo>
                  <a:lnTo>
                    <a:pt x="259" y="303"/>
                  </a:lnTo>
                  <a:lnTo>
                    <a:pt x="274" y="305"/>
                  </a:lnTo>
                  <a:lnTo>
                    <a:pt x="296" y="314"/>
                  </a:lnTo>
                  <a:lnTo>
                    <a:pt x="307" y="316"/>
                  </a:lnTo>
                  <a:lnTo>
                    <a:pt x="318" y="321"/>
                  </a:lnTo>
                  <a:lnTo>
                    <a:pt x="323" y="323"/>
                  </a:lnTo>
                  <a:lnTo>
                    <a:pt x="325" y="323"/>
                  </a:lnTo>
                  <a:lnTo>
                    <a:pt x="327" y="325"/>
                  </a:lnTo>
                  <a:lnTo>
                    <a:pt x="329" y="334"/>
                  </a:lnTo>
                  <a:lnTo>
                    <a:pt x="332" y="336"/>
                  </a:lnTo>
                  <a:lnTo>
                    <a:pt x="334" y="334"/>
                  </a:lnTo>
                  <a:lnTo>
                    <a:pt x="336" y="336"/>
                  </a:lnTo>
                  <a:lnTo>
                    <a:pt x="340" y="336"/>
                  </a:lnTo>
                  <a:lnTo>
                    <a:pt x="343" y="338"/>
                  </a:lnTo>
                  <a:lnTo>
                    <a:pt x="349" y="338"/>
                  </a:lnTo>
                  <a:lnTo>
                    <a:pt x="354" y="338"/>
                  </a:lnTo>
                  <a:lnTo>
                    <a:pt x="360" y="345"/>
                  </a:lnTo>
                  <a:lnTo>
                    <a:pt x="369" y="349"/>
                  </a:lnTo>
                  <a:lnTo>
                    <a:pt x="375" y="356"/>
                  </a:lnTo>
                  <a:lnTo>
                    <a:pt x="406" y="367"/>
                  </a:lnTo>
                  <a:lnTo>
                    <a:pt x="426" y="380"/>
                  </a:lnTo>
                  <a:lnTo>
                    <a:pt x="444" y="387"/>
                  </a:lnTo>
                  <a:lnTo>
                    <a:pt x="463" y="387"/>
                  </a:lnTo>
                  <a:lnTo>
                    <a:pt x="474" y="391"/>
                  </a:lnTo>
                  <a:lnTo>
                    <a:pt x="481" y="393"/>
                  </a:lnTo>
                  <a:lnTo>
                    <a:pt x="483" y="393"/>
                  </a:lnTo>
                  <a:lnTo>
                    <a:pt x="487" y="398"/>
                  </a:lnTo>
                  <a:lnTo>
                    <a:pt x="487" y="398"/>
                  </a:lnTo>
                  <a:lnTo>
                    <a:pt x="490" y="398"/>
                  </a:lnTo>
                  <a:lnTo>
                    <a:pt x="492" y="400"/>
                  </a:lnTo>
                  <a:lnTo>
                    <a:pt x="494" y="402"/>
                  </a:lnTo>
                  <a:lnTo>
                    <a:pt x="494" y="402"/>
                  </a:lnTo>
                  <a:lnTo>
                    <a:pt x="496" y="402"/>
                  </a:lnTo>
                  <a:lnTo>
                    <a:pt x="498" y="402"/>
                  </a:lnTo>
                  <a:lnTo>
                    <a:pt x="501" y="404"/>
                  </a:lnTo>
                  <a:lnTo>
                    <a:pt x="505" y="406"/>
                  </a:lnTo>
                  <a:lnTo>
                    <a:pt x="514" y="420"/>
                  </a:lnTo>
                  <a:lnTo>
                    <a:pt x="516" y="422"/>
                  </a:lnTo>
                  <a:lnTo>
                    <a:pt x="516" y="426"/>
                  </a:lnTo>
                  <a:lnTo>
                    <a:pt x="518" y="431"/>
                  </a:lnTo>
                  <a:lnTo>
                    <a:pt x="523" y="433"/>
                  </a:lnTo>
                  <a:lnTo>
                    <a:pt x="531" y="435"/>
                  </a:lnTo>
                  <a:lnTo>
                    <a:pt x="536" y="437"/>
                  </a:lnTo>
                  <a:lnTo>
                    <a:pt x="538" y="439"/>
                  </a:lnTo>
                  <a:lnTo>
                    <a:pt x="538" y="442"/>
                  </a:lnTo>
                  <a:lnTo>
                    <a:pt x="547" y="446"/>
                  </a:lnTo>
                  <a:lnTo>
                    <a:pt x="549" y="448"/>
                  </a:lnTo>
                  <a:lnTo>
                    <a:pt x="549" y="450"/>
                  </a:lnTo>
                  <a:lnTo>
                    <a:pt x="549" y="455"/>
                  </a:lnTo>
                  <a:lnTo>
                    <a:pt x="549" y="457"/>
                  </a:lnTo>
                  <a:lnTo>
                    <a:pt x="551" y="457"/>
                  </a:lnTo>
                  <a:lnTo>
                    <a:pt x="562" y="459"/>
                  </a:lnTo>
                  <a:lnTo>
                    <a:pt x="566" y="459"/>
                  </a:lnTo>
                  <a:lnTo>
                    <a:pt x="571" y="461"/>
                  </a:lnTo>
                  <a:lnTo>
                    <a:pt x="582" y="468"/>
                  </a:lnTo>
                  <a:lnTo>
                    <a:pt x="586" y="472"/>
                  </a:lnTo>
                  <a:lnTo>
                    <a:pt x="595" y="481"/>
                  </a:lnTo>
                  <a:lnTo>
                    <a:pt x="599" y="488"/>
                  </a:lnTo>
                  <a:lnTo>
                    <a:pt x="608" y="490"/>
                  </a:lnTo>
                  <a:lnTo>
                    <a:pt x="639" y="499"/>
                  </a:lnTo>
                  <a:lnTo>
                    <a:pt x="639" y="499"/>
                  </a:lnTo>
                  <a:lnTo>
                    <a:pt x="643" y="501"/>
                  </a:lnTo>
                  <a:lnTo>
                    <a:pt x="646" y="503"/>
                  </a:lnTo>
                  <a:lnTo>
                    <a:pt x="648" y="505"/>
                  </a:lnTo>
                  <a:lnTo>
                    <a:pt x="652" y="505"/>
                  </a:lnTo>
                  <a:lnTo>
                    <a:pt x="659" y="507"/>
                  </a:lnTo>
                  <a:lnTo>
                    <a:pt x="661" y="507"/>
                  </a:lnTo>
                  <a:lnTo>
                    <a:pt x="665" y="512"/>
                  </a:lnTo>
                  <a:lnTo>
                    <a:pt x="667" y="514"/>
                  </a:lnTo>
                  <a:lnTo>
                    <a:pt x="667" y="514"/>
                  </a:lnTo>
                  <a:lnTo>
                    <a:pt x="674" y="510"/>
                  </a:lnTo>
                  <a:lnTo>
                    <a:pt x="676" y="507"/>
                  </a:lnTo>
                  <a:lnTo>
                    <a:pt x="678" y="503"/>
                  </a:lnTo>
                  <a:lnTo>
                    <a:pt x="681" y="496"/>
                  </a:lnTo>
                  <a:lnTo>
                    <a:pt x="683" y="494"/>
                  </a:lnTo>
                  <a:lnTo>
                    <a:pt x="687" y="488"/>
                  </a:lnTo>
                  <a:lnTo>
                    <a:pt x="687" y="485"/>
                  </a:lnTo>
                  <a:lnTo>
                    <a:pt x="689" y="483"/>
                  </a:lnTo>
                  <a:lnTo>
                    <a:pt x="694" y="466"/>
                  </a:lnTo>
                  <a:lnTo>
                    <a:pt x="694" y="466"/>
                  </a:lnTo>
                  <a:lnTo>
                    <a:pt x="696" y="464"/>
                  </a:lnTo>
                  <a:lnTo>
                    <a:pt x="696" y="461"/>
                  </a:lnTo>
                  <a:lnTo>
                    <a:pt x="694" y="459"/>
                  </a:lnTo>
                  <a:lnTo>
                    <a:pt x="694" y="457"/>
                  </a:lnTo>
                  <a:lnTo>
                    <a:pt x="681" y="448"/>
                  </a:lnTo>
                  <a:lnTo>
                    <a:pt x="678" y="444"/>
                  </a:lnTo>
                  <a:lnTo>
                    <a:pt x="676" y="435"/>
                  </a:lnTo>
                  <a:lnTo>
                    <a:pt x="674" y="431"/>
                  </a:lnTo>
                  <a:lnTo>
                    <a:pt x="674" y="426"/>
                  </a:lnTo>
                  <a:lnTo>
                    <a:pt x="674" y="426"/>
                  </a:lnTo>
                  <a:lnTo>
                    <a:pt x="674" y="422"/>
                  </a:lnTo>
                  <a:lnTo>
                    <a:pt x="676" y="420"/>
                  </a:lnTo>
                  <a:lnTo>
                    <a:pt x="678" y="417"/>
                  </a:lnTo>
                  <a:lnTo>
                    <a:pt x="687" y="409"/>
                  </a:lnTo>
                  <a:lnTo>
                    <a:pt x="692" y="406"/>
                  </a:lnTo>
                  <a:lnTo>
                    <a:pt x="698" y="404"/>
                  </a:lnTo>
                  <a:lnTo>
                    <a:pt x="700" y="404"/>
                  </a:lnTo>
                  <a:lnTo>
                    <a:pt x="700" y="402"/>
                  </a:lnTo>
                  <a:lnTo>
                    <a:pt x="700" y="400"/>
                  </a:lnTo>
                  <a:lnTo>
                    <a:pt x="703" y="393"/>
                  </a:lnTo>
                  <a:lnTo>
                    <a:pt x="703" y="391"/>
                  </a:lnTo>
                  <a:lnTo>
                    <a:pt x="700" y="382"/>
                  </a:lnTo>
                  <a:lnTo>
                    <a:pt x="700" y="380"/>
                  </a:lnTo>
                  <a:lnTo>
                    <a:pt x="703" y="378"/>
                  </a:lnTo>
                  <a:lnTo>
                    <a:pt x="707" y="371"/>
                  </a:lnTo>
                  <a:lnTo>
                    <a:pt x="716" y="358"/>
                  </a:lnTo>
                  <a:lnTo>
                    <a:pt x="720" y="356"/>
                  </a:lnTo>
                  <a:lnTo>
                    <a:pt x="722" y="354"/>
                  </a:lnTo>
                  <a:lnTo>
                    <a:pt x="731" y="349"/>
                  </a:lnTo>
                  <a:lnTo>
                    <a:pt x="733" y="349"/>
                  </a:lnTo>
                  <a:lnTo>
                    <a:pt x="740" y="349"/>
                  </a:lnTo>
                  <a:lnTo>
                    <a:pt x="742" y="349"/>
                  </a:lnTo>
                  <a:lnTo>
                    <a:pt x="744" y="347"/>
                  </a:lnTo>
                  <a:lnTo>
                    <a:pt x="747" y="347"/>
                  </a:lnTo>
                  <a:lnTo>
                    <a:pt x="749" y="347"/>
                  </a:lnTo>
                  <a:lnTo>
                    <a:pt x="751" y="349"/>
                  </a:lnTo>
                  <a:lnTo>
                    <a:pt x="753" y="352"/>
                  </a:lnTo>
                  <a:lnTo>
                    <a:pt x="755" y="354"/>
                  </a:lnTo>
                  <a:lnTo>
                    <a:pt x="755" y="354"/>
                  </a:lnTo>
                  <a:lnTo>
                    <a:pt x="758" y="354"/>
                  </a:lnTo>
                  <a:lnTo>
                    <a:pt x="764" y="349"/>
                  </a:lnTo>
                  <a:lnTo>
                    <a:pt x="766" y="349"/>
                  </a:lnTo>
                  <a:lnTo>
                    <a:pt x="766" y="347"/>
                  </a:lnTo>
                  <a:lnTo>
                    <a:pt x="766" y="343"/>
                  </a:lnTo>
                  <a:lnTo>
                    <a:pt x="766" y="341"/>
                  </a:lnTo>
                  <a:lnTo>
                    <a:pt x="764" y="334"/>
                  </a:lnTo>
                  <a:lnTo>
                    <a:pt x="764" y="332"/>
                  </a:lnTo>
                  <a:lnTo>
                    <a:pt x="764" y="330"/>
                  </a:lnTo>
                  <a:lnTo>
                    <a:pt x="766" y="330"/>
                  </a:lnTo>
                  <a:lnTo>
                    <a:pt x="766" y="325"/>
                  </a:lnTo>
                  <a:lnTo>
                    <a:pt x="768" y="325"/>
                  </a:lnTo>
                  <a:lnTo>
                    <a:pt x="775" y="316"/>
                  </a:lnTo>
                  <a:lnTo>
                    <a:pt x="782" y="310"/>
                  </a:lnTo>
                  <a:lnTo>
                    <a:pt x="784" y="299"/>
                  </a:lnTo>
                  <a:lnTo>
                    <a:pt x="786" y="257"/>
                  </a:lnTo>
                  <a:lnTo>
                    <a:pt x="788" y="251"/>
                  </a:lnTo>
                  <a:lnTo>
                    <a:pt x="788" y="246"/>
                  </a:lnTo>
                  <a:lnTo>
                    <a:pt x="786" y="242"/>
                  </a:lnTo>
                  <a:lnTo>
                    <a:pt x="786" y="242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15" name="Freeform 19"/>
            <p:cNvSpPr>
              <a:spLocks/>
            </p:cNvSpPr>
            <p:nvPr/>
          </p:nvSpPr>
          <p:spPr bwMode="auto">
            <a:xfrm>
              <a:off x="5924550" y="4968875"/>
              <a:ext cx="520700" cy="490537"/>
            </a:xfrm>
            <a:custGeom>
              <a:avLst/>
              <a:gdLst>
                <a:gd name="T0" fmla="*/ 321 w 328"/>
                <a:gd name="T1" fmla="*/ 127 h 309"/>
                <a:gd name="T2" fmla="*/ 303 w 328"/>
                <a:gd name="T3" fmla="*/ 103 h 309"/>
                <a:gd name="T4" fmla="*/ 292 w 328"/>
                <a:gd name="T5" fmla="*/ 94 h 309"/>
                <a:gd name="T6" fmla="*/ 270 w 328"/>
                <a:gd name="T7" fmla="*/ 88 h 309"/>
                <a:gd name="T8" fmla="*/ 264 w 328"/>
                <a:gd name="T9" fmla="*/ 77 h 309"/>
                <a:gd name="T10" fmla="*/ 251 w 328"/>
                <a:gd name="T11" fmla="*/ 74 h 309"/>
                <a:gd name="T12" fmla="*/ 233 w 328"/>
                <a:gd name="T13" fmla="*/ 70 h 309"/>
                <a:gd name="T14" fmla="*/ 227 w 328"/>
                <a:gd name="T15" fmla="*/ 66 h 309"/>
                <a:gd name="T16" fmla="*/ 187 w 328"/>
                <a:gd name="T17" fmla="*/ 44 h 309"/>
                <a:gd name="T18" fmla="*/ 176 w 328"/>
                <a:gd name="T19" fmla="*/ 39 h 309"/>
                <a:gd name="T20" fmla="*/ 165 w 328"/>
                <a:gd name="T21" fmla="*/ 37 h 309"/>
                <a:gd name="T22" fmla="*/ 154 w 328"/>
                <a:gd name="T23" fmla="*/ 44 h 309"/>
                <a:gd name="T24" fmla="*/ 150 w 328"/>
                <a:gd name="T25" fmla="*/ 44 h 309"/>
                <a:gd name="T26" fmla="*/ 136 w 328"/>
                <a:gd name="T27" fmla="*/ 48 h 309"/>
                <a:gd name="T28" fmla="*/ 128 w 328"/>
                <a:gd name="T29" fmla="*/ 46 h 309"/>
                <a:gd name="T30" fmla="*/ 117 w 328"/>
                <a:gd name="T31" fmla="*/ 41 h 309"/>
                <a:gd name="T32" fmla="*/ 110 w 328"/>
                <a:gd name="T33" fmla="*/ 52 h 309"/>
                <a:gd name="T34" fmla="*/ 97 w 328"/>
                <a:gd name="T35" fmla="*/ 50 h 309"/>
                <a:gd name="T36" fmla="*/ 71 w 328"/>
                <a:gd name="T37" fmla="*/ 46 h 309"/>
                <a:gd name="T38" fmla="*/ 25 w 328"/>
                <a:gd name="T39" fmla="*/ 13 h 309"/>
                <a:gd name="T40" fmla="*/ 14 w 328"/>
                <a:gd name="T41" fmla="*/ 2 h 309"/>
                <a:gd name="T42" fmla="*/ 7 w 328"/>
                <a:gd name="T43" fmla="*/ 4 h 309"/>
                <a:gd name="T44" fmla="*/ 5 w 328"/>
                <a:gd name="T45" fmla="*/ 15 h 309"/>
                <a:gd name="T46" fmla="*/ 0 w 328"/>
                <a:gd name="T47" fmla="*/ 30 h 309"/>
                <a:gd name="T48" fmla="*/ 3 w 328"/>
                <a:gd name="T49" fmla="*/ 46 h 309"/>
                <a:gd name="T50" fmla="*/ 7 w 328"/>
                <a:gd name="T51" fmla="*/ 77 h 309"/>
                <a:gd name="T52" fmla="*/ 16 w 328"/>
                <a:gd name="T53" fmla="*/ 85 h 309"/>
                <a:gd name="T54" fmla="*/ 22 w 328"/>
                <a:gd name="T55" fmla="*/ 90 h 309"/>
                <a:gd name="T56" fmla="*/ 29 w 328"/>
                <a:gd name="T57" fmla="*/ 105 h 309"/>
                <a:gd name="T58" fmla="*/ 40 w 328"/>
                <a:gd name="T59" fmla="*/ 153 h 309"/>
                <a:gd name="T60" fmla="*/ 46 w 328"/>
                <a:gd name="T61" fmla="*/ 180 h 309"/>
                <a:gd name="T62" fmla="*/ 60 w 328"/>
                <a:gd name="T63" fmla="*/ 202 h 309"/>
                <a:gd name="T64" fmla="*/ 57 w 328"/>
                <a:gd name="T65" fmla="*/ 232 h 309"/>
                <a:gd name="T66" fmla="*/ 64 w 328"/>
                <a:gd name="T67" fmla="*/ 263 h 309"/>
                <a:gd name="T68" fmla="*/ 57 w 328"/>
                <a:gd name="T69" fmla="*/ 285 h 309"/>
                <a:gd name="T70" fmla="*/ 60 w 328"/>
                <a:gd name="T71" fmla="*/ 307 h 309"/>
                <a:gd name="T72" fmla="*/ 75 w 328"/>
                <a:gd name="T73" fmla="*/ 307 h 309"/>
                <a:gd name="T74" fmla="*/ 82 w 328"/>
                <a:gd name="T75" fmla="*/ 300 h 309"/>
                <a:gd name="T76" fmla="*/ 88 w 328"/>
                <a:gd name="T77" fmla="*/ 292 h 309"/>
                <a:gd name="T78" fmla="*/ 93 w 328"/>
                <a:gd name="T79" fmla="*/ 287 h 309"/>
                <a:gd name="T80" fmla="*/ 106 w 328"/>
                <a:gd name="T81" fmla="*/ 289 h 309"/>
                <a:gd name="T82" fmla="*/ 123 w 328"/>
                <a:gd name="T83" fmla="*/ 287 h 309"/>
                <a:gd name="T84" fmla="*/ 134 w 328"/>
                <a:gd name="T85" fmla="*/ 283 h 309"/>
                <a:gd name="T86" fmla="*/ 143 w 328"/>
                <a:gd name="T87" fmla="*/ 281 h 309"/>
                <a:gd name="T88" fmla="*/ 150 w 328"/>
                <a:gd name="T89" fmla="*/ 274 h 309"/>
                <a:gd name="T90" fmla="*/ 165 w 328"/>
                <a:gd name="T91" fmla="*/ 281 h 309"/>
                <a:gd name="T92" fmla="*/ 191 w 328"/>
                <a:gd name="T93" fmla="*/ 285 h 309"/>
                <a:gd name="T94" fmla="*/ 207 w 328"/>
                <a:gd name="T95" fmla="*/ 281 h 309"/>
                <a:gd name="T96" fmla="*/ 216 w 328"/>
                <a:gd name="T97" fmla="*/ 283 h 309"/>
                <a:gd name="T98" fmla="*/ 229 w 328"/>
                <a:gd name="T99" fmla="*/ 285 h 309"/>
                <a:gd name="T100" fmla="*/ 253 w 328"/>
                <a:gd name="T101" fmla="*/ 283 h 309"/>
                <a:gd name="T102" fmla="*/ 253 w 328"/>
                <a:gd name="T103" fmla="*/ 267 h 309"/>
                <a:gd name="T104" fmla="*/ 251 w 328"/>
                <a:gd name="T105" fmla="*/ 256 h 309"/>
                <a:gd name="T106" fmla="*/ 257 w 328"/>
                <a:gd name="T107" fmla="*/ 250 h 309"/>
                <a:gd name="T108" fmla="*/ 270 w 328"/>
                <a:gd name="T109" fmla="*/ 243 h 309"/>
                <a:gd name="T110" fmla="*/ 275 w 328"/>
                <a:gd name="T111" fmla="*/ 237 h 309"/>
                <a:gd name="T112" fmla="*/ 292 w 328"/>
                <a:gd name="T113" fmla="*/ 232 h 309"/>
                <a:gd name="T114" fmla="*/ 306 w 328"/>
                <a:gd name="T115" fmla="*/ 213 h 309"/>
                <a:gd name="T116" fmla="*/ 319 w 328"/>
                <a:gd name="T117" fmla="*/ 202 h 309"/>
                <a:gd name="T118" fmla="*/ 328 w 328"/>
                <a:gd name="T119" fmla="*/ 173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8" h="309">
                  <a:moveTo>
                    <a:pt x="328" y="140"/>
                  </a:moveTo>
                  <a:lnTo>
                    <a:pt x="325" y="136"/>
                  </a:lnTo>
                  <a:lnTo>
                    <a:pt x="323" y="129"/>
                  </a:lnTo>
                  <a:lnTo>
                    <a:pt x="321" y="127"/>
                  </a:lnTo>
                  <a:lnTo>
                    <a:pt x="319" y="120"/>
                  </a:lnTo>
                  <a:lnTo>
                    <a:pt x="317" y="116"/>
                  </a:lnTo>
                  <a:lnTo>
                    <a:pt x="312" y="112"/>
                  </a:lnTo>
                  <a:lnTo>
                    <a:pt x="303" y="103"/>
                  </a:lnTo>
                  <a:lnTo>
                    <a:pt x="301" y="101"/>
                  </a:lnTo>
                  <a:lnTo>
                    <a:pt x="299" y="101"/>
                  </a:lnTo>
                  <a:lnTo>
                    <a:pt x="295" y="96"/>
                  </a:lnTo>
                  <a:lnTo>
                    <a:pt x="292" y="94"/>
                  </a:lnTo>
                  <a:lnTo>
                    <a:pt x="284" y="94"/>
                  </a:lnTo>
                  <a:lnTo>
                    <a:pt x="281" y="94"/>
                  </a:lnTo>
                  <a:lnTo>
                    <a:pt x="275" y="90"/>
                  </a:lnTo>
                  <a:lnTo>
                    <a:pt x="270" y="88"/>
                  </a:lnTo>
                  <a:lnTo>
                    <a:pt x="268" y="85"/>
                  </a:lnTo>
                  <a:lnTo>
                    <a:pt x="270" y="83"/>
                  </a:lnTo>
                  <a:lnTo>
                    <a:pt x="266" y="79"/>
                  </a:lnTo>
                  <a:lnTo>
                    <a:pt x="264" y="77"/>
                  </a:lnTo>
                  <a:lnTo>
                    <a:pt x="262" y="74"/>
                  </a:lnTo>
                  <a:lnTo>
                    <a:pt x="253" y="74"/>
                  </a:lnTo>
                  <a:lnTo>
                    <a:pt x="251" y="74"/>
                  </a:lnTo>
                  <a:lnTo>
                    <a:pt x="251" y="74"/>
                  </a:lnTo>
                  <a:lnTo>
                    <a:pt x="248" y="72"/>
                  </a:lnTo>
                  <a:lnTo>
                    <a:pt x="248" y="72"/>
                  </a:lnTo>
                  <a:lnTo>
                    <a:pt x="242" y="70"/>
                  </a:lnTo>
                  <a:lnTo>
                    <a:pt x="233" y="70"/>
                  </a:lnTo>
                  <a:lnTo>
                    <a:pt x="231" y="68"/>
                  </a:lnTo>
                  <a:lnTo>
                    <a:pt x="229" y="66"/>
                  </a:lnTo>
                  <a:lnTo>
                    <a:pt x="229" y="66"/>
                  </a:lnTo>
                  <a:lnTo>
                    <a:pt x="227" y="66"/>
                  </a:lnTo>
                  <a:lnTo>
                    <a:pt x="213" y="57"/>
                  </a:lnTo>
                  <a:lnTo>
                    <a:pt x="200" y="48"/>
                  </a:lnTo>
                  <a:lnTo>
                    <a:pt x="194" y="44"/>
                  </a:lnTo>
                  <a:lnTo>
                    <a:pt x="187" y="44"/>
                  </a:lnTo>
                  <a:lnTo>
                    <a:pt x="180" y="44"/>
                  </a:lnTo>
                  <a:lnTo>
                    <a:pt x="178" y="44"/>
                  </a:lnTo>
                  <a:lnTo>
                    <a:pt x="178" y="41"/>
                  </a:lnTo>
                  <a:lnTo>
                    <a:pt x="176" y="39"/>
                  </a:lnTo>
                  <a:lnTo>
                    <a:pt x="176" y="37"/>
                  </a:lnTo>
                  <a:lnTo>
                    <a:pt x="176" y="37"/>
                  </a:lnTo>
                  <a:lnTo>
                    <a:pt x="172" y="37"/>
                  </a:lnTo>
                  <a:lnTo>
                    <a:pt x="165" y="37"/>
                  </a:lnTo>
                  <a:lnTo>
                    <a:pt x="163" y="39"/>
                  </a:lnTo>
                  <a:lnTo>
                    <a:pt x="156" y="44"/>
                  </a:lnTo>
                  <a:lnTo>
                    <a:pt x="156" y="44"/>
                  </a:lnTo>
                  <a:lnTo>
                    <a:pt x="154" y="44"/>
                  </a:lnTo>
                  <a:lnTo>
                    <a:pt x="154" y="44"/>
                  </a:lnTo>
                  <a:lnTo>
                    <a:pt x="152" y="41"/>
                  </a:lnTo>
                  <a:lnTo>
                    <a:pt x="152" y="41"/>
                  </a:lnTo>
                  <a:lnTo>
                    <a:pt x="150" y="44"/>
                  </a:lnTo>
                  <a:lnTo>
                    <a:pt x="147" y="44"/>
                  </a:lnTo>
                  <a:lnTo>
                    <a:pt x="143" y="46"/>
                  </a:lnTo>
                  <a:lnTo>
                    <a:pt x="141" y="48"/>
                  </a:lnTo>
                  <a:lnTo>
                    <a:pt x="136" y="48"/>
                  </a:lnTo>
                  <a:lnTo>
                    <a:pt x="134" y="44"/>
                  </a:lnTo>
                  <a:lnTo>
                    <a:pt x="130" y="44"/>
                  </a:lnTo>
                  <a:lnTo>
                    <a:pt x="130" y="44"/>
                  </a:lnTo>
                  <a:lnTo>
                    <a:pt x="128" y="46"/>
                  </a:lnTo>
                  <a:lnTo>
                    <a:pt x="126" y="46"/>
                  </a:lnTo>
                  <a:lnTo>
                    <a:pt x="126" y="46"/>
                  </a:lnTo>
                  <a:lnTo>
                    <a:pt x="123" y="44"/>
                  </a:lnTo>
                  <a:lnTo>
                    <a:pt x="117" y="41"/>
                  </a:lnTo>
                  <a:lnTo>
                    <a:pt x="117" y="44"/>
                  </a:lnTo>
                  <a:lnTo>
                    <a:pt x="115" y="50"/>
                  </a:lnTo>
                  <a:lnTo>
                    <a:pt x="112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04" y="50"/>
                  </a:lnTo>
                  <a:lnTo>
                    <a:pt x="99" y="50"/>
                  </a:lnTo>
                  <a:lnTo>
                    <a:pt x="97" y="50"/>
                  </a:lnTo>
                  <a:lnTo>
                    <a:pt x="95" y="50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71" y="46"/>
                  </a:lnTo>
                  <a:lnTo>
                    <a:pt x="66" y="44"/>
                  </a:lnTo>
                  <a:lnTo>
                    <a:pt x="60" y="35"/>
                  </a:lnTo>
                  <a:lnTo>
                    <a:pt x="55" y="33"/>
                  </a:lnTo>
                  <a:lnTo>
                    <a:pt x="25" y="13"/>
                  </a:lnTo>
                  <a:lnTo>
                    <a:pt x="20" y="9"/>
                  </a:lnTo>
                  <a:lnTo>
                    <a:pt x="18" y="4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1" y="0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5" y="9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5" y="24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33"/>
                  </a:lnTo>
                  <a:lnTo>
                    <a:pt x="0" y="39"/>
                  </a:lnTo>
                  <a:lnTo>
                    <a:pt x="0" y="41"/>
                  </a:lnTo>
                  <a:lnTo>
                    <a:pt x="3" y="46"/>
                  </a:lnTo>
                  <a:lnTo>
                    <a:pt x="3" y="52"/>
                  </a:lnTo>
                  <a:lnTo>
                    <a:pt x="5" y="59"/>
                  </a:lnTo>
                  <a:lnTo>
                    <a:pt x="7" y="72"/>
                  </a:lnTo>
                  <a:lnTo>
                    <a:pt x="7" y="77"/>
                  </a:lnTo>
                  <a:lnTo>
                    <a:pt x="9" y="81"/>
                  </a:lnTo>
                  <a:lnTo>
                    <a:pt x="11" y="83"/>
                  </a:lnTo>
                  <a:lnTo>
                    <a:pt x="14" y="85"/>
                  </a:lnTo>
                  <a:lnTo>
                    <a:pt x="16" y="85"/>
                  </a:lnTo>
                  <a:lnTo>
                    <a:pt x="18" y="85"/>
                  </a:lnTo>
                  <a:lnTo>
                    <a:pt x="18" y="88"/>
                  </a:lnTo>
                  <a:lnTo>
                    <a:pt x="20" y="88"/>
                  </a:lnTo>
                  <a:lnTo>
                    <a:pt x="22" y="90"/>
                  </a:lnTo>
                  <a:lnTo>
                    <a:pt x="25" y="96"/>
                  </a:lnTo>
                  <a:lnTo>
                    <a:pt x="29" y="101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7" y="105"/>
                  </a:lnTo>
                  <a:lnTo>
                    <a:pt x="18" y="107"/>
                  </a:lnTo>
                  <a:lnTo>
                    <a:pt x="20" y="112"/>
                  </a:lnTo>
                  <a:lnTo>
                    <a:pt x="40" y="153"/>
                  </a:lnTo>
                  <a:lnTo>
                    <a:pt x="42" y="167"/>
                  </a:lnTo>
                  <a:lnTo>
                    <a:pt x="44" y="173"/>
                  </a:lnTo>
                  <a:lnTo>
                    <a:pt x="46" y="177"/>
                  </a:lnTo>
                  <a:lnTo>
                    <a:pt x="46" y="180"/>
                  </a:lnTo>
                  <a:lnTo>
                    <a:pt x="51" y="186"/>
                  </a:lnTo>
                  <a:lnTo>
                    <a:pt x="57" y="195"/>
                  </a:lnTo>
                  <a:lnTo>
                    <a:pt x="57" y="199"/>
                  </a:lnTo>
                  <a:lnTo>
                    <a:pt x="60" y="202"/>
                  </a:lnTo>
                  <a:lnTo>
                    <a:pt x="60" y="204"/>
                  </a:lnTo>
                  <a:lnTo>
                    <a:pt x="60" y="213"/>
                  </a:lnTo>
                  <a:lnTo>
                    <a:pt x="60" y="219"/>
                  </a:lnTo>
                  <a:lnTo>
                    <a:pt x="57" y="232"/>
                  </a:lnTo>
                  <a:lnTo>
                    <a:pt x="57" y="246"/>
                  </a:lnTo>
                  <a:lnTo>
                    <a:pt x="57" y="248"/>
                  </a:lnTo>
                  <a:lnTo>
                    <a:pt x="62" y="256"/>
                  </a:lnTo>
                  <a:lnTo>
                    <a:pt x="64" y="263"/>
                  </a:lnTo>
                  <a:lnTo>
                    <a:pt x="66" y="267"/>
                  </a:lnTo>
                  <a:lnTo>
                    <a:pt x="62" y="283"/>
                  </a:lnTo>
                  <a:lnTo>
                    <a:pt x="60" y="285"/>
                  </a:lnTo>
                  <a:lnTo>
                    <a:pt x="57" y="285"/>
                  </a:lnTo>
                  <a:lnTo>
                    <a:pt x="53" y="285"/>
                  </a:lnTo>
                  <a:lnTo>
                    <a:pt x="51" y="285"/>
                  </a:lnTo>
                  <a:lnTo>
                    <a:pt x="51" y="287"/>
                  </a:lnTo>
                  <a:lnTo>
                    <a:pt x="60" y="307"/>
                  </a:lnTo>
                  <a:lnTo>
                    <a:pt x="62" y="309"/>
                  </a:lnTo>
                  <a:lnTo>
                    <a:pt x="64" y="309"/>
                  </a:lnTo>
                  <a:lnTo>
                    <a:pt x="71" y="307"/>
                  </a:lnTo>
                  <a:lnTo>
                    <a:pt x="75" y="307"/>
                  </a:lnTo>
                  <a:lnTo>
                    <a:pt x="77" y="307"/>
                  </a:lnTo>
                  <a:lnTo>
                    <a:pt x="79" y="305"/>
                  </a:lnTo>
                  <a:lnTo>
                    <a:pt x="79" y="305"/>
                  </a:lnTo>
                  <a:lnTo>
                    <a:pt x="82" y="300"/>
                  </a:lnTo>
                  <a:lnTo>
                    <a:pt x="84" y="298"/>
                  </a:lnTo>
                  <a:lnTo>
                    <a:pt x="86" y="296"/>
                  </a:lnTo>
                  <a:lnTo>
                    <a:pt x="88" y="294"/>
                  </a:lnTo>
                  <a:lnTo>
                    <a:pt x="88" y="292"/>
                  </a:lnTo>
                  <a:lnTo>
                    <a:pt x="90" y="289"/>
                  </a:lnTo>
                  <a:lnTo>
                    <a:pt x="90" y="287"/>
                  </a:lnTo>
                  <a:lnTo>
                    <a:pt x="90" y="287"/>
                  </a:lnTo>
                  <a:lnTo>
                    <a:pt x="93" y="287"/>
                  </a:lnTo>
                  <a:lnTo>
                    <a:pt x="95" y="287"/>
                  </a:lnTo>
                  <a:lnTo>
                    <a:pt x="99" y="289"/>
                  </a:lnTo>
                  <a:lnTo>
                    <a:pt x="101" y="289"/>
                  </a:lnTo>
                  <a:lnTo>
                    <a:pt x="106" y="289"/>
                  </a:lnTo>
                  <a:lnTo>
                    <a:pt x="106" y="289"/>
                  </a:lnTo>
                  <a:lnTo>
                    <a:pt x="110" y="289"/>
                  </a:lnTo>
                  <a:lnTo>
                    <a:pt x="115" y="289"/>
                  </a:lnTo>
                  <a:lnTo>
                    <a:pt x="123" y="287"/>
                  </a:lnTo>
                  <a:lnTo>
                    <a:pt x="128" y="285"/>
                  </a:lnTo>
                  <a:lnTo>
                    <a:pt x="130" y="285"/>
                  </a:lnTo>
                  <a:lnTo>
                    <a:pt x="132" y="285"/>
                  </a:lnTo>
                  <a:lnTo>
                    <a:pt x="134" y="283"/>
                  </a:lnTo>
                  <a:lnTo>
                    <a:pt x="136" y="281"/>
                  </a:lnTo>
                  <a:lnTo>
                    <a:pt x="139" y="281"/>
                  </a:lnTo>
                  <a:lnTo>
                    <a:pt x="141" y="281"/>
                  </a:lnTo>
                  <a:lnTo>
                    <a:pt x="143" y="281"/>
                  </a:lnTo>
                  <a:lnTo>
                    <a:pt x="145" y="281"/>
                  </a:lnTo>
                  <a:lnTo>
                    <a:pt x="147" y="278"/>
                  </a:lnTo>
                  <a:lnTo>
                    <a:pt x="150" y="278"/>
                  </a:lnTo>
                  <a:lnTo>
                    <a:pt x="150" y="274"/>
                  </a:lnTo>
                  <a:lnTo>
                    <a:pt x="152" y="272"/>
                  </a:lnTo>
                  <a:lnTo>
                    <a:pt x="158" y="276"/>
                  </a:lnTo>
                  <a:lnTo>
                    <a:pt x="161" y="278"/>
                  </a:lnTo>
                  <a:lnTo>
                    <a:pt x="165" y="281"/>
                  </a:lnTo>
                  <a:lnTo>
                    <a:pt x="172" y="285"/>
                  </a:lnTo>
                  <a:lnTo>
                    <a:pt x="174" y="287"/>
                  </a:lnTo>
                  <a:lnTo>
                    <a:pt x="187" y="294"/>
                  </a:lnTo>
                  <a:lnTo>
                    <a:pt x="191" y="285"/>
                  </a:lnTo>
                  <a:lnTo>
                    <a:pt x="196" y="281"/>
                  </a:lnTo>
                  <a:lnTo>
                    <a:pt x="200" y="278"/>
                  </a:lnTo>
                  <a:lnTo>
                    <a:pt x="202" y="278"/>
                  </a:lnTo>
                  <a:lnTo>
                    <a:pt x="207" y="281"/>
                  </a:lnTo>
                  <a:lnTo>
                    <a:pt x="207" y="281"/>
                  </a:lnTo>
                  <a:lnTo>
                    <a:pt x="209" y="283"/>
                  </a:lnTo>
                  <a:lnTo>
                    <a:pt x="211" y="283"/>
                  </a:lnTo>
                  <a:lnTo>
                    <a:pt x="216" y="283"/>
                  </a:lnTo>
                  <a:lnTo>
                    <a:pt x="220" y="283"/>
                  </a:lnTo>
                  <a:lnTo>
                    <a:pt x="224" y="283"/>
                  </a:lnTo>
                  <a:lnTo>
                    <a:pt x="227" y="285"/>
                  </a:lnTo>
                  <a:lnTo>
                    <a:pt x="229" y="285"/>
                  </a:lnTo>
                  <a:lnTo>
                    <a:pt x="231" y="285"/>
                  </a:lnTo>
                  <a:lnTo>
                    <a:pt x="233" y="287"/>
                  </a:lnTo>
                  <a:lnTo>
                    <a:pt x="237" y="285"/>
                  </a:lnTo>
                  <a:lnTo>
                    <a:pt x="253" y="283"/>
                  </a:lnTo>
                  <a:lnTo>
                    <a:pt x="255" y="276"/>
                  </a:lnTo>
                  <a:lnTo>
                    <a:pt x="255" y="272"/>
                  </a:lnTo>
                  <a:lnTo>
                    <a:pt x="255" y="270"/>
                  </a:lnTo>
                  <a:lnTo>
                    <a:pt x="253" y="267"/>
                  </a:lnTo>
                  <a:lnTo>
                    <a:pt x="251" y="263"/>
                  </a:lnTo>
                  <a:lnTo>
                    <a:pt x="251" y="261"/>
                  </a:lnTo>
                  <a:lnTo>
                    <a:pt x="251" y="259"/>
                  </a:lnTo>
                  <a:lnTo>
                    <a:pt x="251" y="256"/>
                  </a:lnTo>
                  <a:lnTo>
                    <a:pt x="251" y="256"/>
                  </a:lnTo>
                  <a:lnTo>
                    <a:pt x="253" y="254"/>
                  </a:lnTo>
                  <a:lnTo>
                    <a:pt x="255" y="252"/>
                  </a:lnTo>
                  <a:lnTo>
                    <a:pt x="257" y="250"/>
                  </a:lnTo>
                  <a:lnTo>
                    <a:pt x="259" y="250"/>
                  </a:lnTo>
                  <a:lnTo>
                    <a:pt x="264" y="248"/>
                  </a:lnTo>
                  <a:lnTo>
                    <a:pt x="266" y="246"/>
                  </a:lnTo>
                  <a:lnTo>
                    <a:pt x="270" y="243"/>
                  </a:lnTo>
                  <a:lnTo>
                    <a:pt x="270" y="241"/>
                  </a:lnTo>
                  <a:lnTo>
                    <a:pt x="273" y="239"/>
                  </a:lnTo>
                  <a:lnTo>
                    <a:pt x="275" y="239"/>
                  </a:lnTo>
                  <a:lnTo>
                    <a:pt x="275" y="237"/>
                  </a:lnTo>
                  <a:lnTo>
                    <a:pt x="279" y="237"/>
                  </a:lnTo>
                  <a:lnTo>
                    <a:pt x="284" y="235"/>
                  </a:lnTo>
                  <a:lnTo>
                    <a:pt x="286" y="235"/>
                  </a:lnTo>
                  <a:lnTo>
                    <a:pt x="292" y="232"/>
                  </a:lnTo>
                  <a:lnTo>
                    <a:pt x="295" y="230"/>
                  </a:lnTo>
                  <a:lnTo>
                    <a:pt x="299" y="221"/>
                  </a:lnTo>
                  <a:lnTo>
                    <a:pt x="301" y="217"/>
                  </a:lnTo>
                  <a:lnTo>
                    <a:pt x="306" y="213"/>
                  </a:lnTo>
                  <a:lnTo>
                    <a:pt x="310" y="208"/>
                  </a:lnTo>
                  <a:lnTo>
                    <a:pt x="310" y="206"/>
                  </a:lnTo>
                  <a:lnTo>
                    <a:pt x="312" y="204"/>
                  </a:lnTo>
                  <a:lnTo>
                    <a:pt x="319" y="202"/>
                  </a:lnTo>
                  <a:lnTo>
                    <a:pt x="319" y="199"/>
                  </a:lnTo>
                  <a:lnTo>
                    <a:pt x="321" y="197"/>
                  </a:lnTo>
                  <a:lnTo>
                    <a:pt x="323" y="195"/>
                  </a:lnTo>
                  <a:lnTo>
                    <a:pt x="328" y="173"/>
                  </a:lnTo>
                  <a:lnTo>
                    <a:pt x="328" y="140"/>
                  </a:lnTo>
                  <a:lnTo>
                    <a:pt x="328" y="140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</p:grpSp>
      <p:grpSp>
        <p:nvGrpSpPr>
          <p:cNvPr id="116" name="62 Grupo"/>
          <p:cNvGrpSpPr/>
          <p:nvPr/>
        </p:nvGrpSpPr>
        <p:grpSpPr>
          <a:xfrm>
            <a:off x="546583" y="2064106"/>
            <a:ext cx="1355726" cy="2187575"/>
            <a:chOff x="3714750" y="2041525"/>
            <a:chExt cx="1355726" cy="2187575"/>
          </a:xfrm>
          <a:solidFill>
            <a:schemeClr val="accent5"/>
          </a:solidFill>
        </p:grpSpPr>
        <p:sp>
          <p:nvSpPr>
            <p:cNvPr id="117" name="Freeform 20"/>
            <p:cNvSpPr>
              <a:spLocks/>
            </p:cNvSpPr>
            <p:nvPr/>
          </p:nvSpPr>
          <p:spPr bwMode="auto">
            <a:xfrm>
              <a:off x="3795713" y="2041525"/>
              <a:ext cx="265113" cy="241300"/>
            </a:xfrm>
            <a:custGeom>
              <a:avLst/>
              <a:gdLst>
                <a:gd name="T0" fmla="*/ 165 w 167"/>
                <a:gd name="T1" fmla="*/ 88 h 152"/>
                <a:gd name="T2" fmla="*/ 162 w 167"/>
                <a:gd name="T3" fmla="*/ 84 h 152"/>
                <a:gd name="T4" fmla="*/ 162 w 167"/>
                <a:gd name="T5" fmla="*/ 79 h 152"/>
                <a:gd name="T6" fmla="*/ 156 w 167"/>
                <a:gd name="T7" fmla="*/ 70 h 152"/>
                <a:gd name="T8" fmla="*/ 156 w 167"/>
                <a:gd name="T9" fmla="*/ 64 h 152"/>
                <a:gd name="T10" fmla="*/ 158 w 167"/>
                <a:gd name="T11" fmla="*/ 62 h 152"/>
                <a:gd name="T12" fmla="*/ 156 w 167"/>
                <a:gd name="T13" fmla="*/ 57 h 152"/>
                <a:gd name="T14" fmla="*/ 156 w 167"/>
                <a:gd name="T15" fmla="*/ 53 h 152"/>
                <a:gd name="T16" fmla="*/ 158 w 167"/>
                <a:gd name="T17" fmla="*/ 49 h 152"/>
                <a:gd name="T18" fmla="*/ 158 w 167"/>
                <a:gd name="T19" fmla="*/ 44 h 152"/>
                <a:gd name="T20" fmla="*/ 156 w 167"/>
                <a:gd name="T21" fmla="*/ 38 h 152"/>
                <a:gd name="T22" fmla="*/ 154 w 167"/>
                <a:gd name="T23" fmla="*/ 35 h 152"/>
                <a:gd name="T24" fmla="*/ 151 w 167"/>
                <a:gd name="T25" fmla="*/ 33 h 152"/>
                <a:gd name="T26" fmla="*/ 154 w 167"/>
                <a:gd name="T27" fmla="*/ 27 h 152"/>
                <a:gd name="T28" fmla="*/ 154 w 167"/>
                <a:gd name="T29" fmla="*/ 22 h 152"/>
                <a:gd name="T30" fmla="*/ 151 w 167"/>
                <a:gd name="T31" fmla="*/ 20 h 152"/>
                <a:gd name="T32" fmla="*/ 147 w 167"/>
                <a:gd name="T33" fmla="*/ 18 h 152"/>
                <a:gd name="T34" fmla="*/ 147 w 167"/>
                <a:gd name="T35" fmla="*/ 9 h 152"/>
                <a:gd name="T36" fmla="*/ 145 w 167"/>
                <a:gd name="T37" fmla="*/ 5 h 152"/>
                <a:gd name="T38" fmla="*/ 136 w 167"/>
                <a:gd name="T39" fmla="*/ 0 h 152"/>
                <a:gd name="T40" fmla="*/ 134 w 167"/>
                <a:gd name="T41" fmla="*/ 2 h 152"/>
                <a:gd name="T42" fmla="*/ 132 w 167"/>
                <a:gd name="T43" fmla="*/ 7 h 152"/>
                <a:gd name="T44" fmla="*/ 129 w 167"/>
                <a:gd name="T45" fmla="*/ 13 h 152"/>
                <a:gd name="T46" fmla="*/ 123 w 167"/>
                <a:gd name="T47" fmla="*/ 18 h 152"/>
                <a:gd name="T48" fmla="*/ 105 w 167"/>
                <a:gd name="T49" fmla="*/ 18 h 152"/>
                <a:gd name="T50" fmla="*/ 101 w 167"/>
                <a:gd name="T51" fmla="*/ 20 h 152"/>
                <a:gd name="T52" fmla="*/ 99 w 167"/>
                <a:gd name="T53" fmla="*/ 20 h 152"/>
                <a:gd name="T54" fmla="*/ 90 w 167"/>
                <a:gd name="T55" fmla="*/ 35 h 152"/>
                <a:gd name="T56" fmla="*/ 55 w 167"/>
                <a:gd name="T57" fmla="*/ 59 h 152"/>
                <a:gd name="T58" fmla="*/ 42 w 167"/>
                <a:gd name="T59" fmla="*/ 70 h 152"/>
                <a:gd name="T60" fmla="*/ 37 w 167"/>
                <a:gd name="T61" fmla="*/ 81 h 152"/>
                <a:gd name="T62" fmla="*/ 37 w 167"/>
                <a:gd name="T63" fmla="*/ 88 h 152"/>
                <a:gd name="T64" fmla="*/ 26 w 167"/>
                <a:gd name="T65" fmla="*/ 97 h 152"/>
                <a:gd name="T66" fmla="*/ 13 w 167"/>
                <a:gd name="T67" fmla="*/ 108 h 152"/>
                <a:gd name="T68" fmla="*/ 0 w 167"/>
                <a:gd name="T69" fmla="*/ 128 h 152"/>
                <a:gd name="T70" fmla="*/ 0 w 167"/>
                <a:gd name="T71" fmla="*/ 128 h 152"/>
                <a:gd name="T72" fmla="*/ 15 w 167"/>
                <a:gd name="T73" fmla="*/ 141 h 152"/>
                <a:gd name="T74" fmla="*/ 39 w 167"/>
                <a:gd name="T75" fmla="*/ 143 h 152"/>
                <a:gd name="T76" fmla="*/ 50 w 167"/>
                <a:gd name="T77" fmla="*/ 145 h 152"/>
                <a:gd name="T78" fmla="*/ 72 w 167"/>
                <a:gd name="T79" fmla="*/ 152 h 152"/>
                <a:gd name="T80" fmla="*/ 74 w 167"/>
                <a:gd name="T81" fmla="*/ 152 h 152"/>
                <a:gd name="T82" fmla="*/ 79 w 167"/>
                <a:gd name="T83" fmla="*/ 145 h 152"/>
                <a:gd name="T84" fmla="*/ 103 w 167"/>
                <a:gd name="T85" fmla="*/ 125 h 152"/>
                <a:gd name="T86" fmla="*/ 103 w 167"/>
                <a:gd name="T87" fmla="*/ 121 h 152"/>
                <a:gd name="T88" fmla="*/ 107 w 167"/>
                <a:gd name="T89" fmla="*/ 112 h 152"/>
                <a:gd name="T90" fmla="*/ 114 w 167"/>
                <a:gd name="T91" fmla="*/ 110 h 152"/>
                <a:gd name="T92" fmla="*/ 123 w 167"/>
                <a:gd name="T93" fmla="*/ 110 h 152"/>
                <a:gd name="T94" fmla="*/ 134 w 167"/>
                <a:gd name="T95" fmla="*/ 114 h 152"/>
                <a:gd name="T96" fmla="*/ 140 w 167"/>
                <a:gd name="T97" fmla="*/ 114 h 152"/>
                <a:gd name="T98" fmla="*/ 147 w 167"/>
                <a:gd name="T99" fmla="*/ 106 h 152"/>
                <a:gd name="T100" fmla="*/ 165 w 167"/>
                <a:gd name="T101" fmla="*/ 95 h 152"/>
                <a:gd name="T102" fmla="*/ 167 w 167"/>
                <a:gd name="T103" fmla="*/ 90 h 152"/>
                <a:gd name="T104" fmla="*/ 167 w 167"/>
                <a:gd name="T105" fmla="*/ 88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7" h="152">
                  <a:moveTo>
                    <a:pt x="167" y="88"/>
                  </a:moveTo>
                  <a:lnTo>
                    <a:pt x="165" y="88"/>
                  </a:lnTo>
                  <a:lnTo>
                    <a:pt x="162" y="86"/>
                  </a:lnTo>
                  <a:lnTo>
                    <a:pt x="162" y="84"/>
                  </a:lnTo>
                  <a:lnTo>
                    <a:pt x="162" y="81"/>
                  </a:lnTo>
                  <a:lnTo>
                    <a:pt x="162" y="79"/>
                  </a:lnTo>
                  <a:lnTo>
                    <a:pt x="160" y="75"/>
                  </a:lnTo>
                  <a:lnTo>
                    <a:pt x="156" y="70"/>
                  </a:lnTo>
                  <a:lnTo>
                    <a:pt x="156" y="66"/>
                  </a:lnTo>
                  <a:lnTo>
                    <a:pt x="156" y="64"/>
                  </a:lnTo>
                  <a:lnTo>
                    <a:pt x="156" y="64"/>
                  </a:lnTo>
                  <a:lnTo>
                    <a:pt x="158" y="62"/>
                  </a:lnTo>
                  <a:lnTo>
                    <a:pt x="158" y="59"/>
                  </a:lnTo>
                  <a:lnTo>
                    <a:pt x="156" y="57"/>
                  </a:lnTo>
                  <a:lnTo>
                    <a:pt x="156" y="55"/>
                  </a:lnTo>
                  <a:lnTo>
                    <a:pt x="156" y="53"/>
                  </a:lnTo>
                  <a:lnTo>
                    <a:pt x="156" y="51"/>
                  </a:lnTo>
                  <a:lnTo>
                    <a:pt x="158" y="49"/>
                  </a:lnTo>
                  <a:lnTo>
                    <a:pt x="158" y="46"/>
                  </a:lnTo>
                  <a:lnTo>
                    <a:pt x="158" y="44"/>
                  </a:lnTo>
                  <a:lnTo>
                    <a:pt x="156" y="40"/>
                  </a:lnTo>
                  <a:lnTo>
                    <a:pt x="156" y="38"/>
                  </a:lnTo>
                  <a:lnTo>
                    <a:pt x="156" y="38"/>
                  </a:lnTo>
                  <a:lnTo>
                    <a:pt x="154" y="35"/>
                  </a:lnTo>
                  <a:lnTo>
                    <a:pt x="151" y="35"/>
                  </a:lnTo>
                  <a:lnTo>
                    <a:pt x="151" y="33"/>
                  </a:lnTo>
                  <a:lnTo>
                    <a:pt x="151" y="33"/>
                  </a:lnTo>
                  <a:lnTo>
                    <a:pt x="154" y="27"/>
                  </a:lnTo>
                  <a:lnTo>
                    <a:pt x="154" y="24"/>
                  </a:lnTo>
                  <a:lnTo>
                    <a:pt x="154" y="22"/>
                  </a:lnTo>
                  <a:lnTo>
                    <a:pt x="151" y="20"/>
                  </a:lnTo>
                  <a:lnTo>
                    <a:pt x="151" y="20"/>
                  </a:lnTo>
                  <a:lnTo>
                    <a:pt x="149" y="18"/>
                  </a:lnTo>
                  <a:lnTo>
                    <a:pt x="147" y="18"/>
                  </a:lnTo>
                  <a:lnTo>
                    <a:pt x="147" y="13"/>
                  </a:lnTo>
                  <a:lnTo>
                    <a:pt x="147" y="9"/>
                  </a:lnTo>
                  <a:lnTo>
                    <a:pt x="149" y="7"/>
                  </a:lnTo>
                  <a:lnTo>
                    <a:pt x="145" y="5"/>
                  </a:lnTo>
                  <a:lnTo>
                    <a:pt x="138" y="2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2" y="7"/>
                  </a:lnTo>
                  <a:lnTo>
                    <a:pt x="129" y="9"/>
                  </a:lnTo>
                  <a:lnTo>
                    <a:pt x="129" y="13"/>
                  </a:lnTo>
                  <a:lnTo>
                    <a:pt x="125" y="16"/>
                  </a:lnTo>
                  <a:lnTo>
                    <a:pt x="123" y="18"/>
                  </a:lnTo>
                  <a:lnTo>
                    <a:pt x="118" y="18"/>
                  </a:lnTo>
                  <a:lnTo>
                    <a:pt x="105" y="18"/>
                  </a:lnTo>
                  <a:lnTo>
                    <a:pt x="103" y="18"/>
                  </a:lnTo>
                  <a:lnTo>
                    <a:pt x="101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6" y="24"/>
                  </a:lnTo>
                  <a:lnTo>
                    <a:pt x="90" y="35"/>
                  </a:lnTo>
                  <a:lnTo>
                    <a:pt x="83" y="42"/>
                  </a:lnTo>
                  <a:lnTo>
                    <a:pt x="55" y="59"/>
                  </a:lnTo>
                  <a:lnTo>
                    <a:pt x="48" y="64"/>
                  </a:lnTo>
                  <a:lnTo>
                    <a:pt x="42" y="70"/>
                  </a:lnTo>
                  <a:lnTo>
                    <a:pt x="39" y="77"/>
                  </a:lnTo>
                  <a:lnTo>
                    <a:pt x="37" y="81"/>
                  </a:lnTo>
                  <a:lnTo>
                    <a:pt x="37" y="86"/>
                  </a:lnTo>
                  <a:lnTo>
                    <a:pt x="37" y="88"/>
                  </a:lnTo>
                  <a:lnTo>
                    <a:pt x="33" y="92"/>
                  </a:lnTo>
                  <a:lnTo>
                    <a:pt x="26" y="97"/>
                  </a:lnTo>
                  <a:lnTo>
                    <a:pt x="20" y="101"/>
                  </a:lnTo>
                  <a:lnTo>
                    <a:pt x="13" y="108"/>
                  </a:lnTo>
                  <a:lnTo>
                    <a:pt x="2" y="123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13" y="141"/>
                  </a:lnTo>
                  <a:lnTo>
                    <a:pt x="15" y="141"/>
                  </a:lnTo>
                  <a:lnTo>
                    <a:pt x="24" y="145"/>
                  </a:lnTo>
                  <a:lnTo>
                    <a:pt x="39" y="143"/>
                  </a:lnTo>
                  <a:lnTo>
                    <a:pt x="46" y="143"/>
                  </a:lnTo>
                  <a:lnTo>
                    <a:pt x="50" y="145"/>
                  </a:lnTo>
                  <a:lnTo>
                    <a:pt x="70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4" y="152"/>
                  </a:lnTo>
                  <a:lnTo>
                    <a:pt x="74" y="149"/>
                  </a:lnTo>
                  <a:lnTo>
                    <a:pt x="79" y="145"/>
                  </a:lnTo>
                  <a:lnTo>
                    <a:pt x="103" y="125"/>
                  </a:lnTo>
                  <a:lnTo>
                    <a:pt x="103" y="125"/>
                  </a:lnTo>
                  <a:lnTo>
                    <a:pt x="103" y="125"/>
                  </a:lnTo>
                  <a:lnTo>
                    <a:pt x="103" y="121"/>
                  </a:lnTo>
                  <a:lnTo>
                    <a:pt x="105" y="114"/>
                  </a:lnTo>
                  <a:lnTo>
                    <a:pt x="107" y="112"/>
                  </a:lnTo>
                  <a:lnTo>
                    <a:pt x="112" y="110"/>
                  </a:lnTo>
                  <a:lnTo>
                    <a:pt x="114" y="110"/>
                  </a:lnTo>
                  <a:lnTo>
                    <a:pt x="118" y="110"/>
                  </a:lnTo>
                  <a:lnTo>
                    <a:pt x="123" y="110"/>
                  </a:lnTo>
                  <a:lnTo>
                    <a:pt x="125" y="110"/>
                  </a:lnTo>
                  <a:lnTo>
                    <a:pt x="134" y="114"/>
                  </a:lnTo>
                  <a:lnTo>
                    <a:pt x="136" y="117"/>
                  </a:lnTo>
                  <a:lnTo>
                    <a:pt x="140" y="114"/>
                  </a:lnTo>
                  <a:lnTo>
                    <a:pt x="145" y="110"/>
                  </a:lnTo>
                  <a:lnTo>
                    <a:pt x="147" y="106"/>
                  </a:lnTo>
                  <a:lnTo>
                    <a:pt x="149" y="101"/>
                  </a:lnTo>
                  <a:lnTo>
                    <a:pt x="165" y="95"/>
                  </a:lnTo>
                  <a:lnTo>
                    <a:pt x="167" y="92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88"/>
                  </a:lnTo>
                  <a:lnTo>
                    <a:pt x="167" y="88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18" name="Freeform 21"/>
            <p:cNvSpPr>
              <a:spLocks noEditPoints="1"/>
            </p:cNvSpPr>
            <p:nvPr/>
          </p:nvSpPr>
          <p:spPr bwMode="auto">
            <a:xfrm>
              <a:off x="3714750" y="2239963"/>
              <a:ext cx="620713" cy="714375"/>
            </a:xfrm>
            <a:custGeom>
              <a:avLst/>
              <a:gdLst>
                <a:gd name="T0" fmla="*/ 93 w 391"/>
                <a:gd name="T1" fmla="*/ 433 h 450"/>
                <a:gd name="T2" fmla="*/ 88 w 391"/>
                <a:gd name="T3" fmla="*/ 446 h 450"/>
                <a:gd name="T4" fmla="*/ 93 w 391"/>
                <a:gd name="T5" fmla="*/ 444 h 450"/>
                <a:gd name="T6" fmla="*/ 371 w 391"/>
                <a:gd name="T7" fmla="*/ 156 h 450"/>
                <a:gd name="T8" fmla="*/ 360 w 391"/>
                <a:gd name="T9" fmla="*/ 145 h 450"/>
                <a:gd name="T10" fmla="*/ 349 w 391"/>
                <a:gd name="T11" fmla="*/ 132 h 450"/>
                <a:gd name="T12" fmla="*/ 341 w 391"/>
                <a:gd name="T13" fmla="*/ 88 h 450"/>
                <a:gd name="T14" fmla="*/ 327 w 391"/>
                <a:gd name="T15" fmla="*/ 82 h 450"/>
                <a:gd name="T16" fmla="*/ 279 w 391"/>
                <a:gd name="T17" fmla="*/ 77 h 450"/>
                <a:gd name="T18" fmla="*/ 253 w 391"/>
                <a:gd name="T19" fmla="*/ 60 h 450"/>
                <a:gd name="T20" fmla="*/ 226 w 391"/>
                <a:gd name="T21" fmla="*/ 44 h 450"/>
                <a:gd name="T22" fmla="*/ 211 w 391"/>
                <a:gd name="T23" fmla="*/ 44 h 450"/>
                <a:gd name="T24" fmla="*/ 187 w 391"/>
                <a:gd name="T25" fmla="*/ 71 h 450"/>
                <a:gd name="T26" fmla="*/ 161 w 391"/>
                <a:gd name="T27" fmla="*/ 71 h 450"/>
                <a:gd name="T28" fmla="*/ 176 w 391"/>
                <a:gd name="T29" fmla="*/ 27 h 450"/>
                <a:gd name="T30" fmla="*/ 158 w 391"/>
                <a:gd name="T31" fmla="*/ 11 h 450"/>
                <a:gd name="T32" fmla="*/ 130 w 391"/>
                <a:gd name="T33" fmla="*/ 20 h 450"/>
                <a:gd name="T34" fmla="*/ 101 w 391"/>
                <a:gd name="T35" fmla="*/ 20 h 450"/>
                <a:gd name="T36" fmla="*/ 51 w 391"/>
                <a:gd name="T37" fmla="*/ 3 h 450"/>
                <a:gd name="T38" fmla="*/ 42 w 391"/>
                <a:gd name="T39" fmla="*/ 7 h 450"/>
                <a:gd name="T40" fmla="*/ 11 w 391"/>
                <a:gd name="T41" fmla="*/ 38 h 450"/>
                <a:gd name="T42" fmla="*/ 7 w 391"/>
                <a:gd name="T43" fmla="*/ 71 h 450"/>
                <a:gd name="T44" fmla="*/ 5 w 391"/>
                <a:gd name="T45" fmla="*/ 84 h 450"/>
                <a:gd name="T46" fmla="*/ 3 w 391"/>
                <a:gd name="T47" fmla="*/ 110 h 450"/>
                <a:gd name="T48" fmla="*/ 31 w 391"/>
                <a:gd name="T49" fmla="*/ 152 h 450"/>
                <a:gd name="T50" fmla="*/ 46 w 391"/>
                <a:gd name="T51" fmla="*/ 189 h 450"/>
                <a:gd name="T52" fmla="*/ 31 w 391"/>
                <a:gd name="T53" fmla="*/ 193 h 450"/>
                <a:gd name="T54" fmla="*/ 31 w 391"/>
                <a:gd name="T55" fmla="*/ 209 h 450"/>
                <a:gd name="T56" fmla="*/ 38 w 391"/>
                <a:gd name="T57" fmla="*/ 231 h 450"/>
                <a:gd name="T58" fmla="*/ 75 w 391"/>
                <a:gd name="T59" fmla="*/ 261 h 450"/>
                <a:gd name="T60" fmla="*/ 68 w 391"/>
                <a:gd name="T61" fmla="*/ 332 h 450"/>
                <a:gd name="T62" fmla="*/ 46 w 391"/>
                <a:gd name="T63" fmla="*/ 325 h 450"/>
                <a:gd name="T64" fmla="*/ 35 w 391"/>
                <a:gd name="T65" fmla="*/ 341 h 450"/>
                <a:gd name="T66" fmla="*/ 77 w 391"/>
                <a:gd name="T67" fmla="*/ 395 h 450"/>
                <a:gd name="T68" fmla="*/ 141 w 391"/>
                <a:gd name="T69" fmla="*/ 420 h 450"/>
                <a:gd name="T70" fmla="*/ 187 w 391"/>
                <a:gd name="T71" fmla="*/ 354 h 450"/>
                <a:gd name="T72" fmla="*/ 259 w 391"/>
                <a:gd name="T73" fmla="*/ 325 h 450"/>
                <a:gd name="T74" fmla="*/ 259 w 391"/>
                <a:gd name="T75" fmla="*/ 277 h 450"/>
                <a:gd name="T76" fmla="*/ 288 w 391"/>
                <a:gd name="T77" fmla="*/ 305 h 450"/>
                <a:gd name="T78" fmla="*/ 295 w 391"/>
                <a:gd name="T79" fmla="*/ 316 h 450"/>
                <a:gd name="T80" fmla="*/ 290 w 391"/>
                <a:gd name="T81" fmla="*/ 327 h 450"/>
                <a:gd name="T82" fmla="*/ 303 w 391"/>
                <a:gd name="T83" fmla="*/ 334 h 450"/>
                <a:gd name="T84" fmla="*/ 317 w 391"/>
                <a:gd name="T85" fmla="*/ 349 h 450"/>
                <a:gd name="T86" fmla="*/ 334 w 391"/>
                <a:gd name="T87" fmla="*/ 347 h 450"/>
                <a:gd name="T88" fmla="*/ 354 w 391"/>
                <a:gd name="T89" fmla="*/ 356 h 450"/>
                <a:gd name="T90" fmla="*/ 367 w 391"/>
                <a:gd name="T91" fmla="*/ 336 h 450"/>
                <a:gd name="T92" fmla="*/ 360 w 391"/>
                <a:gd name="T93" fmla="*/ 327 h 450"/>
                <a:gd name="T94" fmla="*/ 356 w 391"/>
                <a:gd name="T95" fmla="*/ 310 h 450"/>
                <a:gd name="T96" fmla="*/ 358 w 391"/>
                <a:gd name="T97" fmla="*/ 279 h 450"/>
                <a:gd name="T98" fmla="*/ 363 w 391"/>
                <a:gd name="T99" fmla="*/ 266 h 450"/>
                <a:gd name="T100" fmla="*/ 374 w 391"/>
                <a:gd name="T101" fmla="*/ 264 h 450"/>
                <a:gd name="T102" fmla="*/ 367 w 391"/>
                <a:gd name="T103" fmla="*/ 229 h 450"/>
                <a:gd name="T104" fmla="*/ 363 w 391"/>
                <a:gd name="T105" fmla="*/ 202 h 450"/>
                <a:gd name="T106" fmla="*/ 382 w 391"/>
                <a:gd name="T107" fmla="*/ 182 h 450"/>
                <a:gd name="T108" fmla="*/ 382 w 391"/>
                <a:gd name="T109" fmla="*/ 167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1" h="450">
                  <a:moveTo>
                    <a:pt x="93" y="444"/>
                  </a:moveTo>
                  <a:lnTo>
                    <a:pt x="93" y="441"/>
                  </a:lnTo>
                  <a:lnTo>
                    <a:pt x="90" y="439"/>
                  </a:lnTo>
                  <a:lnTo>
                    <a:pt x="90" y="437"/>
                  </a:lnTo>
                  <a:lnTo>
                    <a:pt x="90" y="433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8" y="437"/>
                  </a:lnTo>
                  <a:lnTo>
                    <a:pt x="88" y="439"/>
                  </a:lnTo>
                  <a:lnTo>
                    <a:pt x="86" y="441"/>
                  </a:lnTo>
                  <a:lnTo>
                    <a:pt x="88" y="444"/>
                  </a:lnTo>
                  <a:lnTo>
                    <a:pt x="88" y="446"/>
                  </a:lnTo>
                  <a:lnTo>
                    <a:pt x="88" y="448"/>
                  </a:lnTo>
                  <a:lnTo>
                    <a:pt x="88" y="450"/>
                  </a:lnTo>
                  <a:lnTo>
                    <a:pt x="90" y="450"/>
                  </a:lnTo>
                  <a:lnTo>
                    <a:pt x="93" y="450"/>
                  </a:lnTo>
                  <a:lnTo>
                    <a:pt x="93" y="446"/>
                  </a:lnTo>
                  <a:lnTo>
                    <a:pt x="93" y="444"/>
                  </a:lnTo>
                  <a:lnTo>
                    <a:pt x="93" y="444"/>
                  </a:lnTo>
                  <a:close/>
                  <a:moveTo>
                    <a:pt x="382" y="167"/>
                  </a:moveTo>
                  <a:lnTo>
                    <a:pt x="378" y="167"/>
                  </a:lnTo>
                  <a:lnTo>
                    <a:pt x="376" y="163"/>
                  </a:lnTo>
                  <a:lnTo>
                    <a:pt x="374" y="161"/>
                  </a:lnTo>
                  <a:lnTo>
                    <a:pt x="371" y="156"/>
                  </a:lnTo>
                  <a:lnTo>
                    <a:pt x="369" y="156"/>
                  </a:lnTo>
                  <a:lnTo>
                    <a:pt x="365" y="154"/>
                  </a:lnTo>
                  <a:lnTo>
                    <a:pt x="365" y="152"/>
                  </a:lnTo>
                  <a:lnTo>
                    <a:pt x="363" y="152"/>
                  </a:lnTo>
                  <a:lnTo>
                    <a:pt x="363" y="147"/>
                  </a:lnTo>
                  <a:lnTo>
                    <a:pt x="360" y="145"/>
                  </a:lnTo>
                  <a:lnTo>
                    <a:pt x="358" y="143"/>
                  </a:lnTo>
                  <a:lnTo>
                    <a:pt x="354" y="141"/>
                  </a:lnTo>
                  <a:lnTo>
                    <a:pt x="352" y="139"/>
                  </a:lnTo>
                  <a:lnTo>
                    <a:pt x="349" y="134"/>
                  </a:lnTo>
                  <a:lnTo>
                    <a:pt x="349" y="132"/>
                  </a:lnTo>
                  <a:lnTo>
                    <a:pt x="349" y="132"/>
                  </a:lnTo>
                  <a:lnTo>
                    <a:pt x="343" y="121"/>
                  </a:lnTo>
                  <a:lnTo>
                    <a:pt x="341" y="110"/>
                  </a:lnTo>
                  <a:lnTo>
                    <a:pt x="336" y="103"/>
                  </a:lnTo>
                  <a:lnTo>
                    <a:pt x="336" y="99"/>
                  </a:lnTo>
                  <a:lnTo>
                    <a:pt x="341" y="90"/>
                  </a:lnTo>
                  <a:lnTo>
                    <a:pt x="341" y="88"/>
                  </a:lnTo>
                  <a:lnTo>
                    <a:pt x="341" y="86"/>
                  </a:lnTo>
                  <a:lnTo>
                    <a:pt x="336" y="84"/>
                  </a:lnTo>
                  <a:lnTo>
                    <a:pt x="332" y="84"/>
                  </a:lnTo>
                  <a:lnTo>
                    <a:pt x="330" y="84"/>
                  </a:lnTo>
                  <a:lnTo>
                    <a:pt x="327" y="82"/>
                  </a:lnTo>
                  <a:lnTo>
                    <a:pt x="327" y="82"/>
                  </a:lnTo>
                  <a:lnTo>
                    <a:pt x="317" y="73"/>
                  </a:lnTo>
                  <a:lnTo>
                    <a:pt x="312" y="68"/>
                  </a:lnTo>
                  <a:lnTo>
                    <a:pt x="306" y="71"/>
                  </a:lnTo>
                  <a:lnTo>
                    <a:pt x="299" y="75"/>
                  </a:lnTo>
                  <a:lnTo>
                    <a:pt x="286" y="77"/>
                  </a:lnTo>
                  <a:lnTo>
                    <a:pt x="279" y="77"/>
                  </a:lnTo>
                  <a:lnTo>
                    <a:pt x="275" y="73"/>
                  </a:lnTo>
                  <a:lnTo>
                    <a:pt x="270" y="66"/>
                  </a:lnTo>
                  <a:lnTo>
                    <a:pt x="266" y="62"/>
                  </a:lnTo>
                  <a:lnTo>
                    <a:pt x="262" y="60"/>
                  </a:lnTo>
                  <a:lnTo>
                    <a:pt x="257" y="60"/>
                  </a:lnTo>
                  <a:lnTo>
                    <a:pt x="253" y="60"/>
                  </a:lnTo>
                  <a:lnTo>
                    <a:pt x="246" y="57"/>
                  </a:lnTo>
                  <a:lnTo>
                    <a:pt x="244" y="55"/>
                  </a:lnTo>
                  <a:lnTo>
                    <a:pt x="237" y="49"/>
                  </a:lnTo>
                  <a:lnTo>
                    <a:pt x="233" y="44"/>
                  </a:lnTo>
                  <a:lnTo>
                    <a:pt x="231" y="44"/>
                  </a:lnTo>
                  <a:lnTo>
                    <a:pt x="226" y="44"/>
                  </a:lnTo>
                  <a:lnTo>
                    <a:pt x="224" y="42"/>
                  </a:lnTo>
                  <a:lnTo>
                    <a:pt x="222" y="40"/>
                  </a:lnTo>
                  <a:lnTo>
                    <a:pt x="222" y="40"/>
                  </a:lnTo>
                  <a:lnTo>
                    <a:pt x="213" y="42"/>
                  </a:lnTo>
                  <a:lnTo>
                    <a:pt x="213" y="42"/>
                  </a:lnTo>
                  <a:lnTo>
                    <a:pt x="211" y="44"/>
                  </a:lnTo>
                  <a:lnTo>
                    <a:pt x="209" y="44"/>
                  </a:lnTo>
                  <a:lnTo>
                    <a:pt x="207" y="46"/>
                  </a:lnTo>
                  <a:lnTo>
                    <a:pt x="205" y="53"/>
                  </a:lnTo>
                  <a:lnTo>
                    <a:pt x="205" y="57"/>
                  </a:lnTo>
                  <a:lnTo>
                    <a:pt x="200" y="60"/>
                  </a:lnTo>
                  <a:lnTo>
                    <a:pt x="187" y="71"/>
                  </a:lnTo>
                  <a:lnTo>
                    <a:pt x="178" y="75"/>
                  </a:lnTo>
                  <a:lnTo>
                    <a:pt x="178" y="77"/>
                  </a:lnTo>
                  <a:lnTo>
                    <a:pt x="176" y="77"/>
                  </a:lnTo>
                  <a:lnTo>
                    <a:pt x="172" y="77"/>
                  </a:lnTo>
                  <a:lnTo>
                    <a:pt x="169" y="75"/>
                  </a:lnTo>
                  <a:lnTo>
                    <a:pt x="161" y="71"/>
                  </a:lnTo>
                  <a:lnTo>
                    <a:pt x="158" y="68"/>
                  </a:lnTo>
                  <a:lnTo>
                    <a:pt x="156" y="64"/>
                  </a:lnTo>
                  <a:lnTo>
                    <a:pt x="158" y="62"/>
                  </a:lnTo>
                  <a:lnTo>
                    <a:pt x="183" y="29"/>
                  </a:lnTo>
                  <a:lnTo>
                    <a:pt x="185" y="24"/>
                  </a:lnTo>
                  <a:lnTo>
                    <a:pt x="176" y="27"/>
                  </a:lnTo>
                  <a:lnTo>
                    <a:pt x="167" y="29"/>
                  </a:lnTo>
                  <a:lnTo>
                    <a:pt x="161" y="27"/>
                  </a:lnTo>
                  <a:lnTo>
                    <a:pt x="156" y="20"/>
                  </a:lnTo>
                  <a:lnTo>
                    <a:pt x="156" y="18"/>
                  </a:lnTo>
                  <a:lnTo>
                    <a:pt x="158" y="14"/>
                  </a:lnTo>
                  <a:lnTo>
                    <a:pt x="158" y="11"/>
                  </a:lnTo>
                  <a:lnTo>
                    <a:pt x="156" y="9"/>
                  </a:lnTo>
                  <a:lnTo>
                    <a:pt x="154" y="5"/>
                  </a:lnTo>
                  <a:lnTo>
                    <a:pt x="152" y="3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30" y="20"/>
                  </a:lnTo>
                  <a:lnTo>
                    <a:pt x="125" y="24"/>
                  </a:lnTo>
                  <a:lnTo>
                    <a:pt x="125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1" y="27"/>
                  </a:lnTo>
                  <a:lnTo>
                    <a:pt x="101" y="20"/>
                  </a:lnTo>
                  <a:lnTo>
                    <a:pt x="97" y="18"/>
                  </a:lnTo>
                  <a:lnTo>
                    <a:pt x="90" y="18"/>
                  </a:lnTo>
                  <a:lnTo>
                    <a:pt x="75" y="20"/>
                  </a:lnTo>
                  <a:lnTo>
                    <a:pt x="66" y="16"/>
                  </a:lnTo>
                  <a:lnTo>
                    <a:pt x="64" y="16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49" y="5"/>
                  </a:lnTo>
                  <a:lnTo>
                    <a:pt x="46" y="7"/>
                  </a:lnTo>
                  <a:lnTo>
                    <a:pt x="42" y="7"/>
                  </a:lnTo>
                  <a:lnTo>
                    <a:pt x="40" y="11"/>
                  </a:lnTo>
                  <a:lnTo>
                    <a:pt x="35" y="16"/>
                  </a:lnTo>
                  <a:lnTo>
                    <a:pt x="31" y="20"/>
                  </a:lnTo>
                  <a:lnTo>
                    <a:pt x="16" y="31"/>
                  </a:lnTo>
                  <a:lnTo>
                    <a:pt x="14" y="35"/>
                  </a:lnTo>
                  <a:lnTo>
                    <a:pt x="11" y="38"/>
                  </a:lnTo>
                  <a:lnTo>
                    <a:pt x="9" y="42"/>
                  </a:lnTo>
                  <a:lnTo>
                    <a:pt x="7" y="46"/>
                  </a:lnTo>
                  <a:lnTo>
                    <a:pt x="11" y="57"/>
                  </a:lnTo>
                  <a:lnTo>
                    <a:pt x="11" y="62"/>
                  </a:lnTo>
                  <a:lnTo>
                    <a:pt x="7" y="68"/>
                  </a:lnTo>
                  <a:lnTo>
                    <a:pt x="7" y="71"/>
                  </a:lnTo>
                  <a:lnTo>
                    <a:pt x="5" y="71"/>
                  </a:lnTo>
                  <a:lnTo>
                    <a:pt x="5" y="73"/>
                  </a:lnTo>
                  <a:lnTo>
                    <a:pt x="3" y="73"/>
                  </a:lnTo>
                  <a:lnTo>
                    <a:pt x="0" y="77"/>
                  </a:lnTo>
                  <a:lnTo>
                    <a:pt x="3" y="79"/>
                  </a:lnTo>
                  <a:lnTo>
                    <a:pt x="5" y="84"/>
                  </a:lnTo>
                  <a:lnTo>
                    <a:pt x="5" y="88"/>
                  </a:lnTo>
                  <a:lnTo>
                    <a:pt x="5" y="90"/>
                  </a:lnTo>
                  <a:lnTo>
                    <a:pt x="5" y="99"/>
                  </a:lnTo>
                  <a:lnTo>
                    <a:pt x="5" y="103"/>
                  </a:lnTo>
                  <a:lnTo>
                    <a:pt x="5" y="108"/>
                  </a:lnTo>
                  <a:lnTo>
                    <a:pt x="3" y="110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7" y="121"/>
                  </a:lnTo>
                  <a:lnTo>
                    <a:pt x="20" y="139"/>
                  </a:lnTo>
                  <a:lnTo>
                    <a:pt x="27" y="147"/>
                  </a:lnTo>
                  <a:lnTo>
                    <a:pt x="31" y="152"/>
                  </a:lnTo>
                  <a:lnTo>
                    <a:pt x="35" y="158"/>
                  </a:lnTo>
                  <a:lnTo>
                    <a:pt x="40" y="163"/>
                  </a:lnTo>
                  <a:lnTo>
                    <a:pt x="46" y="169"/>
                  </a:lnTo>
                  <a:lnTo>
                    <a:pt x="51" y="178"/>
                  </a:lnTo>
                  <a:lnTo>
                    <a:pt x="51" y="185"/>
                  </a:lnTo>
                  <a:lnTo>
                    <a:pt x="46" y="189"/>
                  </a:lnTo>
                  <a:lnTo>
                    <a:pt x="42" y="189"/>
                  </a:lnTo>
                  <a:lnTo>
                    <a:pt x="38" y="187"/>
                  </a:lnTo>
                  <a:lnTo>
                    <a:pt x="35" y="187"/>
                  </a:lnTo>
                  <a:lnTo>
                    <a:pt x="33" y="187"/>
                  </a:lnTo>
                  <a:lnTo>
                    <a:pt x="31" y="191"/>
                  </a:lnTo>
                  <a:lnTo>
                    <a:pt x="31" y="193"/>
                  </a:lnTo>
                  <a:lnTo>
                    <a:pt x="33" y="198"/>
                  </a:lnTo>
                  <a:lnTo>
                    <a:pt x="29" y="198"/>
                  </a:lnTo>
                  <a:lnTo>
                    <a:pt x="29" y="200"/>
                  </a:lnTo>
                  <a:lnTo>
                    <a:pt x="31" y="202"/>
                  </a:lnTo>
                  <a:lnTo>
                    <a:pt x="31" y="204"/>
                  </a:lnTo>
                  <a:lnTo>
                    <a:pt x="31" y="209"/>
                  </a:lnTo>
                  <a:lnTo>
                    <a:pt x="29" y="209"/>
                  </a:lnTo>
                  <a:lnTo>
                    <a:pt x="27" y="211"/>
                  </a:lnTo>
                  <a:lnTo>
                    <a:pt x="27" y="213"/>
                  </a:lnTo>
                  <a:lnTo>
                    <a:pt x="29" y="218"/>
                  </a:lnTo>
                  <a:lnTo>
                    <a:pt x="33" y="224"/>
                  </a:lnTo>
                  <a:lnTo>
                    <a:pt x="38" y="231"/>
                  </a:lnTo>
                  <a:lnTo>
                    <a:pt x="42" y="233"/>
                  </a:lnTo>
                  <a:lnTo>
                    <a:pt x="44" y="233"/>
                  </a:lnTo>
                  <a:lnTo>
                    <a:pt x="49" y="233"/>
                  </a:lnTo>
                  <a:lnTo>
                    <a:pt x="53" y="237"/>
                  </a:lnTo>
                  <a:lnTo>
                    <a:pt x="71" y="255"/>
                  </a:lnTo>
                  <a:lnTo>
                    <a:pt x="75" y="261"/>
                  </a:lnTo>
                  <a:lnTo>
                    <a:pt x="84" y="281"/>
                  </a:lnTo>
                  <a:lnTo>
                    <a:pt x="90" y="294"/>
                  </a:lnTo>
                  <a:lnTo>
                    <a:pt x="88" y="312"/>
                  </a:lnTo>
                  <a:lnTo>
                    <a:pt x="82" y="325"/>
                  </a:lnTo>
                  <a:lnTo>
                    <a:pt x="73" y="334"/>
                  </a:lnTo>
                  <a:lnTo>
                    <a:pt x="68" y="332"/>
                  </a:lnTo>
                  <a:lnTo>
                    <a:pt x="62" y="330"/>
                  </a:lnTo>
                  <a:lnTo>
                    <a:pt x="55" y="327"/>
                  </a:lnTo>
                  <a:lnTo>
                    <a:pt x="51" y="321"/>
                  </a:lnTo>
                  <a:lnTo>
                    <a:pt x="49" y="321"/>
                  </a:lnTo>
                  <a:lnTo>
                    <a:pt x="46" y="323"/>
                  </a:lnTo>
                  <a:lnTo>
                    <a:pt x="46" y="325"/>
                  </a:lnTo>
                  <a:lnTo>
                    <a:pt x="44" y="330"/>
                  </a:lnTo>
                  <a:lnTo>
                    <a:pt x="40" y="332"/>
                  </a:lnTo>
                  <a:lnTo>
                    <a:pt x="40" y="332"/>
                  </a:lnTo>
                  <a:lnTo>
                    <a:pt x="38" y="336"/>
                  </a:lnTo>
                  <a:lnTo>
                    <a:pt x="35" y="338"/>
                  </a:lnTo>
                  <a:lnTo>
                    <a:pt x="35" y="341"/>
                  </a:lnTo>
                  <a:lnTo>
                    <a:pt x="35" y="349"/>
                  </a:lnTo>
                  <a:lnTo>
                    <a:pt x="35" y="356"/>
                  </a:lnTo>
                  <a:lnTo>
                    <a:pt x="38" y="367"/>
                  </a:lnTo>
                  <a:lnTo>
                    <a:pt x="44" y="373"/>
                  </a:lnTo>
                  <a:lnTo>
                    <a:pt x="60" y="387"/>
                  </a:lnTo>
                  <a:lnTo>
                    <a:pt x="77" y="395"/>
                  </a:lnTo>
                  <a:lnTo>
                    <a:pt x="90" y="406"/>
                  </a:lnTo>
                  <a:lnTo>
                    <a:pt x="101" y="417"/>
                  </a:lnTo>
                  <a:lnTo>
                    <a:pt x="112" y="422"/>
                  </a:lnTo>
                  <a:lnTo>
                    <a:pt x="132" y="430"/>
                  </a:lnTo>
                  <a:lnTo>
                    <a:pt x="136" y="428"/>
                  </a:lnTo>
                  <a:lnTo>
                    <a:pt x="141" y="420"/>
                  </a:lnTo>
                  <a:lnTo>
                    <a:pt x="158" y="395"/>
                  </a:lnTo>
                  <a:lnTo>
                    <a:pt x="158" y="393"/>
                  </a:lnTo>
                  <a:lnTo>
                    <a:pt x="161" y="387"/>
                  </a:lnTo>
                  <a:lnTo>
                    <a:pt x="163" y="384"/>
                  </a:lnTo>
                  <a:lnTo>
                    <a:pt x="165" y="380"/>
                  </a:lnTo>
                  <a:lnTo>
                    <a:pt x="187" y="354"/>
                  </a:lnTo>
                  <a:lnTo>
                    <a:pt x="189" y="351"/>
                  </a:lnTo>
                  <a:lnTo>
                    <a:pt x="191" y="349"/>
                  </a:lnTo>
                  <a:lnTo>
                    <a:pt x="251" y="334"/>
                  </a:lnTo>
                  <a:lnTo>
                    <a:pt x="257" y="330"/>
                  </a:lnTo>
                  <a:lnTo>
                    <a:pt x="257" y="327"/>
                  </a:lnTo>
                  <a:lnTo>
                    <a:pt x="259" y="325"/>
                  </a:lnTo>
                  <a:lnTo>
                    <a:pt x="259" y="319"/>
                  </a:lnTo>
                  <a:lnTo>
                    <a:pt x="259" y="299"/>
                  </a:lnTo>
                  <a:lnTo>
                    <a:pt x="255" y="281"/>
                  </a:lnTo>
                  <a:lnTo>
                    <a:pt x="257" y="277"/>
                  </a:lnTo>
                  <a:lnTo>
                    <a:pt x="257" y="277"/>
                  </a:lnTo>
                  <a:lnTo>
                    <a:pt x="259" y="277"/>
                  </a:lnTo>
                  <a:lnTo>
                    <a:pt x="264" y="279"/>
                  </a:lnTo>
                  <a:lnTo>
                    <a:pt x="273" y="288"/>
                  </a:lnTo>
                  <a:lnTo>
                    <a:pt x="284" y="297"/>
                  </a:lnTo>
                  <a:lnTo>
                    <a:pt x="286" y="299"/>
                  </a:lnTo>
                  <a:lnTo>
                    <a:pt x="288" y="301"/>
                  </a:lnTo>
                  <a:lnTo>
                    <a:pt x="288" y="305"/>
                  </a:lnTo>
                  <a:lnTo>
                    <a:pt x="290" y="305"/>
                  </a:lnTo>
                  <a:lnTo>
                    <a:pt x="290" y="308"/>
                  </a:lnTo>
                  <a:lnTo>
                    <a:pt x="295" y="312"/>
                  </a:lnTo>
                  <a:lnTo>
                    <a:pt x="295" y="314"/>
                  </a:lnTo>
                  <a:lnTo>
                    <a:pt x="295" y="314"/>
                  </a:lnTo>
                  <a:lnTo>
                    <a:pt x="295" y="316"/>
                  </a:lnTo>
                  <a:lnTo>
                    <a:pt x="295" y="319"/>
                  </a:lnTo>
                  <a:lnTo>
                    <a:pt x="292" y="321"/>
                  </a:lnTo>
                  <a:lnTo>
                    <a:pt x="292" y="323"/>
                  </a:lnTo>
                  <a:lnTo>
                    <a:pt x="290" y="325"/>
                  </a:lnTo>
                  <a:lnTo>
                    <a:pt x="290" y="327"/>
                  </a:lnTo>
                  <a:lnTo>
                    <a:pt x="290" y="327"/>
                  </a:lnTo>
                  <a:lnTo>
                    <a:pt x="290" y="330"/>
                  </a:lnTo>
                  <a:lnTo>
                    <a:pt x="292" y="332"/>
                  </a:lnTo>
                  <a:lnTo>
                    <a:pt x="295" y="332"/>
                  </a:lnTo>
                  <a:lnTo>
                    <a:pt x="297" y="334"/>
                  </a:lnTo>
                  <a:lnTo>
                    <a:pt x="301" y="334"/>
                  </a:lnTo>
                  <a:lnTo>
                    <a:pt x="303" y="334"/>
                  </a:lnTo>
                  <a:lnTo>
                    <a:pt x="306" y="336"/>
                  </a:lnTo>
                  <a:lnTo>
                    <a:pt x="310" y="338"/>
                  </a:lnTo>
                  <a:lnTo>
                    <a:pt x="310" y="341"/>
                  </a:lnTo>
                  <a:lnTo>
                    <a:pt x="312" y="343"/>
                  </a:lnTo>
                  <a:lnTo>
                    <a:pt x="314" y="347"/>
                  </a:lnTo>
                  <a:lnTo>
                    <a:pt x="317" y="349"/>
                  </a:lnTo>
                  <a:lnTo>
                    <a:pt x="319" y="349"/>
                  </a:lnTo>
                  <a:lnTo>
                    <a:pt x="321" y="349"/>
                  </a:lnTo>
                  <a:lnTo>
                    <a:pt x="323" y="349"/>
                  </a:lnTo>
                  <a:lnTo>
                    <a:pt x="327" y="349"/>
                  </a:lnTo>
                  <a:lnTo>
                    <a:pt x="332" y="349"/>
                  </a:lnTo>
                  <a:lnTo>
                    <a:pt x="334" y="347"/>
                  </a:lnTo>
                  <a:lnTo>
                    <a:pt x="336" y="347"/>
                  </a:lnTo>
                  <a:lnTo>
                    <a:pt x="343" y="351"/>
                  </a:lnTo>
                  <a:lnTo>
                    <a:pt x="345" y="351"/>
                  </a:lnTo>
                  <a:lnTo>
                    <a:pt x="347" y="354"/>
                  </a:lnTo>
                  <a:lnTo>
                    <a:pt x="349" y="358"/>
                  </a:lnTo>
                  <a:lnTo>
                    <a:pt x="354" y="356"/>
                  </a:lnTo>
                  <a:lnTo>
                    <a:pt x="360" y="349"/>
                  </a:lnTo>
                  <a:lnTo>
                    <a:pt x="363" y="349"/>
                  </a:lnTo>
                  <a:lnTo>
                    <a:pt x="365" y="347"/>
                  </a:lnTo>
                  <a:lnTo>
                    <a:pt x="367" y="347"/>
                  </a:lnTo>
                  <a:lnTo>
                    <a:pt x="369" y="343"/>
                  </a:lnTo>
                  <a:lnTo>
                    <a:pt x="367" y="336"/>
                  </a:lnTo>
                  <a:lnTo>
                    <a:pt x="365" y="334"/>
                  </a:lnTo>
                  <a:lnTo>
                    <a:pt x="363" y="332"/>
                  </a:lnTo>
                  <a:lnTo>
                    <a:pt x="363" y="332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27"/>
                  </a:lnTo>
                  <a:lnTo>
                    <a:pt x="360" y="327"/>
                  </a:lnTo>
                  <a:lnTo>
                    <a:pt x="360" y="323"/>
                  </a:lnTo>
                  <a:lnTo>
                    <a:pt x="360" y="321"/>
                  </a:lnTo>
                  <a:lnTo>
                    <a:pt x="356" y="314"/>
                  </a:lnTo>
                  <a:lnTo>
                    <a:pt x="356" y="312"/>
                  </a:lnTo>
                  <a:lnTo>
                    <a:pt x="356" y="310"/>
                  </a:lnTo>
                  <a:lnTo>
                    <a:pt x="358" y="297"/>
                  </a:lnTo>
                  <a:lnTo>
                    <a:pt x="360" y="288"/>
                  </a:lnTo>
                  <a:lnTo>
                    <a:pt x="360" y="283"/>
                  </a:lnTo>
                  <a:lnTo>
                    <a:pt x="360" y="283"/>
                  </a:lnTo>
                  <a:lnTo>
                    <a:pt x="360" y="281"/>
                  </a:lnTo>
                  <a:lnTo>
                    <a:pt x="358" y="279"/>
                  </a:lnTo>
                  <a:lnTo>
                    <a:pt x="358" y="277"/>
                  </a:lnTo>
                  <a:lnTo>
                    <a:pt x="358" y="275"/>
                  </a:lnTo>
                  <a:lnTo>
                    <a:pt x="358" y="275"/>
                  </a:lnTo>
                  <a:lnTo>
                    <a:pt x="358" y="272"/>
                  </a:lnTo>
                  <a:lnTo>
                    <a:pt x="363" y="268"/>
                  </a:lnTo>
                  <a:lnTo>
                    <a:pt x="363" y="266"/>
                  </a:lnTo>
                  <a:lnTo>
                    <a:pt x="365" y="266"/>
                  </a:lnTo>
                  <a:lnTo>
                    <a:pt x="367" y="266"/>
                  </a:lnTo>
                  <a:lnTo>
                    <a:pt x="369" y="266"/>
                  </a:lnTo>
                  <a:lnTo>
                    <a:pt x="371" y="268"/>
                  </a:lnTo>
                  <a:lnTo>
                    <a:pt x="374" y="268"/>
                  </a:lnTo>
                  <a:lnTo>
                    <a:pt x="374" y="264"/>
                  </a:lnTo>
                  <a:lnTo>
                    <a:pt x="374" y="237"/>
                  </a:lnTo>
                  <a:lnTo>
                    <a:pt x="371" y="235"/>
                  </a:lnTo>
                  <a:lnTo>
                    <a:pt x="369" y="235"/>
                  </a:lnTo>
                  <a:lnTo>
                    <a:pt x="369" y="233"/>
                  </a:lnTo>
                  <a:lnTo>
                    <a:pt x="367" y="233"/>
                  </a:lnTo>
                  <a:lnTo>
                    <a:pt x="367" y="229"/>
                  </a:lnTo>
                  <a:lnTo>
                    <a:pt x="367" y="224"/>
                  </a:lnTo>
                  <a:lnTo>
                    <a:pt x="367" y="222"/>
                  </a:lnTo>
                  <a:lnTo>
                    <a:pt x="367" y="220"/>
                  </a:lnTo>
                  <a:lnTo>
                    <a:pt x="363" y="209"/>
                  </a:lnTo>
                  <a:lnTo>
                    <a:pt x="363" y="207"/>
                  </a:lnTo>
                  <a:lnTo>
                    <a:pt x="363" y="202"/>
                  </a:lnTo>
                  <a:lnTo>
                    <a:pt x="369" y="198"/>
                  </a:lnTo>
                  <a:lnTo>
                    <a:pt x="371" y="196"/>
                  </a:lnTo>
                  <a:lnTo>
                    <a:pt x="374" y="191"/>
                  </a:lnTo>
                  <a:lnTo>
                    <a:pt x="376" y="185"/>
                  </a:lnTo>
                  <a:lnTo>
                    <a:pt x="380" y="182"/>
                  </a:lnTo>
                  <a:lnTo>
                    <a:pt x="382" y="182"/>
                  </a:lnTo>
                  <a:lnTo>
                    <a:pt x="382" y="182"/>
                  </a:lnTo>
                  <a:lnTo>
                    <a:pt x="385" y="180"/>
                  </a:lnTo>
                  <a:lnTo>
                    <a:pt x="385" y="174"/>
                  </a:lnTo>
                  <a:lnTo>
                    <a:pt x="387" y="172"/>
                  </a:lnTo>
                  <a:lnTo>
                    <a:pt x="391" y="167"/>
                  </a:lnTo>
                  <a:lnTo>
                    <a:pt x="382" y="167"/>
                  </a:lnTo>
                  <a:lnTo>
                    <a:pt x="382" y="167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19" name="Freeform 22"/>
            <p:cNvSpPr>
              <a:spLocks/>
            </p:cNvSpPr>
            <p:nvPr/>
          </p:nvSpPr>
          <p:spPr bwMode="auto">
            <a:xfrm>
              <a:off x="3924300" y="2679700"/>
              <a:ext cx="431800" cy="477837"/>
            </a:xfrm>
            <a:custGeom>
              <a:avLst/>
              <a:gdLst>
                <a:gd name="T0" fmla="*/ 270 w 272"/>
                <a:gd name="T1" fmla="*/ 217 h 301"/>
                <a:gd name="T2" fmla="*/ 255 w 272"/>
                <a:gd name="T3" fmla="*/ 211 h 301"/>
                <a:gd name="T4" fmla="*/ 242 w 272"/>
                <a:gd name="T5" fmla="*/ 208 h 301"/>
                <a:gd name="T6" fmla="*/ 233 w 272"/>
                <a:gd name="T7" fmla="*/ 189 h 301"/>
                <a:gd name="T8" fmla="*/ 228 w 272"/>
                <a:gd name="T9" fmla="*/ 184 h 301"/>
                <a:gd name="T10" fmla="*/ 222 w 272"/>
                <a:gd name="T11" fmla="*/ 184 h 301"/>
                <a:gd name="T12" fmla="*/ 217 w 272"/>
                <a:gd name="T13" fmla="*/ 173 h 301"/>
                <a:gd name="T14" fmla="*/ 220 w 272"/>
                <a:gd name="T15" fmla="*/ 164 h 301"/>
                <a:gd name="T16" fmla="*/ 215 w 272"/>
                <a:gd name="T17" fmla="*/ 156 h 301"/>
                <a:gd name="T18" fmla="*/ 220 w 272"/>
                <a:gd name="T19" fmla="*/ 149 h 301"/>
                <a:gd name="T20" fmla="*/ 226 w 272"/>
                <a:gd name="T21" fmla="*/ 143 h 301"/>
                <a:gd name="T22" fmla="*/ 248 w 272"/>
                <a:gd name="T23" fmla="*/ 136 h 301"/>
                <a:gd name="T24" fmla="*/ 257 w 272"/>
                <a:gd name="T25" fmla="*/ 121 h 301"/>
                <a:gd name="T26" fmla="*/ 250 w 272"/>
                <a:gd name="T27" fmla="*/ 118 h 301"/>
                <a:gd name="T28" fmla="*/ 248 w 272"/>
                <a:gd name="T29" fmla="*/ 112 h 301"/>
                <a:gd name="T30" fmla="*/ 259 w 272"/>
                <a:gd name="T31" fmla="*/ 99 h 301"/>
                <a:gd name="T32" fmla="*/ 261 w 272"/>
                <a:gd name="T33" fmla="*/ 92 h 301"/>
                <a:gd name="T34" fmla="*/ 259 w 272"/>
                <a:gd name="T35" fmla="*/ 88 h 301"/>
                <a:gd name="T36" fmla="*/ 248 w 272"/>
                <a:gd name="T37" fmla="*/ 83 h 301"/>
                <a:gd name="T38" fmla="*/ 246 w 272"/>
                <a:gd name="T39" fmla="*/ 81 h 301"/>
                <a:gd name="T40" fmla="*/ 239 w 272"/>
                <a:gd name="T41" fmla="*/ 83 h 301"/>
                <a:gd name="T42" fmla="*/ 233 w 272"/>
                <a:gd name="T43" fmla="*/ 83 h 301"/>
                <a:gd name="T44" fmla="*/ 231 w 272"/>
                <a:gd name="T45" fmla="*/ 81 h 301"/>
                <a:gd name="T46" fmla="*/ 224 w 272"/>
                <a:gd name="T47" fmla="*/ 83 h 301"/>
                <a:gd name="T48" fmla="*/ 215 w 272"/>
                <a:gd name="T49" fmla="*/ 77 h 301"/>
                <a:gd name="T50" fmla="*/ 204 w 272"/>
                <a:gd name="T51" fmla="*/ 70 h 301"/>
                <a:gd name="T52" fmla="*/ 195 w 272"/>
                <a:gd name="T53" fmla="*/ 72 h 301"/>
                <a:gd name="T54" fmla="*/ 187 w 272"/>
                <a:gd name="T55" fmla="*/ 72 h 301"/>
                <a:gd name="T56" fmla="*/ 180 w 272"/>
                <a:gd name="T57" fmla="*/ 66 h 301"/>
                <a:gd name="T58" fmla="*/ 174 w 272"/>
                <a:gd name="T59" fmla="*/ 59 h 301"/>
                <a:gd name="T60" fmla="*/ 165 w 272"/>
                <a:gd name="T61" fmla="*/ 57 h 301"/>
                <a:gd name="T62" fmla="*/ 158 w 272"/>
                <a:gd name="T63" fmla="*/ 53 h 301"/>
                <a:gd name="T64" fmla="*/ 158 w 272"/>
                <a:gd name="T65" fmla="*/ 48 h 301"/>
                <a:gd name="T66" fmla="*/ 163 w 272"/>
                <a:gd name="T67" fmla="*/ 42 h 301"/>
                <a:gd name="T68" fmla="*/ 163 w 272"/>
                <a:gd name="T69" fmla="*/ 37 h 301"/>
                <a:gd name="T70" fmla="*/ 158 w 272"/>
                <a:gd name="T71" fmla="*/ 28 h 301"/>
                <a:gd name="T72" fmla="*/ 154 w 272"/>
                <a:gd name="T73" fmla="*/ 22 h 301"/>
                <a:gd name="T74" fmla="*/ 132 w 272"/>
                <a:gd name="T75" fmla="*/ 2 h 301"/>
                <a:gd name="T76" fmla="*/ 125 w 272"/>
                <a:gd name="T77" fmla="*/ 0 h 301"/>
                <a:gd name="T78" fmla="*/ 127 w 272"/>
                <a:gd name="T79" fmla="*/ 42 h 301"/>
                <a:gd name="T80" fmla="*/ 125 w 272"/>
                <a:gd name="T81" fmla="*/ 53 h 301"/>
                <a:gd name="T82" fmla="*/ 57 w 272"/>
                <a:gd name="T83" fmla="*/ 74 h 301"/>
                <a:gd name="T84" fmla="*/ 31 w 272"/>
                <a:gd name="T85" fmla="*/ 107 h 301"/>
                <a:gd name="T86" fmla="*/ 26 w 272"/>
                <a:gd name="T87" fmla="*/ 118 h 301"/>
                <a:gd name="T88" fmla="*/ 0 w 272"/>
                <a:gd name="T89" fmla="*/ 153 h 301"/>
                <a:gd name="T90" fmla="*/ 86 w 272"/>
                <a:gd name="T91" fmla="*/ 200 h 301"/>
                <a:gd name="T92" fmla="*/ 119 w 272"/>
                <a:gd name="T93" fmla="*/ 226 h 301"/>
                <a:gd name="T94" fmla="*/ 127 w 272"/>
                <a:gd name="T95" fmla="*/ 243 h 301"/>
                <a:gd name="T96" fmla="*/ 141 w 272"/>
                <a:gd name="T97" fmla="*/ 261 h 301"/>
                <a:gd name="T98" fmla="*/ 174 w 272"/>
                <a:gd name="T99" fmla="*/ 296 h 301"/>
                <a:gd name="T100" fmla="*/ 178 w 272"/>
                <a:gd name="T101" fmla="*/ 296 h 301"/>
                <a:gd name="T102" fmla="*/ 213 w 272"/>
                <a:gd name="T103" fmla="*/ 263 h 301"/>
                <a:gd name="T104" fmla="*/ 237 w 272"/>
                <a:gd name="T105" fmla="*/ 272 h 301"/>
                <a:gd name="T106" fmla="*/ 242 w 272"/>
                <a:gd name="T107" fmla="*/ 270 h 301"/>
                <a:gd name="T108" fmla="*/ 244 w 272"/>
                <a:gd name="T109" fmla="*/ 252 h 301"/>
                <a:gd name="T110" fmla="*/ 248 w 272"/>
                <a:gd name="T111" fmla="*/ 246 h 301"/>
                <a:gd name="T112" fmla="*/ 264 w 272"/>
                <a:gd name="T113" fmla="*/ 232 h 301"/>
                <a:gd name="T114" fmla="*/ 270 w 272"/>
                <a:gd name="T115" fmla="*/ 228 h 301"/>
                <a:gd name="T116" fmla="*/ 272 w 272"/>
                <a:gd name="T117" fmla="*/ 22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2" h="301">
                  <a:moveTo>
                    <a:pt x="272" y="219"/>
                  </a:moveTo>
                  <a:lnTo>
                    <a:pt x="272" y="217"/>
                  </a:lnTo>
                  <a:lnTo>
                    <a:pt x="270" y="217"/>
                  </a:lnTo>
                  <a:lnTo>
                    <a:pt x="268" y="215"/>
                  </a:lnTo>
                  <a:lnTo>
                    <a:pt x="259" y="213"/>
                  </a:lnTo>
                  <a:lnTo>
                    <a:pt x="255" y="211"/>
                  </a:lnTo>
                  <a:lnTo>
                    <a:pt x="250" y="211"/>
                  </a:lnTo>
                  <a:lnTo>
                    <a:pt x="246" y="211"/>
                  </a:lnTo>
                  <a:lnTo>
                    <a:pt x="242" y="208"/>
                  </a:lnTo>
                  <a:lnTo>
                    <a:pt x="239" y="206"/>
                  </a:lnTo>
                  <a:lnTo>
                    <a:pt x="237" y="200"/>
                  </a:lnTo>
                  <a:lnTo>
                    <a:pt x="233" y="189"/>
                  </a:lnTo>
                  <a:lnTo>
                    <a:pt x="233" y="186"/>
                  </a:lnTo>
                  <a:lnTo>
                    <a:pt x="231" y="184"/>
                  </a:lnTo>
                  <a:lnTo>
                    <a:pt x="228" y="184"/>
                  </a:lnTo>
                  <a:lnTo>
                    <a:pt x="226" y="184"/>
                  </a:lnTo>
                  <a:lnTo>
                    <a:pt x="224" y="184"/>
                  </a:lnTo>
                  <a:lnTo>
                    <a:pt x="222" y="184"/>
                  </a:lnTo>
                  <a:lnTo>
                    <a:pt x="220" y="182"/>
                  </a:lnTo>
                  <a:lnTo>
                    <a:pt x="220" y="180"/>
                  </a:lnTo>
                  <a:lnTo>
                    <a:pt x="217" y="173"/>
                  </a:lnTo>
                  <a:lnTo>
                    <a:pt x="220" y="167"/>
                  </a:lnTo>
                  <a:lnTo>
                    <a:pt x="220" y="167"/>
                  </a:lnTo>
                  <a:lnTo>
                    <a:pt x="220" y="164"/>
                  </a:lnTo>
                  <a:lnTo>
                    <a:pt x="220" y="162"/>
                  </a:lnTo>
                  <a:lnTo>
                    <a:pt x="217" y="158"/>
                  </a:lnTo>
                  <a:lnTo>
                    <a:pt x="215" y="156"/>
                  </a:lnTo>
                  <a:lnTo>
                    <a:pt x="215" y="153"/>
                  </a:lnTo>
                  <a:lnTo>
                    <a:pt x="217" y="151"/>
                  </a:lnTo>
                  <a:lnTo>
                    <a:pt x="220" y="149"/>
                  </a:lnTo>
                  <a:lnTo>
                    <a:pt x="220" y="147"/>
                  </a:lnTo>
                  <a:lnTo>
                    <a:pt x="224" y="143"/>
                  </a:lnTo>
                  <a:lnTo>
                    <a:pt x="226" y="143"/>
                  </a:lnTo>
                  <a:lnTo>
                    <a:pt x="228" y="140"/>
                  </a:lnTo>
                  <a:lnTo>
                    <a:pt x="233" y="138"/>
                  </a:lnTo>
                  <a:lnTo>
                    <a:pt x="248" y="136"/>
                  </a:lnTo>
                  <a:lnTo>
                    <a:pt x="255" y="129"/>
                  </a:lnTo>
                  <a:lnTo>
                    <a:pt x="255" y="123"/>
                  </a:lnTo>
                  <a:lnTo>
                    <a:pt x="257" y="121"/>
                  </a:lnTo>
                  <a:lnTo>
                    <a:pt x="255" y="121"/>
                  </a:lnTo>
                  <a:lnTo>
                    <a:pt x="253" y="118"/>
                  </a:lnTo>
                  <a:lnTo>
                    <a:pt x="250" y="118"/>
                  </a:lnTo>
                  <a:lnTo>
                    <a:pt x="248" y="116"/>
                  </a:lnTo>
                  <a:lnTo>
                    <a:pt x="248" y="114"/>
                  </a:lnTo>
                  <a:lnTo>
                    <a:pt x="248" y="112"/>
                  </a:lnTo>
                  <a:lnTo>
                    <a:pt x="248" y="110"/>
                  </a:lnTo>
                  <a:lnTo>
                    <a:pt x="248" y="107"/>
                  </a:lnTo>
                  <a:lnTo>
                    <a:pt x="259" y="99"/>
                  </a:lnTo>
                  <a:lnTo>
                    <a:pt x="261" y="96"/>
                  </a:lnTo>
                  <a:lnTo>
                    <a:pt x="261" y="94"/>
                  </a:lnTo>
                  <a:lnTo>
                    <a:pt x="261" y="92"/>
                  </a:lnTo>
                  <a:lnTo>
                    <a:pt x="261" y="90"/>
                  </a:lnTo>
                  <a:lnTo>
                    <a:pt x="261" y="90"/>
                  </a:lnTo>
                  <a:lnTo>
                    <a:pt x="259" y="88"/>
                  </a:lnTo>
                  <a:lnTo>
                    <a:pt x="257" y="85"/>
                  </a:lnTo>
                  <a:lnTo>
                    <a:pt x="253" y="85"/>
                  </a:lnTo>
                  <a:lnTo>
                    <a:pt x="248" y="83"/>
                  </a:lnTo>
                  <a:lnTo>
                    <a:pt x="248" y="83"/>
                  </a:lnTo>
                  <a:lnTo>
                    <a:pt x="246" y="81"/>
                  </a:lnTo>
                  <a:lnTo>
                    <a:pt x="246" y="81"/>
                  </a:lnTo>
                  <a:lnTo>
                    <a:pt x="244" y="81"/>
                  </a:lnTo>
                  <a:lnTo>
                    <a:pt x="242" y="81"/>
                  </a:lnTo>
                  <a:lnTo>
                    <a:pt x="239" y="83"/>
                  </a:lnTo>
                  <a:lnTo>
                    <a:pt x="235" y="85"/>
                  </a:lnTo>
                  <a:lnTo>
                    <a:pt x="233" y="85"/>
                  </a:lnTo>
                  <a:lnTo>
                    <a:pt x="233" y="83"/>
                  </a:lnTo>
                  <a:lnTo>
                    <a:pt x="233" y="83"/>
                  </a:lnTo>
                  <a:lnTo>
                    <a:pt x="233" y="81"/>
                  </a:lnTo>
                  <a:lnTo>
                    <a:pt x="231" y="81"/>
                  </a:lnTo>
                  <a:lnTo>
                    <a:pt x="226" y="81"/>
                  </a:lnTo>
                  <a:lnTo>
                    <a:pt x="224" y="83"/>
                  </a:lnTo>
                  <a:lnTo>
                    <a:pt x="224" y="83"/>
                  </a:lnTo>
                  <a:lnTo>
                    <a:pt x="222" y="83"/>
                  </a:lnTo>
                  <a:lnTo>
                    <a:pt x="217" y="81"/>
                  </a:lnTo>
                  <a:lnTo>
                    <a:pt x="215" y="77"/>
                  </a:lnTo>
                  <a:lnTo>
                    <a:pt x="213" y="74"/>
                  </a:lnTo>
                  <a:lnTo>
                    <a:pt x="211" y="74"/>
                  </a:lnTo>
                  <a:lnTo>
                    <a:pt x="204" y="70"/>
                  </a:lnTo>
                  <a:lnTo>
                    <a:pt x="202" y="70"/>
                  </a:lnTo>
                  <a:lnTo>
                    <a:pt x="200" y="72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9" y="72"/>
                  </a:lnTo>
                  <a:lnTo>
                    <a:pt x="187" y="72"/>
                  </a:lnTo>
                  <a:lnTo>
                    <a:pt x="185" y="72"/>
                  </a:lnTo>
                  <a:lnTo>
                    <a:pt x="182" y="70"/>
                  </a:lnTo>
                  <a:lnTo>
                    <a:pt x="180" y="66"/>
                  </a:lnTo>
                  <a:lnTo>
                    <a:pt x="178" y="64"/>
                  </a:lnTo>
                  <a:lnTo>
                    <a:pt x="178" y="61"/>
                  </a:lnTo>
                  <a:lnTo>
                    <a:pt x="174" y="59"/>
                  </a:lnTo>
                  <a:lnTo>
                    <a:pt x="171" y="57"/>
                  </a:lnTo>
                  <a:lnTo>
                    <a:pt x="169" y="57"/>
                  </a:lnTo>
                  <a:lnTo>
                    <a:pt x="165" y="57"/>
                  </a:lnTo>
                  <a:lnTo>
                    <a:pt x="163" y="55"/>
                  </a:lnTo>
                  <a:lnTo>
                    <a:pt x="160" y="55"/>
                  </a:lnTo>
                  <a:lnTo>
                    <a:pt x="158" y="53"/>
                  </a:lnTo>
                  <a:lnTo>
                    <a:pt x="158" y="50"/>
                  </a:lnTo>
                  <a:lnTo>
                    <a:pt x="158" y="50"/>
                  </a:lnTo>
                  <a:lnTo>
                    <a:pt x="158" y="48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3" y="42"/>
                  </a:lnTo>
                  <a:lnTo>
                    <a:pt x="163" y="39"/>
                  </a:lnTo>
                  <a:lnTo>
                    <a:pt x="163" y="37"/>
                  </a:lnTo>
                  <a:lnTo>
                    <a:pt x="163" y="37"/>
                  </a:lnTo>
                  <a:lnTo>
                    <a:pt x="163" y="35"/>
                  </a:lnTo>
                  <a:lnTo>
                    <a:pt x="158" y="31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4"/>
                  </a:lnTo>
                  <a:lnTo>
                    <a:pt x="154" y="22"/>
                  </a:lnTo>
                  <a:lnTo>
                    <a:pt x="152" y="20"/>
                  </a:lnTo>
                  <a:lnTo>
                    <a:pt x="141" y="11"/>
                  </a:lnTo>
                  <a:lnTo>
                    <a:pt x="132" y="2"/>
                  </a:lnTo>
                  <a:lnTo>
                    <a:pt x="127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3" y="4"/>
                  </a:lnTo>
                  <a:lnTo>
                    <a:pt x="127" y="22"/>
                  </a:lnTo>
                  <a:lnTo>
                    <a:pt x="127" y="42"/>
                  </a:lnTo>
                  <a:lnTo>
                    <a:pt x="127" y="48"/>
                  </a:lnTo>
                  <a:lnTo>
                    <a:pt x="125" y="50"/>
                  </a:lnTo>
                  <a:lnTo>
                    <a:pt x="125" y="53"/>
                  </a:lnTo>
                  <a:lnTo>
                    <a:pt x="119" y="57"/>
                  </a:lnTo>
                  <a:lnTo>
                    <a:pt x="59" y="72"/>
                  </a:lnTo>
                  <a:lnTo>
                    <a:pt x="57" y="74"/>
                  </a:lnTo>
                  <a:lnTo>
                    <a:pt x="55" y="77"/>
                  </a:lnTo>
                  <a:lnTo>
                    <a:pt x="33" y="103"/>
                  </a:lnTo>
                  <a:lnTo>
                    <a:pt x="31" y="107"/>
                  </a:lnTo>
                  <a:lnTo>
                    <a:pt x="29" y="110"/>
                  </a:lnTo>
                  <a:lnTo>
                    <a:pt x="26" y="116"/>
                  </a:lnTo>
                  <a:lnTo>
                    <a:pt x="26" y="118"/>
                  </a:lnTo>
                  <a:lnTo>
                    <a:pt x="9" y="143"/>
                  </a:lnTo>
                  <a:lnTo>
                    <a:pt x="4" y="151"/>
                  </a:lnTo>
                  <a:lnTo>
                    <a:pt x="0" y="153"/>
                  </a:lnTo>
                  <a:lnTo>
                    <a:pt x="31" y="171"/>
                  </a:lnTo>
                  <a:lnTo>
                    <a:pt x="62" y="186"/>
                  </a:lnTo>
                  <a:lnTo>
                    <a:pt x="86" y="200"/>
                  </a:lnTo>
                  <a:lnTo>
                    <a:pt x="94" y="206"/>
                  </a:lnTo>
                  <a:lnTo>
                    <a:pt x="116" y="222"/>
                  </a:lnTo>
                  <a:lnTo>
                    <a:pt x="119" y="226"/>
                  </a:lnTo>
                  <a:lnTo>
                    <a:pt x="123" y="230"/>
                  </a:lnTo>
                  <a:lnTo>
                    <a:pt x="125" y="237"/>
                  </a:lnTo>
                  <a:lnTo>
                    <a:pt x="127" y="243"/>
                  </a:lnTo>
                  <a:lnTo>
                    <a:pt x="130" y="248"/>
                  </a:lnTo>
                  <a:lnTo>
                    <a:pt x="138" y="257"/>
                  </a:lnTo>
                  <a:lnTo>
                    <a:pt x="141" y="261"/>
                  </a:lnTo>
                  <a:lnTo>
                    <a:pt x="152" y="272"/>
                  </a:lnTo>
                  <a:lnTo>
                    <a:pt x="171" y="292"/>
                  </a:lnTo>
                  <a:lnTo>
                    <a:pt x="174" y="296"/>
                  </a:lnTo>
                  <a:lnTo>
                    <a:pt x="174" y="301"/>
                  </a:lnTo>
                  <a:lnTo>
                    <a:pt x="174" y="301"/>
                  </a:lnTo>
                  <a:lnTo>
                    <a:pt x="178" y="296"/>
                  </a:lnTo>
                  <a:lnTo>
                    <a:pt x="209" y="265"/>
                  </a:lnTo>
                  <a:lnTo>
                    <a:pt x="211" y="263"/>
                  </a:lnTo>
                  <a:lnTo>
                    <a:pt x="213" y="263"/>
                  </a:lnTo>
                  <a:lnTo>
                    <a:pt x="215" y="263"/>
                  </a:lnTo>
                  <a:lnTo>
                    <a:pt x="233" y="268"/>
                  </a:lnTo>
                  <a:lnTo>
                    <a:pt x="237" y="272"/>
                  </a:lnTo>
                  <a:lnTo>
                    <a:pt x="239" y="272"/>
                  </a:lnTo>
                  <a:lnTo>
                    <a:pt x="242" y="272"/>
                  </a:lnTo>
                  <a:lnTo>
                    <a:pt x="242" y="270"/>
                  </a:lnTo>
                  <a:lnTo>
                    <a:pt x="244" y="270"/>
                  </a:lnTo>
                  <a:lnTo>
                    <a:pt x="244" y="268"/>
                  </a:lnTo>
                  <a:lnTo>
                    <a:pt x="244" y="252"/>
                  </a:lnTo>
                  <a:lnTo>
                    <a:pt x="244" y="250"/>
                  </a:lnTo>
                  <a:lnTo>
                    <a:pt x="246" y="248"/>
                  </a:lnTo>
                  <a:lnTo>
                    <a:pt x="248" y="246"/>
                  </a:lnTo>
                  <a:lnTo>
                    <a:pt x="253" y="243"/>
                  </a:lnTo>
                  <a:lnTo>
                    <a:pt x="257" y="241"/>
                  </a:lnTo>
                  <a:lnTo>
                    <a:pt x="264" y="232"/>
                  </a:lnTo>
                  <a:lnTo>
                    <a:pt x="266" y="230"/>
                  </a:lnTo>
                  <a:lnTo>
                    <a:pt x="268" y="230"/>
                  </a:lnTo>
                  <a:lnTo>
                    <a:pt x="270" y="228"/>
                  </a:lnTo>
                  <a:lnTo>
                    <a:pt x="272" y="226"/>
                  </a:lnTo>
                  <a:lnTo>
                    <a:pt x="272" y="224"/>
                  </a:lnTo>
                  <a:lnTo>
                    <a:pt x="272" y="222"/>
                  </a:lnTo>
                  <a:lnTo>
                    <a:pt x="272" y="219"/>
                  </a:lnTo>
                  <a:lnTo>
                    <a:pt x="272" y="219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20" name="Freeform 23"/>
            <p:cNvSpPr>
              <a:spLocks/>
            </p:cNvSpPr>
            <p:nvPr/>
          </p:nvSpPr>
          <p:spPr bwMode="auto">
            <a:xfrm>
              <a:off x="4200525" y="3097213"/>
              <a:ext cx="835025" cy="595312"/>
            </a:xfrm>
            <a:custGeom>
              <a:avLst/>
              <a:gdLst>
                <a:gd name="T0" fmla="*/ 505 w 526"/>
                <a:gd name="T1" fmla="*/ 226 h 375"/>
                <a:gd name="T2" fmla="*/ 454 w 526"/>
                <a:gd name="T3" fmla="*/ 209 h 375"/>
                <a:gd name="T4" fmla="*/ 432 w 526"/>
                <a:gd name="T5" fmla="*/ 207 h 375"/>
                <a:gd name="T6" fmla="*/ 425 w 526"/>
                <a:gd name="T7" fmla="*/ 193 h 375"/>
                <a:gd name="T8" fmla="*/ 425 w 526"/>
                <a:gd name="T9" fmla="*/ 176 h 375"/>
                <a:gd name="T10" fmla="*/ 412 w 526"/>
                <a:gd name="T11" fmla="*/ 132 h 375"/>
                <a:gd name="T12" fmla="*/ 404 w 526"/>
                <a:gd name="T13" fmla="*/ 97 h 375"/>
                <a:gd name="T14" fmla="*/ 388 w 526"/>
                <a:gd name="T15" fmla="*/ 51 h 375"/>
                <a:gd name="T16" fmla="*/ 368 w 526"/>
                <a:gd name="T17" fmla="*/ 16 h 375"/>
                <a:gd name="T18" fmla="*/ 338 w 526"/>
                <a:gd name="T19" fmla="*/ 5 h 375"/>
                <a:gd name="T20" fmla="*/ 320 w 526"/>
                <a:gd name="T21" fmla="*/ 16 h 375"/>
                <a:gd name="T22" fmla="*/ 333 w 526"/>
                <a:gd name="T23" fmla="*/ 46 h 375"/>
                <a:gd name="T24" fmla="*/ 338 w 526"/>
                <a:gd name="T25" fmla="*/ 55 h 375"/>
                <a:gd name="T26" fmla="*/ 342 w 526"/>
                <a:gd name="T27" fmla="*/ 66 h 375"/>
                <a:gd name="T28" fmla="*/ 360 w 526"/>
                <a:gd name="T29" fmla="*/ 95 h 375"/>
                <a:gd name="T30" fmla="*/ 329 w 526"/>
                <a:gd name="T31" fmla="*/ 103 h 375"/>
                <a:gd name="T32" fmla="*/ 327 w 526"/>
                <a:gd name="T33" fmla="*/ 132 h 375"/>
                <a:gd name="T34" fmla="*/ 298 w 526"/>
                <a:gd name="T35" fmla="*/ 138 h 375"/>
                <a:gd name="T36" fmla="*/ 272 w 526"/>
                <a:gd name="T37" fmla="*/ 147 h 375"/>
                <a:gd name="T38" fmla="*/ 259 w 526"/>
                <a:gd name="T39" fmla="*/ 141 h 375"/>
                <a:gd name="T40" fmla="*/ 243 w 526"/>
                <a:gd name="T41" fmla="*/ 130 h 375"/>
                <a:gd name="T42" fmla="*/ 206 w 526"/>
                <a:gd name="T43" fmla="*/ 114 h 375"/>
                <a:gd name="T44" fmla="*/ 184 w 526"/>
                <a:gd name="T45" fmla="*/ 117 h 375"/>
                <a:gd name="T46" fmla="*/ 155 w 526"/>
                <a:gd name="T47" fmla="*/ 119 h 375"/>
                <a:gd name="T48" fmla="*/ 138 w 526"/>
                <a:gd name="T49" fmla="*/ 123 h 375"/>
                <a:gd name="T50" fmla="*/ 133 w 526"/>
                <a:gd name="T51" fmla="*/ 134 h 375"/>
                <a:gd name="T52" fmla="*/ 116 w 526"/>
                <a:gd name="T53" fmla="*/ 132 h 375"/>
                <a:gd name="T54" fmla="*/ 118 w 526"/>
                <a:gd name="T55" fmla="*/ 114 h 375"/>
                <a:gd name="T56" fmla="*/ 96 w 526"/>
                <a:gd name="T57" fmla="*/ 86 h 375"/>
                <a:gd name="T58" fmla="*/ 59 w 526"/>
                <a:gd name="T59" fmla="*/ 73 h 375"/>
                <a:gd name="T60" fmla="*/ 65 w 526"/>
                <a:gd name="T61" fmla="*/ 53 h 375"/>
                <a:gd name="T62" fmla="*/ 59 w 526"/>
                <a:gd name="T63" fmla="*/ 5 h 375"/>
                <a:gd name="T64" fmla="*/ 0 w 526"/>
                <a:gd name="T65" fmla="*/ 42 h 375"/>
                <a:gd name="T66" fmla="*/ 21 w 526"/>
                <a:gd name="T67" fmla="*/ 79 h 375"/>
                <a:gd name="T68" fmla="*/ 39 w 526"/>
                <a:gd name="T69" fmla="*/ 119 h 375"/>
                <a:gd name="T70" fmla="*/ 43 w 526"/>
                <a:gd name="T71" fmla="*/ 143 h 375"/>
                <a:gd name="T72" fmla="*/ 105 w 526"/>
                <a:gd name="T73" fmla="*/ 207 h 375"/>
                <a:gd name="T74" fmla="*/ 147 w 526"/>
                <a:gd name="T75" fmla="*/ 266 h 375"/>
                <a:gd name="T76" fmla="*/ 142 w 526"/>
                <a:gd name="T77" fmla="*/ 279 h 375"/>
                <a:gd name="T78" fmla="*/ 175 w 526"/>
                <a:gd name="T79" fmla="*/ 316 h 375"/>
                <a:gd name="T80" fmla="*/ 173 w 526"/>
                <a:gd name="T81" fmla="*/ 338 h 375"/>
                <a:gd name="T82" fmla="*/ 193 w 526"/>
                <a:gd name="T83" fmla="*/ 371 h 375"/>
                <a:gd name="T84" fmla="*/ 204 w 526"/>
                <a:gd name="T85" fmla="*/ 349 h 375"/>
                <a:gd name="T86" fmla="*/ 265 w 526"/>
                <a:gd name="T87" fmla="*/ 318 h 375"/>
                <a:gd name="T88" fmla="*/ 270 w 526"/>
                <a:gd name="T89" fmla="*/ 296 h 375"/>
                <a:gd name="T90" fmla="*/ 285 w 526"/>
                <a:gd name="T91" fmla="*/ 268 h 375"/>
                <a:gd name="T92" fmla="*/ 322 w 526"/>
                <a:gd name="T93" fmla="*/ 226 h 375"/>
                <a:gd name="T94" fmla="*/ 338 w 526"/>
                <a:gd name="T95" fmla="*/ 207 h 375"/>
                <a:gd name="T96" fmla="*/ 366 w 526"/>
                <a:gd name="T97" fmla="*/ 204 h 375"/>
                <a:gd name="T98" fmla="*/ 384 w 526"/>
                <a:gd name="T99" fmla="*/ 211 h 375"/>
                <a:gd name="T100" fmla="*/ 406 w 526"/>
                <a:gd name="T101" fmla="*/ 237 h 375"/>
                <a:gd name="T102" fmla="*/ 441 w 526"/>
                <a:gd name="T103" fmla="*/ 288 h 375"/>
                <a:gd name="T104" fmla="*/ 489 w 526"/>
                <a:gd name="T105" fmla="*/ 288 h 375"/>
                <a:gd name="T106" fmla="*/ 500 w 526"/>
                <a:gd name="T107" fmla="*/ 307 h 375"/>
                <a:gd name="T108" fmla="*/ 522 w 526"/>
                <a:gd name="T109" fmla="*/ 31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26" h="375">
                  <a:moveTo>
                    <a:pt x="524" y="296"/>
                  </a:moveTo>
                  <a:lnTo>
                    <a:pt x="524" y="294"/>
                  </a:lnTo>
                  <a:lnTo>
                    <a:pt x="522" y="292"/>
                  </a:lnTo>
                  <a:lnTo>
                    <a:pt x="518" y="248"/>
                  </a:lnTo>
                  <a:lnTo>
                    <a:pt x="518" y="244"/>
                  </a:lnTo>
                  <a:lnTo>
                    <a:pt x="518" y="242"/>
                  </a:lnTo>
                  <a:lnTo>
                    <a:pt x="505" y="226"/>
                  </a:lnTo>
                  <a:lnTo>
                    <a:pt x="502" y="226"/>
                  </a:lnTo>
                  <a:lnTo>
                    <a:pt x="496" y="222"/>
                  </a:lnTo>
                  <a:lnTo>
                    <a:pt x="491" y="220"/>
                  </a:lnTo>
                  <a:lnTo>
                    <a:pt x="483" y="217"/>
                  </a:lnTo>
                  <a:lnTo>
                    <a:pt x="476" y="213"/>
                  </a:lnTo>
                  <a:lnTo>
                    <a:pt x="456" y="209"/>
                  </a:lnTo>
                  <a:lnTo>
                    <a:pt x="454" y="209"/>
                  </a:lnTo>
                  <a:lnTo>
                    <a:pt x="450" y="209"/>
                  </a:lnTo>
                  <a:lnTo>
                    <a:pt x="447" y="211"/>
                  </a:lnTo>
                  <a:lnTo>
                    <a:pt x="445" y="211"/>
                  </a:lnTo>
                  <a:lnTo>
                    <a:pt x="441" y="211"/>
                  </a:lnTo>
                  <a:lnTo>
                    <a:pt x="436" y="209"/>
                  </a:lnTo>
                  <a:lnTo>
                    <a:pt x="434" y="209"/>
                  </a:lnTo>
                  <a:lnTo>
                    <a:pt x="432" y="207"/>
                  </a:lnTo>
                  <a:lnTo>
                    <a:pt x="432" y="204"/>
                  </a:lnTo>
                  <a:lnTo>
                    <a:pt x="430" y="202"/>
                  </a:lnTo>
                  <a:lnTo>
                    <a:pt x="428" y="198"/>
                  </a:lnTo>
                  <a:lnTo>
                    <a:pt x="425" y="198"/>
                  </a:lnTo>
                  <a:lnTo>
                    <a:pt x="425" y="196"/>
                  </a:lnTo>
                  <a:lnTo>
                    <a:pt x="425" y="196"/>
                  </a:lnTo>
                  <a:lnTo>
                    <a:pt x="425" y="193"/>
                  </a:lnTo>
                  <a:lnTo>
                    <a:pt x="425" y="193"/>
                  </a:lnTo>
                  <a:lnTo>
                    <a:pt x="428" y="191"/>
                  </a:lnTo>
                  <a:lnTo>
                    <a:pt x="428" y="189"/>
                  </a:lnTo>
                  <a:lnTo>
                    <a:pt x="428" y="187"/>
                  </a:lnTo>
                  <a:lnTo>
                    <a:pt x="428" y="182"/>
                  </a:lnTo>
                  <a:lnTo>
                    <a:pt x="428" y="180"/>
                  </a:lnTo>
                  <a:lnTo>
                    <a:pt x="425" y="176"/>
                  </a:lnTo>
                  <a:lnTo>
                    <a:pt x="419" y="165"/>
                  </a:lnTo>
                  <a:lnTo>
                    <a:pt x="415" y="158"/>
                  </a:lnTo>
                  <a:lnTo>
                    <a:pt x="415" y="154"/>
                  </a:lnTo>
                  <a:lnTo>
                    <a:pt x="412" y="152"/>
                  </a:lnTo>
                  <a:lnTo>
                    <a:pt x="412" y="143"/>
                  </a:lnTo>
                  <a:lnTo>
                    <a:pt x="412" y="136"/>
                  </a:lnTo>
                  <a:lnTo>
                    <a:pt x="412" y="132"/>
                  </a:lnTo>
                  <a:lnTo>
                    <a:pt x="417" y="121"/>
                  </a:lnTo>
                  <a:lnTo>
                    <a:pt x="417" y="119"/>
                  </a:lnTo>
                  <a:lnTo>
                    <a:pt x="417" y="114"/>
                  </a:lnTo>
                  <a:lnTo>
                    <a:pt x="415" y="112"/>
                  </a:lnTo>
                  <a:lnTo>
                    <a:pt x="410" y="106"/>
                  </a:lnTo>
                  <a:lnTo>
                    <a:pt x="404" y="99"/>
                  </a:lnTo>
                  <a:lnTo>
                    <a:pt x="404" y="97"/>
                  </a:lnTo>
                  <a:lnTo>
                    <a:pt x="397" y="92"/>
                  </a:lnTo>
                  <a:lnTo>
                    <a:pt x="395" y="90"/>
                  </a:lnTo>
                  <a:lnTo>
                    <a:pt x="390" y="84"/>
                  </a:lnTo>
                  <a:lnTo>
                    <a:pt x="384" y="70"/>
                  </a:lnTo>
                  <a:lnTo>
                    <a:pt x="384" y="66"/>
                  </a:lnTo>
                  <a:lnTo>
                    <a:pt x="384" y="62"/>
                  </a:lnTo>
                  <a:lnTo>
                    <a:pt x="388" y="51"/>
                  </a:lnTo>
                  <a:lnTo>
                    <a:pt x="388" y="48"/>
                  </a:lnTo>
                  <a:lnTo>
                    <a:pt x="388" y="44"/>
                  </a:lnTo>
                  <a:lnTo>
                    <a:pt x="386" y="42"/>
                  </a:lnTo>
                  <a:lnTo>
                    <a:pt x="386" y="40"/>
                  </a:lnTo>
                  <a:lnTo>
                    <a:pt x="375" y="33"/>
                  </a:lnTo>
                  <a:lnTo>
                    <a:pt x="373" y="31"/>
                  </a:lnTo>
                  <a:lnTo>
                    <a:pt x="368" y="16"/>
                  </a:lnTo>
                  <a:lnTo>
                    <a:pt x="366" y="11"/>
                  </a:lnTo>
                  <a:lnTo>
                    <a:pt x="364" y="9"/>
                  </a:lnTo>
                  <a:lnTo>
                    <a:pt x="362" y="7"/>
                  </a:lnTo>
                  <a:lnTo>
                    <a:pt x="351" y="9"/>
                  </a:lnTo>
                  <a:lnTo>
                    <a:pt x="346" y="7"/>
                  </a:lnTo>
                  <a:lnTo>
                    <a:pt x="342" y="7"/>
                  </a:lnTo>
                  <a:lnTo>
                    <a:pt x="338" y="5"/>
                  </a:lnTo>
                  <a:lnTo>
                    <a:pt x="335" y="5"/>
                  </a:lnTo>
                  <a:lnTo>
                    <a:pt x="331" y="7"/>
                  </a:lnTo>
                  <a:lnTo>
                    <a:pt x="327" y="7"/>
                  </a:lnTo>
                  <a:lnTo>
                    <a:pt x="320" y="9"/>
                  </a:lnTo>
                  <a:lnTo>
                    <a:pt x="316" y="11"/>
                  </a:lnTo>
                  <a:lnTo>
                    <a:pt x="318" y="13"/>
                  </a:lnTo>
                  <a:lnTo>
                    <a:pt x="320" y="16"/>
                  </a:lnTo>
                  <a:lnTo>
                    <a:pt x="322" y="22"/>
                  </a:lnTo>
                  <a:lnTo>
                    <a:pt x="324" y="35"/>
                  </a:lnTo>
                  <a:lnTo>
                    <a:pt x="327" y="38"/>
                  </a:lnTo>
                  <a:lnTo>
                    <a:pt x="329" y="40"/>
                  </a:lnTo>
                  <a:lnTo>
                    <a:pt x="329" y="40"/>
                  </a:lnTo>
                  <a:lnTo>
                    <a:pt x="331" y="42"/>
                  </a:lnTo>
                  <a:lnTo>
                    <a:pt x="333" y="46"/>
                  </a:lnTo>
                  <a:lnTo>
                    <a:pt x="333" y="46"/>
                  </a:lnTo>
                  <a:lnTo>
                    <a:pt x="333" y="48"/>
                  </a:lnTo>
                  <a:lnTo>
                    <a:pt x="335" y="48"/>
                  </a:lnTo>
                  <a:lnTo>
                    <a:pt x="338" y="48"/>
                  </a:lnTo>
                  <a:lnTo>
                    <a:pt x="338" y="51"/>
                  </a:lnTo>
                  <a:lnTo>
                    <a:pt x="338" y="53"/>
                  </a:lnTo>
                  <a:lnTo>
                    <a:pt x="338" y="55"/>
                  </a:lnTo>
                  <a:lnTo>
                    <a:pt x="338" y="59"/>
                  </a:lnTo>
                  <a:lnTo>
                    <a:pt x="338" y="59"/>
                  </a:lnTo>
                  <a:lnTo>
                    <a:pt x="340" y="62"/>
                  </a:lnTo>
                  <a:lnTo>
                    <a:pt x="340" y="62"/>
                  </a:lnTo>
                  <a:lnTo>
                    <a:pt x="342" y="62"/>
                  </a:lnTo>
                  <a:lnTo>
                    <a:pt x="342" y="64"/>
                  </a:lnTo>
                  <a:lnTo>
                    <a:pt x="342" y="66"/>
                  </a:lnTo>
                  <a:lnTo>
                    <a:pt x="342" y="70"/>
                  </a:lnTo>
                  <a:lnTo>
                    <a:pt x="344" y="79"/>
                  </a:lnTo>
                  <a:lnTo>
                    <a:pt x="349" y="81"/>
                  </a:lnTo>
                  <a:lnTo>
                    <a:pt x="353" y="86"/>
                  </a:lnTo>
                  <a:lnTo>
                    <a:pt x="357" y="88"/>
                  </a:lnTo>
                  <a:lnTo>
                    <a:pt x="357" y="92"/>
                  </a:lnTo>
                  <a:lnTo>
                    <a:pt x="360" y="95"/>
                  </a:lnTo>
                  <a:lnTo>
                    <a:pt x="355" y="95"/>
                  </a:lnTo>
                  <a:lnTo>
                    <a:pt x="353" y="95"/>
                  </a:lnTo>
                  <a:lnTo>
                    <a:pt x="346" y="95"/>
                  </a:lnTo>
                  <a:lnTo>
                    <a:pt x="344" y="95"/>
                  </a:lnTo>
                  <a:lnTo>
                    <a:pt x="342" y="97"/>
                  </a:lnTo>
                  <a:lnTo>
                    <a:pt x="340" y="97"/>
                  </a:lnTo>
                  <a:lnTo>
                    <a:pt x="329" y="103"/>
                  </a:lnTo>
                  <a:lnTo>
                    <a:pt x="329" y="106"/>
                  </a:lnTo>
                  <a:lnTo>
                    <a:pt x="329" y="108"/>
                  </a:lnTo>
                  <a:lnTo>
                    <a:pt x="329" y="112"/>
                  </a:lnTo>
                  <a:lnTo>
                    <a:pt x="331" y="114"/>
                  </a:lnTo>
                  <a:lnTo>
                    <a:pt x="331" y="121"/>
                  </a:lnTo>
                  <a:lnTo>
                    <a:pt x="329" y="125"/>
                  </a:lnTo>
                  <a:lnTo>
                    <a:pt x="327" y="132"/>
                  </a:lnTo>
                  <a:lnTo>
                    <a:pt x="324" y="134"/>
                  </a:lnTo>
                  <a:lnTo>
                    <a:pt x="322" y="134"/>
                  </a:lnTo>
                  <a:lnTo>
                    <a:pt x="316" y="134"/>
                  </a:lnTo>
                  <a:lnTo>
                    <a:pt x="314" y="134"/>
                  </a:lnTo>
                  <a:lnTo>
                    <a:pt x="303" y="138"/>
                  </a:lnTo>
                  <a:lnTo>
                    <a:pt x="300" y="138"/>
                  </a:lnTo>
                  <a:lnTo>
                    <a:pt x="298" y="138"/>
                  </a:lnTo>
                  <a:lnTo>
                    <a:pt x="296" y="136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92" y="132"/>
                  </a:lnTo>
                  <a:lnTo>
                    <a:pt x="287" y="134"/>
                  </a:lnTo>
                  <a:lnTo>
                    <a:pt x="281" y="143"/>
                  </a:lnTo>
                  <a:lnTo>
                    <a:pt x="272" y="147"/>
                  </a:lnTo>
                  <a:lnTo>
                    <a:pt x="270" y="149"/>
                  </a:lnTo>
                  <a:lnTo>
                    <a:pt x="265" y="149"/>
                  </a:lnTo>
                  <a:lnTo>
                    <a:pt x="263" y="152"/>
                  </a:lnTo>
                  <a:lnTo>
                    <a:pt x="259" y="152"/>
                  </a:lnTo>
                  <a:lnTo>
                    <a:pt x="259" y="149"/>
                  </a:lnTo>
                  <a:lnTo>
                    <a:pt x="259" y="143"/>
                  </a:lnTo>
                  <a:lnTo>
                    <a:pt x="259" y="141"/>
                  </a:lnTo>
                  <a:lnTo>
                    <a:pt x="256" y="138"/>
                  </a:lnTo>
                  <a:lnTo>
                    <a:pt x="254" y="138"/>
                  </a:lnTo>
                  <a:lnTo>
                    <a:pt x="252" y="136"/>
                  </a:lnTo>
                  <a:lnTo>
                    <a:pt x="248" y="136"/>
                  </a:lnTo>
                  <a:lnTo>
                    <a:pt x="245" y="134"/>
                  </a:lnTo>
                  <a:lnTo>
                    <a:pt x="243" y="132"/>
                  </a:lnTo>
                  <a:lnTo>
                    <a:pt x="243" y="130"/>
                  </a:lnTo>
                  <a:lnTo>
                    <a:pt x="241" y="130"/>
                  </a:lnTo>
                  <a:lnTo>
                    <a:pt x="239" y="128"/>
                  </a:lnTo>
                  <a:lnTo>
                    <a:pt x="230" y="130"/>
                  </a:lnTo>
                  <a:lnTo>
                    <a:pt x="223" y="128"/>
                  </a:lnTo>
                  <a:lnTo>
                    <a:pt x="219" y="125"/>
                  </a:lnTo>
                  <a:lnTo>
                    <a:pt x="213" y="121"/>
                  </a:lnTo>
                  <a:lnTo>
                    <a:pt x="206" y="114"/>
                  </a:lnTo>
                  <a:lnTo>
                    <a:pt x="204" y="114"/>
                  </a:lnTo>
                  <a:lnTo>
                    <a:pt x="199" y="114"/>
                  </a:lnTo>
                  <a:lnTo>
                    <a:pt x="193" y="114"/>
                  </a:lnTo>
                  <a:lnTo>
                    <a:pt x="191" y="114"/>
                  </a:lnTo>
                  <a:lnTo>
                    <a:pt x="188" y="117"/>
                  </a:lnTo>
                  <a:lnTo>
                    <a:pt x="184" y="117"/>
                  </a:lnTo>
                  <a:lnTo>
                    <a:pt x="184" y="117"/>
                  </a:lnTo>
                  <a:lnTo>
                    <a:pt x="182" y="117"/>
                  </a:lnTo>
                  <a:lnTo>
                    <a:pt x="177" y="114"/>
                  </a:lnTo>
                  <a:lnTo>
                    <a:pt x="171" y="112"/>
                  </a:lnTo>
                  <a:lnTo>
                    <a:pt x="169" y="112"/>
                  </a:lnTo>
                  <a:lnTo>
                    <a:pt x="169" y="112"/>
                  </a:lnTo>
                  <a:lnTo>
                    <a:pt x="162" y="114"/>
                  </a:lnTo>
                  <a:lnTo>
                    <a:pt x="155" y="119"/>
                  </a:lnTo>
                  <a:lnTo>
                    <a:pt x="153" y="119"/>
                  </a:lnTo>
                  <a:lnTo>
                    <a:pt x="147" y="119"/>
                  </a:lnTo>
                  <a:lnTo>
                    <a:pt x="147" y="119"/>
                  </a:lnTo>
                  <a:lnTo>
                    <a:pt x="147" y="119"/>
                  </a:lnTo>
                  <a:lnTo>
                    <a:pt x="142" y="119"/>
                  </a:lnTo>
                  <a:lnTo>
                    <a:pt x="140" y="121"/>
                  </a:lnTo>
                  <a:lnTo>
                    <a:pt x="138" y="123"/>
                  </a:lnTo>
                  <a:lnTo>
                    <a:pt x="136" y="125"/>
                  </a:lnTo>
                  <a:lnTo>
                    <a:pt x="136" y="125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3" y="132"/>
                  </a:lnTo>
                  <a:lnTo>
                    <a:pt x="133" y="132"/>
                  </a:lnTo>
                  <a:lnTo>
                    <a:pt x="133" y="134"/>
                  </a:lnTo>
                  <a:lnTo>
                    <a:pt x="133" y="134"/>
                  </a:lnTo>
                  <a:lnTo>
                    <a:pt x="131" y="134"/>
                  </a:lnTo>
                  <a:lnTo>
                    <a:pt x="131" y="134"/>
                  </a:lnTo>
                  <a:lnTo>
                    <a:pt x="129" y="138"/>
                  </a:lnTo>
                  <a:lnTo>
                    <a:pt x="127" y="138"/>
                  </a:lnTo>
                  <a:lnTo>
                    <a:pt x="127" y="138"/>
                  </a:lnTo>
                  <a:lnTo>
                    <a:pt x="116" y="132"/>
                  </a:lnTo>
                  <a:lnTo>
                    <a:pt x="116" y="130"/>
                  </a:lnTo>
                  <a:lnTo>
                    <a:pt x="116" y="128"/>
                  </a:lnTo>
                  <a:lnTo>
                    <a:pt x="116" y="125"/>
                  </a:lnTo>
                  <a:lnTo>
                    <a:pt x="118" y="119"/>
                  </a:lnTo>
                  <a:lnTo>
                    <a:pt x="118" y="119"/>
                  </a:lnTo>
                  <a:lnTo>
                    <a:pt x="118" y="117"/>
                  </a:lnTo>
                  <a:lnTo>
                    <a:pt x="118" y="114"/>
                  </a:lnTo>
                  <a:lnTo>
                    <a:pt x="116" y="112"/>
                  </a:lnTo>
                  <a:lnTo>
                    <a:pt x="112" y="103"/>
                  </a:lnTo>
                  <a:lnTo>
                    <a:pt x="112" y="101"/>
                  </a:lnTo>
                  <a:lnTo>
                    <a:pt x="112" y="99"/>
                  </a:lnTo>
                  <a:lnTo>
                    <a:pt x="109" y="97"/>
                  </a:lnTo>
                  <a:lnTo>
                    <a:pt x="105" y="95"/>
                  </a:lnTo>
                  <a:lnTo>
                    <a:pt x="96" y="86"/>
                  </a:lnTo>
                  <a:lnTo>
                    <a:pt x="92" y="84"/>
                  </a:lnTo>
                  <a:lnTo>
                    <a:pt x="85" y="81"/>
                  </a:lnTo>
                  <a:lnTo>
                    <a:pt x="83" y="81"/>
                  </a:lnTo>
                  <a:lnTo>
                    <a:pt x="70" y="77"/>
                  </a:lnTo>
                  <a:lnTo>
                    <a:pt x="63" y="75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7" y="70"/>
                  </a:lnTo>
                  <a:lnTo>
                    <a:pt x="57" y="68"/>
                  </a:lnTo>
                  <a:lnTo>
                    <a:pt x="59" y="64"/>
                  </a:lnTo>
                  <a:lnTo>
                    <a:pt x="59" y="62"/>
                  </a:lnTo>
                  <a:lnTo>
                    <a:pt x="61" y="59"/>
                  </a:lnTo>
                  <a:lnTo>
                    <a:pt x="63" y="55"/>
                  </a:lnTo>
                  <a:lnTo>
                    <a:pt x="65" y="53"/>
                  </a:lnTo>
                  <a:lnTo>
                    <a:pt x="65" y="51"/>
                  </a:lnTo>
                  <a:lnTo>
                    <a:pt x="65" y="48"/>
                  </a:lnTo>
                  <a:lnTo>
                    <a:pt x="65" y="44"/>
                  </a:lnTo>
                  <a:lnTo>
                    <a:pt x="65" y="44"/>
                  </a:lnTo>
                  <a:lnTo>
                    <a:pt x="61" y="38"/>
                  </a:lnTo>
                  <a:lnTo>
                    <a:pt x="63" y="9"/>
                  </a:lnTo>
                  <a:lnTo>
                    <a:pt x="59" y="5"/>
                  </a:lnTo>
                  <a:lnTo>
                    <a:pt x="41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5" y="2"/>
                  </a:lnTo>
                  <a:lnTo>
                    <a:pt x="4" y="33"/>
                  </a:lnTo>
                  <a:lnTo>
                    <a:pt x="0" y="38"/>
                  </a:lnTo>
                  <a:lnTo>
                    <a:pt x="0" y="42"/>
                  </a:lnTo>
                  <a:lnTo>
                    <a:pt x="2" y="44"/>
                  </a:lnTo>
                  <a:lnTo>
                    <a:pt x="8" y="51"/>
                  </a:lnTo>
                  <a:lnTo>
                    <a:pt x="15" y="57"/>
                  </a:lnTo>
                  <a:lnTo>
                    <a:pt x="17" y="66"/>
                  </a:lnTo>
                  <a:lnTo>
                    <a:pt x="17" y="70"/>
                  </a:lnTo>
                  <a:lnTo>
                    <a:pt x="19" y="75"/>
                  </a:lnTo>
                  <a:lnTo>
                    <a:pt x="21" y="79"/>
                  </a:lnTo>
                  <a:lnTo>
                    <a:pt x="21" y="84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90"/>
                  </a:lnTo>
                  <a:lnTo>
                    <a:pt x="19" y="95"/>
                  </a:lnTo>
                  <a:lnTo>
                    <a:pt x="26" y="101"/>
                  </a:lnTo>
                  <a:lnTo>
                    <a:pt x="39" y="119"/>
                  </a:lnTo>
                  <a:lnTo>
                    <a:pt x="46" y="130"/>
                  </a:lnTo>
                  <a:lnTo>
                    <a:pt x="48" y="134"/>
                  </a:lnTo>
                  <a:lnTo>
                    <a:pt x="48" y="138"/>
                  </a:lnTo>
                  <a:lnTo>
                    <a:pt x="46" y="141"/>
                  </a:lnTo>
                  <a:lnTo>
                    <a:pt x="43" y="141"/>
                  </a:lnTo>
                  <a:lnTo>
                    <a:pt x="41" y="143"/>
                  </a:lnTo>
                  <a:lnTo>
                    <a:pt x="43" y="143"/>
                  </a:lnTo>
                  <a:lnTo>
                    <a:pt x="46" y="145"/>
                  </a:lnTo>
                  <a:lnTo>
                    <a:pt x="54" y="156"/>
                  </a:lnTo>
                  <a:lnTo>
                    <a:pt x="57" y="165"/>
                  </a:lnTo>
                  <a:lnTo>
                    <a:pt x="63" y="174"/>
                  </a:lnTo>
                  <a:lnTo>
                    <a:pt x="72" y="185"/>
                  </a:lnTo>
                  <a:lnTo>
                    <a:pt x="94" y="200"/>
                  </a:lnTo>
                  <a:lnTo>
                    <a:pt x="105" y="207"/>
                  </a:lnTo>
                  <a:lnTo>
                    <a:pt x="105" y="211"/>
                  </a:lnTo>
                  <a:lnTo>
                    <a:pt x="125" y="228"/>
                  </a:lnTo>
                  <a:lnTo>
                    <a:pt x="131" y="235"/>
                  </a:lnTo>
                  <a:lnTo>
                    <a:pt x="131" y="239"/>
                  </a:lnTo>
                  <a:lnTo>
                    <a:pt x="136" y="244"/>
                  </a:lnTo>
                  <a:lnTo>
                    <a:pt x="136" y="248"/>
                  </a:lnTo>
                  <a:lnTo>
                    <a:pt x="147" y="266"/>
                  </a:lnTo>
                  <a:lnTo>
                    <a:pt x="147" y="270"/>
                  </a:lnTo>
                  <a:lnTo>
                    <a:pt x="147" y="275"/>
                  </a:lnTo>
                  <a:lnTo>
                    <a:pt x="144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0" y="277"/>
                  </a:lnTo>
                  <a:lnTo>
                    <a:pt x="142" y="279"/>
                  </a:lnTo>
                  <a:lnTo>
                    <a:pt x="144" y="281"/>
                  </a:lnTo>
                  <a:lnTo>
                    <a:pt x="151" y="283"/>
                  </a:lnTo>
                  <a:lnTo>
                    <a:pt x="155" y="288"/>
                  </a:lnTo>
                  <a:lnTo>
                    <a:pt x="162" y="294"/>
                  </a:lnTo>
                  <a:lnTo>
                    <a:pt x="169" y="301"/>
                  </a:lnTo>
                  <a:lnTo>
                    <a:pt x="173" y="310"/>
                  </a:lnTo>
                  <a:lnTo>
                    <a:pt x="175" y="316"/>
                  </a:lnTo>
                  <a:lnTo>
                    <a:pt x="175" y="321"/>
                  </a:lnTo>
                  <a:lnTo>
                    <a:pt x="175" y="325"/>
                  </a:lnTo>
                  <a:lnTo>
                    <a:pt x="177" y="329"/>
                  </a:lnTo>
                  <a:lnTo>
                    <a:pt x="175" y="334"/>
                  </a:lnTo>
                  <a:lnTo>
                    <a:pt x="173" y="336"/>
                  </a:lnTo>
                  <a:lnTo>
                    <a:pt x="173" y="338"/>
                  </a:lnTo>
                  <a:lnTo>
                    <a:pt x="173" y="338"/>
                  </a:lnTo>
                  <a:lnTo>
                    <a:pt x="173" y="340"/>
                  </a:lnTo>
                  <a:lnTo>
                    <a:pt x="182" y="351"/>
                  </a:lnTo>
                  <a:lnTo>
                    <a:pt x="184" y="358"/>
                  </a:lnTo>
                  <a:lnTo>
                    <a:pt x="188" y="360"/>
                  </a:lnTo>
                  <a:lnTo>
                    <a:pt x="188" y="365"/>
                  </a:lnTo>
                  <a:lnTo>
                    <a:pt x="191" y="367"/>
                  </a:lnTo>
                  <a:lnTo>
                    <a:pt x="193" y="371"/>
                  </a:lnTo>
                  <a:lnTo>
                    <a:pt x="193" y="375"/>
                  </a:lnTo>
                  <a:lnTo>
                    <a:pt x="193" y="375"/>
                  </a:lnTo>
                  <a:lnTo>
                    <a:pt x="197" y="375"/>
                  </a:lnTo>
                  <a:lnTo>
                    <a:pt x="199" y="373"/>
                  </a:lnTo>
                  <a:lnTo>
                    <a:pt x="199" y="373"/>
                  </a:lnTo>
                  <a:lnTo>
                    <a:pt x="202" y="367"/>
                  </a:lnTo>
                  <a:lnTo>
                    <a:pt x="204" y="349"/>
                  </a:lnTo>
                  <a:lnTo>
                    <a:pt x="208" y="343"/>
                  </a:lnTo>
                  <a:lnTo>
                    <a:pt x="215" y="336"/>
                  </a:lnTo>
                  <a:lnTo>
                    <a:pt x="241" y="327"/>
                  </a:lnTo>
                  <a:lnTo>
                    <a:pt x="250" y="321"/>
                  </a:lnTo>
                  <a:lnTo>
                    <a:pt x="254" y="321"/>
                  </a:lnTo>
                  <a:lnTo>
                    <a:pt x="261" y="318"/>
                  </a:lnTo>
                  <a:lnTo>
                    <a:pt x="265" y="318"/>
                  </a:lnTo>
                  <a:lnTo>
                    <a:pt x="265" y="318"/>
                  </a:lnTo>
                  <a:lnTo>
                    <a:pt x="267" y="318"/>
                  </a:lnTo>
                  <a:lnTo>
                    <a:pt x="272" y="307"/>
                  </a:lnTo>
                  <a:lnTo>
                    <a:pt x="272" y="303"/>
                  </a:lnTo>
                  <a:lnTo>
                    <a:pt x="270" y="301"/>
                  </a:lnTo>
                  <a:lnTo>
                    <a:pt x="270" y="299"/>
                  </a:lnTo>
                  <a:lnTo>
                    <a:pt x="270" y="296"/>
                  </a:lnTo>
                  <a:lnTo>
                    <a:pt x="272" y="294"/>
                  </a:lnTo>
                  <a:lnTo>
                    <a:pt x="278" y="288"/>
                  </a:lnTo>
                  <a:lnTo>
                    <a:pt x="285" y="277"/>
                  </a:lnTo>
                  <a:lnTo>
                    <a:pt x="285" y="275"/>
                  </a:lnTo>
                  <a:lnTo>
                    <a:pt x="285" y="272"/>
                  </a:lnTo>
                  <a:lnTo>
                    <a:pt x="285" y="270"/>
                  </a:lnTo>
                  <a:lnTo>
                    <a:pt x="285" y="268"/>
                  </a:lnTo>
                  <a:lnTo>
                    <a:pt x="287" y="268"/>
                  </a:lnTo>
                  <a:lnTo>
                    <a:pt x="289" y="261"/>
                  </a:lnTo>
                  <a:lnTo>
                    <a:pt x="292" y="259"/>
                  </a:lnTo>
                  <a:lnTo>
                    <a:pt x="292" y="257"/>
                  </a:lnTo>
                  <a:lnTo>
                    <a:pt x="292" y="255"/>
                  </a:lnTo>
                  <a:lnTo>
                    <a:pt x="294" y="253"/>
                  </a:lnTo>
                  <a:lnTo>
                    <a:pt x="322" y="226"/>
                  </a:lnTo>
                  <a:lnTo>
                    <a:pt x="324" y="224"/>
                  </a:lnTo>
                  <a:lnTo>
                    <a:pt x="327" y="220"/>
                  </a:lnTo>
                  <a:lnTo>
                    <a:pt x="331" y="211"/>
                  </a:lnTo>
                  <a:lnTo>
                    <a:pt x="331" y="209"/>
                  </a:lnTo>
                  <a:lnTo>
                    <a:pt x="333" y="207"/>
                  </a:lnTo>
                  <a:lnTo>
                    <a:pt x="335" y="207"/>
                  </a:lnTo>
                  <a:lnTo>
                    <a:pt x="338" y="207"/>
                  </a:lnTo>
                  <a:lnTo>
                    <a:pt x="340" y="209"/>
                  </a:lnTo>
                  <a:lnTo>
                    <a:pt x="344" y="209"/>
                  </a:lnTo>
                  <a:lnTo>
                    <a:pt x="351" y="209"/>
                  </a:lnTo>
                  <a:lnTo>
                    <a:pt x="353" y="209"/>
                  </a:lnTo>
                  <a:lnTo>
                    <a:pt x="355" y="209"/>
                  </a:lnTo>
                  <a:lnTo>
                    <a:pt x="362" y="204"/>
                  </a:lnTo>
                  <a:lnTo>
                    <a:pt x="366" y="204"/>
                  </a:lnTo>
                  <a:lnTo>
                    <a:pt x="373" y="202"/>
                  </a:lnTo>
                  <a:lnTo>
                    <a:pt x="377" y="200"/>
                  </a:lnTo>
                  <a:lnTo>
                    <a:pt x="379" y="198"/>
                  </a:lnTo>
                  <a:lnTo>
                    <a:pt x="379" y="200"/>
                  </a:lnTo>
                  <a:lnTo>
                    <a:pt x="379" y="204"/>
                  </a:lnTo>
                  <a:lnTo>
                    <a:pt x="382" y="207"/>
                  </a:lnTo>
                  <a:lnTo>
                    <a:pt x="384" y="211"/>
                  </a:lnTo>
                  <a:lnTo>
                    <a:pt x="384" y="213"/>
                  </a:lnTo>
                  <a:lnTo>
                    <a:pt x="384" y="215"/>
                  </a:lnTo>
                  <a:lnTo>
                    <a:pt x="384" y="217"/>
                  </a:lnTo>
                  <a:lnTo>
                    <a:pt x="386" y="220"/>
                  </a:lnTo>
                  <a:lnTo>
                    <a:pt x="388" y="224"/>
                  </a:lnTo>
                  <a:lnTo>
                    <a:pt x="401" y="235"/>
                  </a:lnTo>
                  <a:lnTo>
                    <a:pt x="406" y="237"/>
                  </a:lnTo>
                  <a:lnTo>
                    <a:pt x="406" y="239"/>
                  </a:lnTo>
                  <a:lnTo>
                    <a:pt x="408" y="239"/>
                  </a:lnTo>
                  <a:lnTo>
                    <a:pt x="410" y="242"/>
                  </a:lnTo>
                  <a:lnTo>
                    <a:pt x="421" y="261"/>
                  </a:lnTo>
                  <a:lnTo>
                    <a:pt x="434" y="277"/>
                  </a:lnTo>
                  <a:lnTo>
                    <a:pt x="439" y="283"/>
                  </a:lnTo>
                  <a:lnTo>
                    <a:pt x="441" y="288"/>
                  </a:lnTo>
                  <a:lnTo>
                    <a:pt x="441" y="296"/>
                  </a:lnTo>
                  <a:lnTo>
                    <a:pt x="452" y="294"/>
                  </a:lnTo>
                  <a:lnTo>
                    <a:pt x="469" y="294"/>
                  </a:lnTo>
                  <a:lnTo>
                    <a:pt x="474" y="294"/>
                  </a:lnTo>
                  <a:lnTo>
                    <a:pt x="476" y="294"/>
                  </a:lnTo>
                  <a:lnTo>
                    <a:pt x="480" y="292"/>
                  </a:lnTo>
                  <a:lnTo>
                    <a:pt x="489" y="288"/>
                  </a:lnTo>
                  <a:lnTo>
                    <a:pt x="491" y="288"/>
                  </a:lnTo>
                  <a:lnTo>
                    <a:pt x="494" y="290"/>
                  </a:lnTo>
                  <a:lnTo>
                    <a:pt x="494" y="290"/>
                  </a:lnTo>
                  <a:lnTo>
                    <a:pt x="496" y="290"/>
                  </a:lnTo>
                  <a:lnTo>
                    <a:pt x="498" y="296"/>
                  </a:lnTo>
                  <a:lnTo>
                    <a:pt x="498" y="305"/>
                  </a:lnTo>
                  <a:lnTo>
                    <a:pt x="500" y="307"/>
                  </a:lnTo>
                  <a:lnTo>
                    <a:pt x="500" y="307"/>
                  </a:lnTo>
                  <a:lnTo>
                    <a:pt x="505" y="307"/>
                  </a:lnTo>
                  <a:lnTo>
                    <a:pt x="507" y="307"/>
                  </a:lnTo>
                  <a:lnTo>
                    <a:pt x="509" y="307"/>
                  </a:lnTo>
                  <a:lnTo>
                    <a:pt x="518" y="310"/>
                  </a:lnTo>
                  <a:lnTo>
                    <a:pt x="520" y="310"/>
                  </a:lnTo>
                  <a:lnTo>
                    <a:pt x="522" y="310"/>
                  </a:lnTo>
                  <a:lnTo>
                    <a:pt x="524" y="303"/>
                  </a:lnTo>
                  <a:lnTo>
                    <a:pt x="526" y="299"/>
                  </a:lnTo>
                  <a:lnTo>
                    <a:pt x="524" y="296"/>
                  </a:lnTo>
                  <a:lnTo>
                    <a:pt x="524" y="296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21" name="Freeform 24"/>
            <p:cNvSpPr>
              <a:spLocks/>
            </p:cNvSpPr>
            <p:nvPr/>
          </p:nvSpPr>
          <p:spPr bwMode="auto">
            <a:xfrm>
              <a:off x="4265613" y="2393950"/>
              <a:ext cx="506413" cy="944562"/>
            </a:xfrm>
            <a:custGeom>
              <a:avLst/>
              <a:gdLst>
                <a:gd name="T0" fmla="*/ 301 w 319"/>
                <a:gd name="T1" fmla="*/ 509 h 595"/>
                <a:gd name="T2" fmla="*/ 297 w 319"/>
                <a:gd name="T3" fmla="*/ 498 h 595"/>
                <a:gd name="T4" fmla="*/ 292 w 319"/>
                <a:gd name="T5" fmla="*/ 489 h 595"/>
                <a:gd name="T6" fmla="*/ 279 w 319"/>
                <a:gd name="T7" fmla="*/ 459 h 595"/>
                <a:gd name="T8" fmla="*/ 270 w 319"/>
                <a:gd name="T9" fmla="*/ 434 h 595"/>
                <a:gd name="T10" fmla="*/ 270 w 319"/>
                <a:gd name="T11" fmla="*/ 419 h 595"/>
                <a:gd name="T12" fmla="*/ 251 w 319"/>
                <a:gd name="T13" fmla="*/ 364 h 595"/>
                <a:gd name="T14" fmla="*/ 229 w 319"/>
                <a:gd name="T15" fmla="*/ 344 h 595"/>
                <a:gd name="T16" fmla="*/ 189 w 319"/>
                <a:gd name="T17" fmla="*/ 292 h 595"/>
                <a:gd name="T18" fmla="*/ 165 w 319"/>
                <a:gd name="T19" fmla="*/ 279 h 595"/>
                <a:gd name="T20" fmla="*/ 156 w 319"/>
                <a:gd name="T21" fmla="*/ 270 h 595"/>
                <a:gd name="T22" fmla="*/ 134 w 319"/>
                <a:gd name="T23" fmla="*/ 239 h 595"/>
                <a:gd name="T24" fmla="*/ 132 w 319"/>
                <a:gd name="T25" fmla="*/ 219 h 595"/>
                <a:gd name="T26" fmla="*/ 139 w 319"/>
                <a:gd name="T27" fmla="*/ 211 h 595"/>
                <a:gd name="T28" fmla="*/ 134 w 319"/>
                <a:gd name="T29" fmla="*/ 206 h 595"/>
                <a:gd name="T30" fmla="*/ 154 w 319"/>
                <a:gd name="T31" fmla="*/ 182 h 595"/>
                <a:gd name="T32" fmla="*/ 161 w 319"/>
                <a:gd name="T33" fmla="*/ 167 h 595"/>
                <a:gd name="T34" fmla="*/ 152 w 319"/>
                <a:gd name="T35" fmla="*/ 107 h 595"/>
                <a:gd name="T36" fmla="*/ 165 w 319"/>
                <a:gd name="T37" fmla="*/ 77 h 595"/>
                <a:gd name="T38" fmla="*/ 156 w 319"/>
                <a:gd name="T39" fmla="*/ 44 h 595"/>
                <a:gd name="T40" fmla="*/ 114 w 319"/>
                <a:gd name="T41" fmla="*/ 13 h 595"/>
                <a:gd name="T42" fmla="*/ 103 w 319"/>
                <a:gd name="T43" fmla="*/ 53 h 595"/>
                <a:gd name="T44" fmla="*/ 81 w 319"/>
                <a:gd name="T45" fmla="*/ 75 h 595"/>
                <a:gd name="T46" fmla="*/ 62 w 319"/>
                <a:gd name="T47" fmla="*/ 75 h 595"/>
                <a:gd name="T48" fmla="*/ 38 w 319"/>
                <a:gd name="T49" fmla="*/ 83 h 595"/>
                <a:gd name="T50" fmla="*/ 22 w 319"/>
                <a:gd name="T51" fmla="*/ 101 h 595"/>
                <a:gd name="T52" fmla="*/ 20 w 319"/>
                <a:gd name="T53" fmla="*/ 132 h 595"/>
                <a:gd name="T54" fmla="*/ 27 w 319"/>
                <a:gd name="T55" fmla="*/ 171 h 595"/>
                <a:gd name="T56" fmla="*/ 11 w 319"/>
                <a:gd name="T57" fmla="*/ 175 h 595"/>
                <a:gd name="T58" fmla="*/ 13 w 319"/>
                <a:gd name="T59" fmla="*/ 186 h 595"/>
                <a:gd name="T60" fmla="*/ 13 w 319"/>
                <a:gd name="T61" fmla="*/ 226 h 595"/>
                <a:gd name="T62" fmla="*/ 18 w 319"/>
                <a:gd name="T63" fmla="*/ 237 h 595"/>
                <a:gd name="T64" fmla="*/ 7 w 319"/>
                <a:gd name="T65" fmla="*/ 259 h 595"/>
                <a:gd name="T66" fmla="*/ 18 w 319"/>
                <a:gd name="T67" fmla="*/ 261 h 595"/>
                <a:gd name="T68" fmla="*/ 29 w 319"/>
                <a:gd name="T69" fmla="*/ 261 h 595"/>
                <a:gd name="T70" fmla="*/ 44 w 319"/>
                <a:gd name="T71" fmla="*/ 268 h 595"/>
                <a:gd name="T72" fmla="*/ 33 w 319"/>
                <a:gd name="T73" fmla="*/ 287 h 595"/>
                <a:gd name="T74" fmla="*/ 40 w 319"/>
                <a:gd name="T75" fmla="*/ 301 h 595"/>
                <a:gd name="T76" fmla="*/ 11 w 319"/>
                <a:gd name="T77" fmla="*/ 323 h 595"/>
                <a:gd name="T78" fmla="*/ 2 w 319"/>
                <a:gd name="T79" fmla="*/ 338 h 595"/>
                <a:gd name="T80" fmla="*/ 5 w 319"/>
                <a:gd name="T81" fmla="*/ 362 h 595"/>
                <a:gd name="T82" fmla="*/ 18 w 319"/>
                <a:gd name="T83" fmla="*/ 369 h 595"/>
                <a:gd name="T84" fmla="*/ 44 w 319"/>
                <a:gd name="T85" fmla="*/ 393 h 595"/>
                <a:gd name="T86" fmla="*/ 57 w 319"/>
                <a:gd name="T87" fmla="*/ 406 h 595"/>
                <a:gd name="T88" fmla="*/ 33 w 319"/>
                <a:gd name="T89" fmla="*/ 426 h 595"/>
                <a:gd name="T90" fmla="*/ 27 w 319"/>
                <a:gd name="T91" fmla="*/ 452 h 595"/>
                <a:gd name="T92" fmla="*/ 24 w 319"/>
                <a:gd name="T93" fmla="*/ 494 h 595"/>
                <a:gd name="T94" fmla="*/ 16 w 319"/>
                <a:gd name="T95" fmla="*/ 513 h 595"/>
                <a:gd name="T96" fmla="*/ 51 w 319"/>
                <a:gd name="T97" fmla="*/ 527 h 595"/>
                <a:gd name="T98" fmla="*/ 75 w 319"/>
                <a:gd name="T99" fmla="*/ 555 h 595"/>
                <a:gd name="T100" fmla="*/ 75 w 319"/>
                <a:gd name="T101" fmla="*/ 573 h 595"/>
                <a:gd name="T102" fmla="*/ 92 w 319"/>
                <a:gd name="T103" fmla="*/ 577 h 595"/>
                <a:gd name="T104" fmla="*/ 95 w 319"/>
                <a:gd name="T105" fmla="*/ 568 h 595"/>
                <a:gd name="T106" fmla="*/ 112 w 319"/>
                <a:gd name="T107" fmla="*/ 562 h 595"/>
                <a:gd name="T108" fmla="*/ 141 w 319"/>
                <a:gd name="T109" fmla="*/ 560 h 595"/>
                <a:gd name="T110" fmla="*/ 163 w 319"/>
                <a:gd name="T111" fmla="*/ 557 h 595"/>
                <a:gd name="T112" fmla="*/ 200 w 319"/>
                <a:gd name="T113" fmla="*/ 573 h 595"/>
                <a:gd name="T114" fmla="*/ 215 w 319"/>
                <a:gd name="T115" fmla="*/ 581 h 595"/>
                <a:gd name="T116" fmla="*/ 229 w 319"/>
                <a:gd name="T117" fmla="*/ 592 h 595"/>
                <a:gd name="T118" fmla="*/ 255 w 319"/>
                <a:gd name="T119" fmla="*/ 579 h 595"/>
                <a:gd name="T120" fmla="*/ 283 w 319"/>
                <a:gd name="T121" fmla="*/ 577 h 595"/>
                <a:gd name="T122" fmla="*/ 288 w 319"/>
                <a:gd name="T123" fmla="*/ 549 h 595"/>
                <a:gd name="T124" fmla="*/ 314 w 319"/>
                <a:gd name="T125" fmla="*/ 538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9" h="595">
                  <a:moveTo>
                    <a:pt x="316" y="535"/>
                  </a:moveTo>
                  <a:lnTo>
                    <a:pt x="316" y="531"/>
                  </a:lnTo>
                  <a:lnTo>
                    <a:pt x="312" y="529"/>
                  </a:lnTo>
                  <a:lnTo>
                    <a:pt x="308" y="524"/>
                  </a:lnTo>
                  <a:lnTo>
                    <a:pt x="303" y="522"/>
                  </a:lnTo>
                  <a:lnTo>
                    <a:pt x="301" y="513"/>
                  </a:lnTo>
                  <a:lnTo>
                    <a:pt x="301" y="509"/>
                  </a:lnTo>
                  <a:lnTo>
                    <a:pt x="301" y="507"/>
                  </a:lnTo>
                  <a:lnTo>
                    <a:pt x="301" y="505"/>
                  </a:lnTo>
                  <a:lnTo>
                    <a:pt x="299" y="505"/>
                  </a:lnTo>
                  <a:lnTo>
                    <a:pt x="299" y="505"/>
                  </a:lnTo>
                  <a:lnTo>
                    <a:pt x="297" y="502"/>
                  </a:lnTo>
                  <a:lnTo>
                    <a:pt x="297" y="502"/>
                  </a:lnTo>
                  <a:lnTo>
                    <a:pt x="297" y="498"/>
                  </a:lnTo>
                  <a:lnTo>
                    <a:pt x="297" y="496"/>
                  </a:lnTo>
                  <a:lnTo>
                    <a:pt x="297" y="494"/>
                  </a:lnTo>
                  <a:lnTo>
                    <a:pt x="297" y="491"/>
                  </a:lnTo>
                  <a:lnTo>
                    <a:pt x="294" y="491"/>
                  </a:lnTo>
                  <a:lnTo>
                    <a:pt x="292" y="491"/>
                  </a:lnTo>
                  <a:lnTo>
                    <a:pt x="292" y="489"/>
                  </a:lnTo>
                  <a:lnTo>
                    <a:pt x="292" y="489"/>
                  </a:lnTo>
                  <a:lnTo>
                    <a:pt x="290" y="485"/>
                  </a:lnTo>
                  <a:lnTo>
                    <a:pt x="288" y="483"/>
                  </a:lnTo>
                  <a:lnTo>
                    <a:pt x="288" y="483"/>
                  </a:lnTo>
                  <a:lnTo>
                    <a:pt x="286" y="481"/>
                  </a:lnTo>
                  <a:lnTo>
                    <a:pt x="283" y="478"/>
                  </a:lnTo>
                  <a:lnTo>
                    <a:pt x="281" y="465"/>
                  </a:lnTo>
                  <a:lnTo>
                    <a:pt x="279" y="459"/>
                  </a:lnTo>
                  <a:lnTo>
                    <a:pt x="277" y="456"/>
                  </a:lnTo>
                  <a:lnTo>
                    <a:pt x="275" y="454"/>
                  </a:lnTo>
                  <a:lnTo>
                    <a:pt x="273" y="450"/>
                  </a:lnTo>
                  <a:lnTo>
                    <a:pt x="273" y="450"/>
                  </a:lnTo>
                  <a:lnTo>
                    <a:pt x="273" y="443"/>
                  </a:lnTo>
                  <a:lnTo>
                    <a:pt x="270" y="439"/>
                  </a:lnTo>
                  <a:lnTo>
                    <a:pt x="270" y="434"/>
                  </a:lnTo>
                  <a:lnTo>
                    <a:pt x="270" y="430"/>
                  </a:lnTo>
                  <a:lnTo>
                    <a:pt x="270" y="428"/>
                  </a:lnTo>
                  <a:lnTo>
                    <a:pt x="270" y="426"/>
                  </a:lnTo>
                  <a:lnTo>
                    <a:pt x="268" y="423"/>
                  </a:lnTo>
                  <a:lnTo>
                    <a:pt x="268" y="423"/>
                  </a:lnTo>
                  <a:lnTo>
                    <a:pt x="268" y="421"/>
                  </a:lnTo>
                  <a:lnTo>
                    <a:pt x="270" y="419"/>
                  </a:lnTo>
                  <a:lnTo>
                    <a:pt x="270" y="419"/>
                  </a:lnTo>
                  <a:lnTo>
                    <a:pt x="270" y="419"/>
                  </a:lnTo>
                  <a:lnTo>
                    <a:pt x="270" y="410"/>
                  </a:lnTo>
                  <a:lnTo>
                    <a:pt x="270" y="406"/>
                  </a:lnTo>
                  <a:lnTo>
                    <a:pt x="268" y="402"/>
                  </a:lnTo>
                  <a:lnTo>
                    <a:pt x="259" y="386"/>
                  </a:lnTo>
                  <a:lnTo>
                    <a:pt x="251" y="364"/>
                  </a:lnTo>
                  <a:lnTo>
                    <a:pt x="248" y="362"/>
                  </a:lnTo>
                  <a:lnTo>
                    <a:pt x="244" y="358"/>
                  </a:lnTo>
                  <a:lnTo>
                    <a:pt x="244" y="355"/>
                  </a:lnTo>
                  <a:lnTo>
                    <a:pt x="242" y="351"/>
                  </a:lnTo>
                  <a:lnTo>
                    <a:pt x="242" y="349"/>
                  </a:lnTo>
                  <a:lnTo>
                    <a:pt x="237" y="347"/>
                  </a:lnTo>
                  <a:lnTo>
                    <a:pt x="229" y="344"/>
                  </a:lnTo>
                  <a:lnTo>
                    <a:pt x="224" y="340"/>
                  </a:lnTo>
                  <a:lnTo>
                    <a:pt x="213" y="333"/>
                  </a:lnTo>
                  <a:lnTo>
                    <a:pt x="209" y="329"/>
                  </a:lnTo>
                  <a:lnTo>
                    <a:pt x="200" y="314"/>
                  </a:lnTo>
                  <a:lnTo>
                    <a:pt x="193" y="303"/>
                  </a:lnTo>
                  <a:lnTo>
                    <a:pt x="191" y="294"/>
                  </a:lnTo>
                  <a:lnTo>
                    <a:pt x="189" y="292"/>
                  </a:lnTo>
                  <a:lnTo>
                    <a:pt x="185" y="287"/>
                  </a:lnTo>
                  <a:lnTo>
                    <a:pt x="176" y="283"/>
                  </a:lnTo>
                  <a:lnTo>
                    <a:pt x="172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67" y="279"/>
                  </a:lnTo>
                  <a:lnTo>
                    <a:pt x="165" y="279"/>
                  </a:lnTo>
                  <a:lnTo>
                    <a:pt x="163" y="276"/>
                  </a:lnTo>
                  <a:lnTo>
                    <a:pt x="161" y="276"/>
                  </a:lnTo>
                  <a:lnTo>
                    <a:pt x="158" y="274"/>
                  </a:lnTo>
                  <a:lnTo>
                    <a:pt x="158" y="274"/>
                  </a:lnTo>
                  <a:lnTo>
                    <a:pt x="156" y="272"/>
                  </a:lnTo>
                  <a:lnTo>
                    <a:pt x="156" y="270"/>
                  </a:lnTo>
                  <a:lnTo>
                    <a:pt x="156" y="270"/>
                  </a:lnTo>
                  <a:lnTo>
                    <a:pt x="154" y="268"/>
                  </a:lnTo>
                  <a:lnTo>
                    <a:pt x="143" y="254"/>
                  </a:lnTo>
                  <a:lnTo>
                    <a:pt x="141" y="252"/>
                  </a:lnTo>
                  <a:lnTo>
                    <a:pt x="139" y="246"/>
                  </a:lnTo>
                  <a:lnTo>
                    <a:pt x="136" y="244"/>
                  </a:lnTo>
                  <a:lnTo>
                    <a:pt x="136" y="241"/>
                  </a:lnTo>
                  <a:lnTo>
                    <a:pt x="134" y="239"/>
                  </a:lnTo>
                  <a:lnTo>
                    <a:pt x="132" y="235"/>
                  </a:lnTo>
                  <a:lnTo>
                    <a:pt x="130" y="233"/>
                  </a:lnTo>
                  <a:lnTo>
                    <a:pt x="130" y="226"/>
                  </a:lnTo>
                  <a:lnTo>
                    <a:pt x="130" y="224"/>
                  </a:lnTo>
                  <a:lnTo>
                    <a:pt x="130" y="222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2" y="217"/>
                  </a:lnTo>
                  <a:lnTo>
                    <a:pt x="134" y="217"/>
                  </a:lnTo>
                  <a:lnTo>
                    <a:pt x="134" y="217"/>
                  </a:lnTo>
                  <a:lnTo>
                    <a:pt x="136" y="217"/>
                  </a:lnTo>
                  <a:lnTo>
                    <a:pt x="136" y="215"/>
                  </a:lnTo>
                  <a:lnTo>
                    <a:pt x="139" y="213"/>
                  </a:lnTo>
                  <a:lnTo>
                    <a:pt x="139" y="211"/>
                  </a:lnTo>
                  <a:lnTo>
                    <a:pt x="139" y="211"/>
                  </a:lnTo>
                  <a:lnTo>
                    <a:pt x="136" y="211"/>
                  </a:lnTo>
                  <a:lnTo>
                    <a:pt x="134" y="208"/>
                  </a:lnTo>
                  <a:lnTo>
                    <a:pt x="134" y="208"/>
                  </a:lnTo>
                  <a:lnTo>
                    <a:pt x="134" y="208"/>
                  </a:lnTo>
                  <a:lnTo>
                    <a:pt x="134" y="206"/>
                  </a:lnTo>
                  <a:lnTo>
                    <a:pt x="134" y="206"/>
                  </a:lnTo>
                  <a:lnTo>
                    <a:pt x="134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2"/>
                  </a:lnTo>
                  <a:lnTo>
                    <a:pt x="143" y="195"/>
                  </a:lnTo>
                  <a:lnTo>
                    <a:pt x="143" y="195"/>
                  </a:lnTo>
                  <a:lnTo>
                    <a:pt x="154" y="182"/>
                  </a:lnTo>
                  <a:lnTo>
                    <a:pt x="154" y="180"/>
                  </a:lnTo>
                  <a:lnTo>
                    <a:pt x="154" y="180"/>
                  </a:lnTo>
                  <a:lnTo>
                    <a:pt x="158" y="175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1" y="169"/>
                  </a:lnTo>
                  <a:lnTo>
                    <a:pt x="161" y="167"/>
                  </a:lnTo>
                  <a:lnTo>
                    <a:pt x="161" y="167"/>
                  </a:lnTo>
                  <a:lnTo>
                    <a:pt x="158" y="162"/>
                  </a:lnTo>
                  <a:lnTo>
                    <a:pt x="161" y="147"/>
                  </a:lnTo>
                  <a:lnTo>
                    <a:pt x="158" y="127"/>
                  </a:lnTo>
                  <a:lnTo>
                    <a:pt x="156" y="121"/>
                  </a:lnTo>
                  <a:lnTo>
                    <a:pt x="154" y="112"/>
                  </a:lnTo>
                  <a:lnTo>
                    <a:pt x="152" y="107"/>
                  </a:lnTo>
                  <a:lnTo>
                    <a:pt x="152" y="105"/>
                  </a:lnTo>
                  <a:lnTo>
                    <a:pt x="152" y="101"/>
                  </a:lnTo>
                  <a:lnTo>
                    <a:pt x="154" y="96"/>
                  </a:lnTo>
                  <a:lnTo>
                    <a:pt x="158" y="83"/>
                  </a:lnTo>
                  <a:lnTo>
                    <a:pt x="158" y="81"/>
                  </a:lnTo>
                  <a:lnTo>
                    <a:pt x="163" y="79"/>
                  </a:lnTo>
                  <a:lnTo>
                    <a:pt x="165" y="77"/>
                  </a:lnTo>
                  <a:lnTo>
                    <a:pt x="165" y="72"/>
                  </a:lnTo>
                  <a:lnTo>
                    <a:pt x="165" y="70"/>
                  </a:lnTo>
                  <a:lnTo>
                    <a:pt x="165" y="68"/>
                  </a:lnTo>
                  <a:lnTo>
                    <a:pt x="165" y="57"/>
                  </a:lnTo>
                  <a:lnTo>
                    <a:pt x="165" y="55"/>
                  </a:lnTo>
                  <a:lnTo>
                    <a:pt x="161" y="50"/>
                  </a:lnTo>
                  <a:lnTo>
                    <a:pt x="156" y="44"/>
                  </a:lnTo>
                  <a:lnTo>
                    <a:pt x="154" y="37"/>
                  </a:lnTo>
                  <a:lnTo>
                    <a:pt x="152" y="20"/>
                  </a:lnTo>
                  <a:lnTo>
                    <a:pt x="143" y="6"/>
                  </a:lnTo>
                  <a:lnTo>
                    <a:pt x="141" y="0"/>
                  </a:lnTo>
                  <a:lnTo>
                    <a:pt x="139" y="0"/>
                  </a:lnTo>
                  <a:lnTo>
                    <a:pt x="123" y="9"/>
                  </a:lnTo>
                  <a:lnTo>
                    <a:pt x="114" y="13"/>
                  </a:lnTo>
                  <a:lnTo>
                    <a:pt x="106" y="20"/>
                  </a:lnTo>
                  <a:lnTo>
                    <a:pt x="103" y="24"/>
                  </a:lnTo>
                  <a:lnTo>
                    <a:pt x="101" y="31"/>
                  </a:lnTo>
                  <a:lnTo>
                    <a:pt x="101" y="35"/>
                  </a:lnTo>
                  <a:lnTo>
                    <a:pt x="106" y="44"/>
                  </a:lnTo>
                  <a:lnTo>
                    <a:pt x="106" y="48"/>
                  </a:lnTo>
                  <a:lnTo>
                    <a:pt x="103" y="53"/>
                  </a:lnTo>
                  <a:lnTo>
                    <a:pt x="99" y="53"/>
                  </a:lnTo>
                  <a:lnTo>
                    <a:pt x="95" y="53"/>
                  </a:lnTo>
                  <a:lnTo>
                    <a:pt x="90" y="53"/>
                  </a:lnTo>
                  <a:lnTo>
                    <a:pt x="88" y="57"/>
                  </a:lnTo>
                  <a:lnTo>
                    <a:pt x="88" y="66"/>
                  </a:lnTo>
                  <a:lnTo>
                    <a:pt x="86" y="70"/>
                  </a:lnTo>
                  <a:lnTo>
                    <a:pt x="81" y="75"/>
                  </a:lnTo>
                  <a:lnTo>
                    <a:pt x="75" y="79"/>
                  </a:lnTo>
                  <a:lnTo>
                    <a:pt x="73" y="77"/>
                  </a:lnTo>
                  <a:lnTo>
                    <a:pt x="71" y="75"/>
                  </a:lnTo>
                  <a:lnTo>
                    <a:pt x="68" y="72"/>
                  </a:lnTo>
                  <a:lnTo>
                    <a:pt x="66" y="72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57" y="72"/>
                  </a:lnTo>
                  <a:lnTo>
                    <a:pt x="51" y="70"/>
                  </a:lnTo>
                  <a:lnTo>
                    <a:pt x="49" y="70"/>
                  </a:lnTo>
                  <a:lnTo>
                    <a:pt x="44" y="70"/>
                  </a:lnTo>
                  <a:lnTo>
                    <a:pt x="40" y="75"/>
                  </a:lnTo>
                  <a:lnTo>
                    <a:pt x="38" y="77"/>
                  </a:lnTo>
                  <a:lnTo>
                    <a:pt x="38" y="83"/>
                  </a:lnTo>
                  <a:lnTo>
                    <a:pt x="35" y="85"/>
                  </a:lnTo>
                  <a:lnTo>
                    <a:pt x="35" y="85"/>
                  </a:lnTo>
                  <a:lnTo>
                    <a:pt x="33" y="85"/>
                  </a:lnTo>
                  <a:lnTo>
                    <a:pt x="29" y="88"/>
                  </a:lnTo>
                  <a:lnTo>
                    <a:pt x="27" y="94"/>
                  </a:lnTo>
                  <a:lnTo>
                    <a:pt x="24" y="99"/>
                  </a:lnTo>
                  <a:lnTo>
                    <a:pt x="22" y="101"/>
                  </a:lnTo>
                  <a:lnTo>
                    <a:pt x="16" y="105"/>
                  </a:lnTo>
                  <a:lnTo>
                    <a:pt x="16" y="110"/>
                  </a:lnTo>
                  <a:lnTo>
                    <a:pt x="16" y="112"/>
                  </a:lnTo>
                  <a:lnTo>
                    <a:pt x="20" y="123"/>
                  </a:lnTo>
                  <a:lnTo>
                    <a:pt x="20" y="125"/>
                  </a:lnTo>
                  <a:lnTo>
                    <a:pt x="20" y="127"/>
                  </a:lnTo>
                  <a:lnTo>
                    <a:pt x="20" y="132"/>
                  </a:lnTo>
                  <a:lnTo>
                    <a:pt x="20" y="136"/>
                  </a:lnTo>
                  <a:lnTo>
                    <a:pt x="22" y="136"/>
                  </a:lnTo>
                  <a:lnTo>
                    <a:pt x="22" y="138"/>
                  </a:lnTo>
                  <a:lnTo>
                    <a:pt x="24" y="138"/>
                  </a:lnTo>
                  <a:lnTo>
                    <a:pt x="27" y="140"/>
                  </a:lnTo>
                  <a:lnTo>
                    <a:pt x="27" y="167"/>
                  </a:lnTo>
                  <a:lnTo>
                    <a:pt x="27" y="171"/>
                  </a:lnTo>
                  <a:lnTo>
                    <a:pt x="24" y="171"/>
                  </a:lnTo>
                  <a:lnTo>
                    <a:pt x="22" y="169"/>
                  </a:lnTo>
                  <a:lnTo>
                    <a:pt x="20" y="169"/>
                  </a:lnTo>
                  <a:lnTo>
                    <a:pt x="18" y="169"/>
                  </a:lnTo>
                  <a:lnTo>
                    <a:pt x="16" y="169"/>
                  </a:lnTo>
                  <a:lnTo>
                    <a:pt x="16" y="171"/>
                  </a:lnTo>
                  <a:lnTo>
                    <a:pt x="11" y="175"/>
                  </a:lnTo>
                  <a:lnTo>
                    <a:pt x="11" y="178"/>
                  </a:lnTo>
                  <a:lnTo>
                    <a:pt x="11" y="178"/>
                  </a:lnTo>
                  <a:lnTo>
                    <a:pt x="11" y="180"/>
                  </a:lnTo>
                  <a:lnTo>
                    <a:pt x="11" y="182"/>
                  </a:lnTo>
                  <a:lnTo>
                    <a:pt x="13" y="184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91"/>
                  </a:lnTo>
                  <a:lnTo>
                    <a:pt x="11" y="20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9" y="217"/>
                  </a:lnTo>
                  <a:lnTo>
                    <a:pt x="13" y="224"/>
                  </a:lnTo>
                  <a:lnTo>
                    <a:pt x="13" y="226"/>
                  </a:lnTo>
                  <a:lnTo>
                    <a:pt x="13" y="230"/>
                  </a:lnTo>
                  <a:lnTo>
                    <a:pt x="13" y="230"/>
                  </a:lnTo>
                  <a:lnTo>
                    <a:pt x="13" y="233"/>
                  </a:lnTo>
                  <a:lnTo>
                    <a:pt x="13" y="233"/>
                  </a:lnTo>
                  <a:lnTo>
                    <a:pt x="16" y="235"/>
                  </a:lnTo>
                  <a:lnTo>
                    <a:pt x="16" y="235"/>
                  </a:lnTo>
                  <a:lnTo>
                    <a:pt x="18" y="237"/>
                  </a:lnTo>
                  <a:lnTo>
                    <a:pt x="20" y="239"/>
                  </a:lnTo>
                  <a:lnTo>
                    <a:pt x="22" y="246"/>
                  </a:lnTo>
                  <a:lnTo>
                    <a:pt x="20" y="250"/>
                  </a:lnTo>
                  <a:lnTo>
                    <a:pt x="18" y="250"/>
                  </a:lnTo>
                  <a:lnTo>
                    <a:pt x="16" y="252"/>
                  </a:lnTo>
                  <a:lnTo>
                    <a:pt x="13" y="252"/>
                  </a:lnTo>
                  <a:lnTo>
                    <a:pt x="7" y="259"/>
                  </a:lnTo>
                  <a:lnTo>
                    <a:pt x="2" y="261"/>
                  </a:lnTo>
                  <a:lnTo>
                    <a:pt x="7" y="263"/>
                  </a:lnTo>
                  <a:lnTo>
                    <a:pt x="9" y="263"/>
                  </a:lnTo>
                  <a:lnTo>
                    <a:pt x="9" y="263"/>
                  </a:lnTo>
                  <a:lnTo>
                    <a:pt x="11" y="261"/>
                  </a:lnTo>
                  <a:lnTo>
                    <a:pt x="16" y="261"/>
                  </a:lnTo>
                  <a:lnTo>
                    <a:pt x="18" y="261"/>
                  </a:lnTo>
                  <a:lnTo>
                    <a:pt x="18" y="263"/>
                  </a:lnTo>
                  <a:lnTo>
                    <a:pt x="18" y="263"/>
                  </a:lnTo>
                  <a:lnTo>
                    <a:pt x="18" y="265"/>
                  </a:lnTo>
                  <a:lnTo>
                    <a:pt x="20" y="265"/>
                  </a:lnTo>
                  <a:lnTo>
                    <a:pt x="24" y="263"/>
                  </a:lnTo>
                  <a:lnTo>
                    <a:pt x="27" y="261"/>
                  </a:lnTo>
                  <a:lnTo>
                    <a:pt x="29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3" y="263"/>
                  </a:lnTo>
                  <a:lnTo>
                    <a:pt x="33" y="263"/>
                  </a:lnTo>
                  <a:lnTo>
                    <a:pt x="38" y="265"/>
                  </a:lnTo>
                  <a:lnTo>
                    <a:pt x="42" y="265"/>
                  </a:lnTo>
                  <a:lnTo>
                    <a:pt x="44" y="268"/>
                  </a:lnTo>
                  <a:lnTo>
                    <a:pt x="46" y="270"/>
                  </a:lnTo>
                  <a:lnTo>
                    <a:pt x="46" y="270"/>
                  </a:lnTo>
                  <a:lnTo>
                    <a:pt x="46" y="272"/>
                  </a:lnTo>
                  <a:lnTo>
                    <a:pt x="46" y="274"/>
                  </a:lnTo>
                  <a:lnTo>
                    <a:pt x="46" y="276"/>
                  </a:lnTo>
                  <a:lnTo>
                    <a:pt x="44" y="279"/>
                  </a:lnTo>
                  <a:lnTo>
                    <a:pt x="33" y="287"/>
                  </a:lnTo>
                  <a:lnTo>
                    <a:pt x="33" y="290"/>
                  </a:lnTo>
                  <a:lnTo>
                    <a:pt x="33" y="292"/>
                  </a:lnTo>
                  <a:lnTo>
                    <a:pt x="33" y="294"/>
                  </a:lnTo>
                  <a:lnTo>
                    <a:pt x="33" y="296"/>
                  </a:lnTo>
                  <a:lnTo>
                    <a:pt x="35" y="298"/>
                  </a:lnTo>
                  <a:lnTo>
                    <a:pt x="38" y="298"/>
                  </a:lnTo>
                  <a:lnTo>
                    <a:pt x="40" y="301"/>
                  </a:lnTo>
                  <a:lnTo>
                    <a:pt x="42" y="301"/>
                  </a:lnTo>
                  <a:lnTo>
                    <a:pt x="40" y="303"/>
                  </a:lnTo>
                  <a:lnTo>
                    <a:pt x="40" y="309"/>
                  </a:lnTo>
                  <a:lnTo>
                    <a:pt x="33" y="316"/>
                  </a:lnTo>
                  <a:lnTo>
                    <a:pt x="18" y="318"/>
                  </a:lnTo>
                  <a:lnTo>
                    <a:pt x="13" y="320"/>
                  </a:lnTo>
                  <a:lnTo>
                    <a:pt x="11" y="323"/>
                  </a:lnTo>
                  <a:lnTo>
                    <a:pt x="9" y="323"/>
                  </a:lnTo>
                  <a:lnTo>
                    <a:pt x="5" y="327"/>
                  </a:lnTo>
                  <a:lnTo>
                    <a:pt x="5" y="329"/>
                  </a:lnTo>
                  <a:lnTo>
                    <a:pt x="2" y="331"/>
                  </a:lnTo>
                  <a:lnTo>
                    <a:pt x="0" y="333"/>
                  </a:lnTo>
                  <a:lnTo>
                    <a:pt x="0" y="336"/>
                  </a:lnTo>
                  <a:lnTo>
                    <a:pt x="2" y="338"/>
                  </a:lnTo>
                  <a:lnTo>
                    <a:pt x="5" y="342"/>
                  </a:lnTo>
                  <a:lnTo>
                    <a:pt x="5" y="344"/>
                  </a:lnTo>
                  <a:lnTo>
                    <a:pt x="5" y="347"/>
                  </a:lnTo>
                  <a:lnTo>
                    <a:pt x="5" y="347"/>
                  </a:lnTo>
                  <a:lnTo>
                    <a:pt x="2" y="353"/>
                  </a:lnTo>
                  <a:lnTo>
                    <a:pt x="5" y="360"/>
                  </a:lnTo>
                  <a:lnTo>
                    <a:pt x="5" y="362"/>
                  </a:lnTo>
                  <a:lnTo>
                    <a:pt x="7" y="364"/>
                  </a:lnTo>
                  <a:lnTo>
                    <a:pt x="9" y="364"/>
                  </a:lnTo>
                  <a:lnTo>
                    <a:pt x="11" y="364"/>
                  </a:lnTo>
                  <a:lnTo>
                    <a:pt x="13" y="364"/>
                  </a:lnTo>
                  <a:lnTo>
                    <a:pt x="16" y="364"/>
                  </a:lnTo>
                  <a:lnTo>
                    <a:pt x="18" y="366"/>
                  </a:lnTo>
                  <a:lnTo>
                    <a:pt x="18" y="369"/>
                  </a:lnTo>
                  <a:lnTo>
                    <a:pt x="22" y="380"/>
                  </a:lnTo>
                  <a:lnTo>
                    <a:pt x="24" y="386"/>
                  </a:lnTo>
                  <a:lnTo>
                    <a:pt x="27" y="388"/>
                  </a:lnTo>
                  <a:lnTo>
                    <a:pt x="31" y="391"/>
                  </a:lnTo>
                  <a:lnTo>
                    <a:pt x="35" y="391"/>
                  </a:lnTo>
                  <a:lnTo>
                    <a:pt x="40" y="391"/>
                  </a:lnTo>
                  <a:lnTo>
                    <a:pt x="44" y="393"/>
                  </a:lnTo>
                  <a:lnTo>
                    <a:pt x="53" y="395"/>
                  </a:lnTo>
                  <a:lnTo>
                    <a:pt x="55" y="397"/>
                  </a:lnTo>
                  <a:lnTo>
                    <a:pt x="57" y="397"/>
                  </a:lnTo>
                  <a:lnTo>
                    <a:pt x="57" y="399"/>
                  </a:lnTo>
                  <a:lnTo>
                    <a:pt x="57" y="402"/>
                  </a:lnTo>
                  <a:lnTo>
                    <a:pt x="57" y="404"/>
                  </a:lnTo>
                  <a:lnTo>
                    <a:pt x="57" y="406"/>
                  </a:lnTo>
                  <a:lnTo>
                    <a:pt x="55" y="408"/>
                  </a:lnTo>
                  <a:lnTo>
                    <a:pt x="53" y="410"/>
                  </a:lnTo>
                  <a:lnTo>
                    <a:pt x="51" y="410"/>
                  </a:lnTo>
                  <a:lnTo>
                    <a:pt x="49" y="412"/>
                  </a:lnTo>
                  <a:lnTo>
                    <a:pt x="42" y="421"/>
                  </a:lnTo>
                  <a:lnTo>
                    <a:pt x="38" y="423"/>
                  </a:lnTo>
                  <a:lnTo>
                    <a:pt x="33" y="426"/>
                  </a:lnTo>
                  <a:lnTo>
                    <a:pt x="31" y="428"/>
                  </a:lnTo>
                  <a:lnTo>
                    <a:pt x="29" y="430"/>
                  </a:lnTo>
                  <a:lnTo>
                    <a:pt x="29" y="432"/>
                  </a:lnTo>
                  <a:lnTo>
                    <a:pt x="29" y="448"/>
                  </a:lnTo>
                  <a:lnTo>
                    <a:pt x="29" y="450"/>
                  </a:lnTo>
                  <a:lnTo>
                    <a:pt x="27" y="450"/>
                  </a:lnTo>
                  <a:lnTo>
                    <a:pt x="27" y="452"/>
                  </a:lnTo>
                  <a:lnTo>
                    <a:pt x="24" y="452"/>
                  </a:lnTo>
                  <a:lnTo>
                    <a:pt x="22" y="452"/>
                  </a:lnTo>
                  <a:lnTo>
                    <a:pt x="20" y="481"/>
                  </a:lnTo>
                  <a:lnTo>
                    <a:pt x="24" y="487"/>
                  </a:lnTo>
                  <a:lnTo>
                    <a:pt x="24" y="487"/>
                  </a:lnTo>
                  <a:lnTo>
                    <a:pt x="24" y="491"/>
                  </a:lnTo>
                  <a:lnTo>
                    <a:pt x="24" y="494"/>
                  </a:lnTo>
                  <a:lnTo>
                    <a:pt x="24" y="496"/>
                  </a:lnTo>
                  <a:lnTo>
                    <a:pt x="22" y="498"/>
                  </a:lnTo>
                  <a:lnTo>
                    <a:pt x="20" y="502"/>
                  </a:lnTo>
                  <a:lnTo>
                    <a:pt x="18" y="505"/>
                  </a:lnTo>
                  <a:lnTo>
                    <a:pt x="18" y="507"/>
                  </a:lnTo>
                  <a:lnTo>
                    <a:pt x="16" y="511"/>
                  </a:lnTo>
                  <a:lnTo>
                    <a:pt x="16" y="513"/>
                  </a:lnTo>
                  <a:lnTo>
                    <a:pt x="18" y="516"/>
                  </a:lnTo>
                  <a:lnTo>
                    <a:pt x="18" y="516"/>
                  </a:lnTo>
                  <a:lnTo>
                    <a:pt x="22" y="518"/>
                  </a:lnTo>
                  <a:lnTo>
                    <a:pt x="29" y="520"/>
                  </a:lnTo>
                  <a:lnTo>
                    <a:pt x="42" y="524"/>
                  </a:lnTo>
                  <a:lnTo>
                    <a:pt x="44" y="524"/>
                  </a:lnTo>
                  <a:lnTo>
                    <a:pt x="51" y="527"/>
                  </a:lnTo>
                  <a:lnTo>
                    <a:pt x="55" y="529"/>
                  </a:lnTo>
                  <a:lnTo>
                    <a:pt x="64" y="538"/>
                  </a:lnTo>
                  <a:lnTo>
                    <a:pt x="68" y="540"/>
                  </a:lnTo>
                  <a:lnTo>
                    <a:pt x="71" y="542"/>
                  </a:lnTo>
                  <a:lnTo>
                    <a:pt x="71" y="544"/>
                  </a:lnTo>
                  <a:lnTo>
                    <a:pt x="71" y="546"/>
                  </a:lnTo>
                  <a:lnTo>
                    <a:pt x="75" y="555"/>
                  </a:lnTo>
                  <a:lnTo>
                    <a:pt x="77" y="557"/>
                  </a:lnTo>
                  <a:lnTo>
                    <a:pt x="77" y="560"/>
                  </a:lnTo>
                  <a:lnTo>
                    <a:pt x="77" y="562"/>
                  </a:lnTo>
                  <a:lnTo>
                    <a:pt x="77" y="562"/>
                  </a:lnTo>
                  <a:lnTo>
                    <a:pt x="75" y="568"/>
                  </a:lnTo>
                  <a:lnTo>
                    <a:pt x="75" y="571"/>
                  </a:lnTo>
                  <a:lnTo>
                    <a:pt x="75" y="573"/>
                  </a:lnTo>
                  <a:lnTo>
                    <a:pt x="75" y="575"/>
                  </a:lnTo>
                  <a:lnTo>
                    <a:pt x="86" y="581"/>
                  </a:lnTo>
                  <a:lnTo>
                    <a:pt x="86" y="581"/>
                  </a:lnTo>
                  <a:lnTo>
                    <a:pt x="88" y="581"/>
                  </a:lnTo>
                  <a:lnTo>
                    <a:pt x="90" y="577"/>
                  </a:lnTo>
                  <a:lnTo>
                    <a:pt x="90" y="577"/>
                  </a:lnTo>
                  <a:lnTo>
                    <a:pt x="92" y="577"/>
                  </a:lnTo>
                  <a:lnTo>
                    <a:pt x="92" y="577"/>
                  </a:lnTo>
                  <a:lnTo>
                    <a:pt x="92" y="575"/>
                  </a:lnTo>
                  <a:lnTo>
                    <a:pt x="92" y="575"/>
                  </a:lnTo>
                  <a:lnTo>
                    <a:pt x="95" y="573"/>
                  </a:lnTo>
                  <a:lnTo>
                    <a:pt x="95" y="571"/>
                  </a:lnTo>
                  <a:lnTo>
                    <a:pt x="95" y="568"/>
                  </a:lnTo>
                  <a:lnTo>
                    <a:pt x="95" y="568"/>
                  </a:lnTo>
                  <a:lnTo>
                    <a:pt x="97" y="566"/>
                  </a:lnTo>
                  <a:lnTo>
                    <a:pt x="99" y="564"/>
                  </a:lnTo>
                  <a:lnTo>
                    <a:pt x="101" y="562"/>
                  </a:lnTo>
                  <a:lnTo>
                    <a:pt x="106" y="562"/>
                  </a:lnTo>
                  <a:lnTo>
                    <a:pt x="106" y="562"/>
                  </a:lnTo>
                  <a:lnTo>
                    <a:pt x="106" y="562"/>
                  </a:lnTo>
                  <a:lnTo>
                    <a:pt x="112" y="562"/>
                  </a:lnTo>
                  <a:lnTo>
                    <a:pt x="114" y="562"/>
                  </a:lnTo>
                  <a:lnTo>
                    <a:pt x="121" y="557"/>
                  </a:lnTo>
                  <a:lnTo>
                    <a:pt x="128" y="555"/>
                  </a:lnTo>
                  <a:lnTo>
                    <a:pt x="128" y="555"/>
                  </a:lnTo>
                  <a:lnTo>
                    <a:pt x="130" y="555"/>
                  </a:lnTo>
                  <a:lnTo>
                    <a:pt x="136" y="557"/>
                  </a:lnTo>
                  <a:lnTo>
                    <a:pt x="141" y="560"/>
                  </a:lnTo>
                  <a:lnTo>
                    <a:pt x="143" y="560"/>
                  </a:lnTo>
                  <a:lnTo>
                    <a:pt x="143" y="560"/>
                  </a:lnTo>
                  <a:lnTo>
                    <a:pt x="147" y="560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8" y="557"/>
                  </a:lnTo>
                  <a:lnTo>
                    <a:pt x="163" y="557"/>
                  </a:lnTo>
                  <a:lnTo>
                    <a:pt x="165" y="557"/>
                  </a:lnTo>
                  <a:lnTo>
                    <a:pt x="172" y="564"/>
                  </a:lnTo>
                  <a:lnTo>
                    <a:pt x="178" y="568"/>
                  </a:lnTo>
                  <a:lnTo>
                    <a:pt x="182" y="571"/>
                  </a:lnTo>
                  <a:lnTo>
                    <a:pt x="189" y="573"/>
                  </a:lnTo>
                  <a:lnTo>
                    <a:pt x="198" y="571"/>
                  </a:lnTo>
                  <a:lnTo>
                    <a:pt x="200" y="573"/>
                  </a:lnTo>
                  <a:lnTo>
                    <a:pt x="202" y="573"/>
                  </a:lnTo>
                  <a:lnTo>
                    <a:pt x="202" y="575"/>
                  </a:lnTo>
                  <a:lnTo>
                    <a:pt x="204" y="577"/>
                  </a:lnTo>
                  <a:lnTo>
                    <a:pt x="207" y="579"/>
                  </a:lnTo>
                  <a:lnTo>
                    <a:pt x="211" y="579"/>
                  </a:lnTo>
                  <a:lnTo>
                    <a:pt x="213" y="581"/>
                  </a:lnTo>
                  <a:lnTo>
                    <a:pt x="215" y="581"/>
                  </a:lnTo>
                  <a:lnTo>
                    <a:pt x="218" y="584"/>
                  </a:lnTo>
                  <a:lnTo>
                    <a:pt x="218" y="586"/>
                  </a:lnTo>
                  <a:lnTo>
                    <a:pt x="218" y="592"/>
                  </a:lnTo>
                  <a:lnTo>
                    <a:pt x="218" y="595"/>
                  </a:lnTo>
                  <a:lnTo>
                    <a:pt x="222" y="595"/>
                  </a:lnTo>
                  <a:lnTo>
                    <a:pt x="224" y="592"/>
                  </a:lnTo>
                  <a:lnTo>
                    <a:pt x="229" y="592"/>
                  </a:lnTo>
                  <a:lnTo>
                    <a:pt x="231" y="590"/>
                  </a:lnTo>
                  <a:lnTo>
                    <a:pt x="240" y="586"/>
                  </a:lnTo>
                  <a:lnTo>
                    <a:pt x="246" y="577"/>
                  </a:lnTo>
                  <a:lnTo>
                    <a:pt x="251" y="575"/>
                  </a:lnTo>
                  <a:lnTo>
                    <a:pt x="253" y="575"/>
                  </a:lnTo>
                  <a:lnTo>
                    <a:pt x="253" y="577"/>
                  </a:lnTo>
                  <a:lnTo>
                    <a:pt x="255" y="579"/>
                  </a:lnTo>
                  <a:lnTo>
                    <a:pt x="257" y="581"/>
                  </a:lnTo>
                  <a:lnTo>
                    <a:pt x="259" y="581"/>
                  </a:lnTo>
                  <a:lnTo>
                    <a:pt x="262" y="581"/>
                  </a:lnTo>
                  <a:lnTo>
                    <a:pt x="273" y="577"/>
                  </a:lnTo>
                  <a:lnTo>
                    <a:pt x="275" y="577"/>
                  </a:lnTo>
                  <a:lnTo>
                    <a:pt x="281" y="577"/>
                  </a:lnTo>
                  <a:lnTo>
                    <a:pt x="283" y="577"/>
                  </a:lnTo>
                  <a:lnTo>
                    <a:pt x="286" y="575"/>
                  </a:lnTo>
                  <a:lnTo>
                    <a:pt x="288" y="568"/>
                  </a:lnTo>
                  <a:lnTo>
                    <a:pt x="290" y="564"/>
                  </a:lnTo>
                  <a:lnTo>
                    <a:pt x="290" y="557"/>
                  </a:lnTo>
                  <a:lnTo>
                    <a:pt x="288" y="555"/>
                  </a:lnTo>
                  <a:lnTo>
                    <a:pt x="288" y="551"/>
                  </a:lnTo>
                  <a:lnTo>
                    <a:pt x="288" y="549"/>
                  </a:lnTo>
                  <a:lnTo>
                    <a:pt x="288" y="546"/>
                  </a:lnTo>
                  <a:lnTo>
                    <a:pt x="299" y="540"/>
                  </a:lnTo>
                  <a:lnTo>
                    <a:pt x="301" y="540"/>
                  </a:lnTo>
                  <a:lnTo>
                    <a:pt x="303" y="538"/>
                  </a:lnTo>
                  <a:lnTo>
                    <a:pt x="305" y="538"/>
                  </a:lnTo>
                  <a:lnTo>
                    <a:pt x="312" y="538"/>
                  </a:lnTo>
                  <a:lnTo>
                    <a:pt x="314" y="538"/>
                  </a:lnTo>
                  <a:lnTo>
                    <a:pt x="319" y="538"/>
                  </a:lnTo>
                  <a:lnTo>
                    <a:pt x="316" y="535"/>
                  </a:lnTo>
                  <a:lnTo>
                    <a:pt x="316" y="535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22" name="Freeform 25"/>
            <p:cNvSpPr>
              <a:spLocks/>
            </p:cNvSpPr>
            <p:nvPr/>
          </p:nvSpPr>
          <p:spPr bwMode="auto">
            <a:xfrm>
              <a:off x="4503738" y="3411538"/>
              <a:ext cx="566738" cy="817562"/>
            </a:xfrm>
            <a:custGeom>
              <a:avLst/>
              <a:gdLst>
                <a:gd name="T0" fmla="*/ 329 w 357"/>
                <a:gd name="T1" fmla="*/ 197 h 515"/>
                <a:gd name="T2" fmla="*/ 314 w 357"/>
                <a:gd name="T3" fmla="*/ 191 h 515"/>
                <a:gd name="T4" fmla="*/ 287 w 357"/>
                <a:gd name="T5" fmla="*/ 167 h 515"/>
                <a:gd name="T6" fmla="*/ 272 w 357"/>
                <a:gd name="T7" fmla="*/ 145 h 515"/>
                <a:gd name="T8" fmla="*/ 254 w 357"/>
                <a:gd name="T9" fmla="*/ 125 h 515"/>
                <a:gd name="T10" fmla="*/ 250 w 357"/>
                <a:gd name="T11" fmla="*/ 98 h 515"/>
                <a:gd name="T12" fmla="*/ 219 w 357"/>
                <a:gd name="T13" fmla="*/ 44 h 515"/>
                <a:gd name="T14" fmla="*/ 195 w 357"/>
                <a:gd name="T15" fmla="*/ 22 h 515"/>
                <a:gd name="T16" fmla="*/ 188 w 357"/>
                <a:gd name="T17" fmla="*/ 6 h 515"/>
                <a:gd name="T18" fmla="*/ 171 w 357"/>
                <a:gd name="T19" fmla="*/ 6 h 515"/>
                <a:gd name="T20" fmla="*/ 147 w 357"/>
                <a:gd name="T21" fmla="*/ 9 h 515"/>
                <a:gd name="T22" fmla="*/ 133 w 357"/>
                <a:gd name="T23" fmla="*/ 26 h 515"/>
                <a:gd name="T24" fmla="*/ 98 w 357"/>
                <a:gd name="T25" fmla="*/ 63 h 515"/>
                <a:gd name="T26" fmla="*/ 94 w 357"/>
                <a:gd name="T27" fmla="*/ 79 h 515"/>
                <a:gd name="T28" fmla="*/ 81 w 357"/>
                <a:gd name="T29" fmla="*/ 105 h 515"/>
                <a:gd name="T30" fmla="*/ 63 w 357"/>
                <a:gd name="T31" fmla="*/ 123 h 515"/>
                <a:gd name="T32" fmla="*/ 11 w 357"/>
                <a:gd name="T33" fmla="*/ 169 h 515"/>
                <a:gd name="T34" fmla="*/ 2 w 357"/>
                <a:gd name="T35" fmla="*/ 182 h 515"/>
                <a:gd name="T36" fmla="*/ 4 w 357"/>
                <a:gd name="T37" fmla="*/ 193 h 515"/>
                <a:gd name="T38" fmla="*/ 15 w 357"/>
                <a:gd name="T39" fmla="*/ 202 h 515"/>
                <a:gd name="T40" fmla="*/ 13 w 357"/>
                <a:gd name="T41" fmla="*/ 215 h 515"/>
                <a:gd name="T42" fmla="*/ 15 w 357"/>
                <a:gd name="T43" fmla="*/ 226 h 515"/>
                <a:gd name="T44" fmla="*/ 19 w 357"/>
                <a:gd name="T45" fmla="*/ 221 h 515"/>
                <a:gd name="T46" fmla="*/ 32 w 357"/>
                <a:gd name="T47" fmla="*/ 226 h 515"/>
                <a:gd name="T48" fmla="*/ 26 w 357"/>
                <a:gd name="T49" fmla="*/ 237 h 515"/>
                <a:gd name="T50" fmla="*/ 37 w 357"/>
                <a:gd name="T51" fmla="*/ 246 h 515"/>
                <a:gd name="T52" fmla="*/ 46 w 357"/>
                <a:gd name="T53" fmla="*/ 254 h 515"/>
                <a:gd name="T54" fmla="*/ 52 w 357"/>
                <a:gd name="T55" fmla="*/ 270 h 515"/>
                <a:gd name="T56" fmla="*/ 52 w 357"/>
                <a:gd name="T57" fmla="*/ 287 h 515"/>
                <a:gd name="T58" fmla="*/ 61 w 357"/>
                <a:gd name="T59" fmla="*/ 309 h 515"/>
                <a:gd name="T60" fmla="*/ 81 w 357"/>
                <a:gd name="T61" fmla="*/ 340 h 515"/>
                <a:gd name="T62" fmla="*/ 81 w 357"/>
                <a:gd name="T63" fmla="*/ 357 h 515"/>
                <a:gd name="T64" fmla="*/ 81 w 357"/>
                <a:gd name="T65" fmla="*/ 364 h 515"/>
                <a:gd name="T66" fmla="*/ 87 w 357"/>
                <a:gd name="T67" fmla="*/ 377 h 515"/>
                <a:gd name="T68" fmla="*/ 92 w 357"/>
                <a:gd name="T69" fmla="*/ 390 h 515"/>
                <a:gd name="T70" fmla="*/ 101 w 357"/>
                <a:gd name="T71" fmla="*/ 408 h 515"/>
                <a:gd name="T72" fmla="*/ 107 w 357"/>
                <a:gd name="T73" fmla="*/ 425 h 515"/>
                <a:gd name="T74" fmla="*/ 123 w 357"/>
                <a:gd name="T75" fmla="*/ 445 h 515"/>
                <a:gd name="T76" fmla="*/ 129 w 357"/>
                <a:gd name="T77" fmla="*/ 463 h 515"/>
                <a:gd name="T78" fmla="*/ 144 w 357"/>
                <a:gd name="T79" fmla="*/ 487 h 515"/>
                <a:gd name="T80" fmla="*/ 158 w 357"/>
                <a:gd name="T81" fmla="*/ 478 h 515"/>
                <a:gd name="T82" fmla="*/ 160 w 357"/>
                <a:gd name="T83" fmla="*/ 463 h 515"/>
                <a:gd name="T84" fmla="*/ 166 w 357"/>
                <a:gd name="T85" fmla="*/ 441 h 515"/>
                <a:gd name="T86" fmla="*/ 184 w 357"/>
                <a:gd name="T87" fmla="*/ 454 h 515"/>
                <a:gd name="T88" fmla="*/ 169 w 357"/>
                <a:gd name="T89" fmla="*/ 467 h 515"/>
                <a:gd name="T90" fmla="*/ 177 w 357"/>
                <a:gd name="T91" fmla="*/ 474 h 515"/>
                <a:gd name="T92" fmla="*/ 195 w 357"/>
                <a:gd name="T93" fmla="*/ 483 h 515"/>
                <a:gd name="T94" fmla="*/ 197 w 357"/>
                <a:gd name="T95" fmla="*/ 496 h 515"/>
                <a:gd name="T96" fmla="*/ 199 w 357"/>
                <a:gd name="T97" fmla="*/ 509 h 515"/>
                <a:gd name="T98" fmla="*/ 217 w 357"/>
                <a:gd name="T99" fmla="*/ 513 h 515"/>
                <a:gd name="T100" fmla="*/ 272 w 357"/>
                <a:gd name="T101" fmla="*/ 472 h 515"/>
                <a:gd name="T102" fmla="*/ 281 w 357"/>
                <a:gd name="T103" fmla="*/ 445 h 515"/>
                <a:gd name="T104" fmla="*/ 327 w 357"/>
                <a:gd name="T105" fmla="*/ 399 h 515"/>
                <a:gd name="T106" fmla="*/ 320 w 357"/>
                <a:gd name="T107" fmla="*/ 390 h 515"/>
                <a:gd name="T108" fmla="*/ 309 w 357"/>
                <a:gd name="T109" fmla="*/ 375 h 515"/>
                <a:gd name="T110" fmla="*/ 296 w 357"/>
                <a:gd name="T111" fmla="*/ 333 h 515"/>
                <a:gd name="T112" fmla="*/ 316 w 357"/>
                <a:gd name="T113" fmla="*/ 289 h 515"/>
                <a:gd name="T114" fmla="*/ 357 w 357"/>
                <a:gd name="T115" fmla="*/ 224 h 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7" h="515">
                  <a:moveTo>
                    <a:pt x="355" y="215"/>
                  </a:moveTo>
                  <a:lnTo>
                    <a:pt x="351" y="210"/>
                  </a:lnTo>
                  <a:lnTo>
                    <a:pt x="344" y="208"/>
                  </a:lnTo>
                  <a:lnTo>
                    <a:pt x="335" y="204"/>
                  </a:lnTo>
                  <a:lnTo>
                    <a:pt x="331" y="202"/>
                  </a:lnTo>
                  <a:lnTo>
                    <a:pt x="329" y="197"/>
                  </a:lnTo>
                  <a:lnTo>
                    <a:pt x="327" y="197"/>
                  </a:lnTo>
                  <a:lnTo>
                    <a:pt x="327" y="197"/>
                  </a:lnTo>
                  <a:lnTo>
                    <a:pt x="327" y="195"/>
                  </a:lnTo>
                  <a:lnTo>
                    <a:pt x="325" y="193"/>
                  </a:lnTo>
                  <a:lnTo>
                    <a:pt x="325" y="193"/>
                  </a:lnTo>
                  <a:lnTo>
                    <a:pt x="314" y="191"/>
                  </a:lnTo>
                  <a:lnTo>
                    <a:pt x="311" y="188"/>
                  </a:lnTo>
                  <a:lnTo>
                    <a:pt x="309" y="188"/>
                  </a:lnTo>
                  <a:lnTo>
                    <a:pt x="305" y="180"/>
                  </a:lnTo>
                  <a:lnTo>
                    <a:pt x="296" y="173"/>
                  </a:lnTo>
                  <a:lnTo>
                    <a:pt x="296" y="171"/>
                  </a:lnTo>
                  <a:lnTo>
                    <a:pt x="287" y="167"/>
                  </a:lnTo>
                  <a:lnTo>
                    <a:pt x="285" y="167"/>
                  </a:lnTo>
                  <a:lnTo>
                    <a:pt x="274" y="156"/>
                  </a:lnTo>
                  <a:lnTo>
                    <a:pt x="270" y="151"/>
                  </a:lnTo>
                  <a:lnTo>
                    <a:pt x="270" y="149"/>
                  </a:lnTo>
                  <a:lnTo>
                    <a:pt x="270" y="147"/>
                  </a:lnTo>
                  <a:lnTo>
                    <a:pt x="272" y="145"/>
                  </a:lnTo>
                  <a:lnTo>
                    <a:pt x="270" y="142"/>
                  </a:lnTo>
                  <a:lnTo>
                    <a:pt x="270" y="140"/>
                  </a:lnTo>
                  <a:lnTo>
                    <a:pt x="263" y="131"/>
                  </a:lnTo>
                  <a:lnTo>
                    <a:pt x="263" y="129"/>
                  </a:lnTo>
                  <a:lnTo>
                    <a:pt x="256" y="127"/>
                  </a:lnTo>
                  <a:lnTo>
                    <a:pt x="254" y="125"/>
                  </a:lnTo>
                  <a:lnTo>
                    <a:pt x="254" y="123"/>
                  </a:lnTo>
                  <a:lnTo>
                    <a:pt x="254" y="114"/>
                  </a:lnTo>
                  <a:lnTo>
                    <a:pt x="254" y="112"/>
                  </a:lnTo>
                  <a:lnTo>
                    <a:pt x="252" y="107"/>
                  </a:lnTo>
                  <a:lnTo>
                    <a:pt x="250" y="101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0" y="90"/>
                  </a:lnTo>
                  <a:lnTo>
                    <a:pt x="248" y="85"/>
                  </a:lnTo>
                  <a:lnTo>
                    <a:pt x="243" y="79"/>
                  </a:lnTo>
                  <a:lnTo>
                    <a:pt x="230" y="63"/>
                  </a:lnTo>
                  <a:lnTo>
                    <a:pt x="219" y="44"/>
                  </a:lnTo>
                  <a:lnTo>
                    <a:pt x="217" y="41"/>
                  </a:lnTo>
                  <a:lnTo>
                    <a:pt x="215" y="41"/>
                  </a:lnTo>
                  <a:lnTo>
                    <a:pt x="215" y="39"/>
                  </a:lnTo>
                  <a:lnTo>
                    <a:pt x="210" y="37"/>
                  </a:lnTo>
                  <a:lnTo>
                    <a:pt x="197" y="26"/>
                  </a:lnTo>
                  <a:lnTo>
                    <a:pt x="195" y="22"/>
                  </a:lnTo>
                  <a:lnTo>
                    <a:pt x="193" y="19"/>
                  </a:lnTo>
                  <a:lnTo>
                    <a:pt x="193" y="17"/>
                  </a:lnTo>
                  <a:lnTo>
                    <a:pt x="193" y="15"/>
                  </a:lnTo>
                  <a:lnTo>
                    <a:pt x="193" y="13"/>
                  </a:lnTo>
                  <a:lnTo>
                    <a:pt x="191" y="9"/>
                  </a:lnTo>
                  <a:lnTo>
                    <a:pt x="188" y="6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86" y="2"/>
                  </a:lnTo>
                  <a:lnTo>
                    <a:pt x="182" y="4"/>
                  </a:lnTo>
                  <a:lnTo>
                    <a:pt x="175" y="6"/>
                  </a:lnTo>
                  <a:lnTo>
                    <a:pt x="171" y="6"/>
                  </a:lnTo>
                  <a:lnTo>
                    <a:pt x="164" y="11"/>
                  </a:lnTo>
                  <a:lnTo>
                    <a:pt x="162" y="11"/>
                  </a:lnTo>
                  <a:lnTo>
                    <a:pt x="160" y="11"/>
                  </a:lnTo>
                  <a:lnTo>
                    <a:pt x="153" y="11"/>
                  </a:lnTo>
                  <a:lnTo>
                    <a:pt x="149" y="11"/>
                  </a:lnTo>
                  <a:lnTo>
                    <a:pt x="147" y="9"/>
                  </a:lnTo>
                  <a:lnTo>
                    <a:pt x="144" y="9"/>
                  </a:lnTo>
                  <a:lnTo>
                    <a:pt x="142" y="9"/>
                  </a:lnTo>
                  <a:lnTo>
                    <a:pt x="140" y="11"/>
                  </a:lnTo>
                  <a:lnTo>
                    <a:pt x="140" y="13"/>
                  </a:lnTo>
                  <a:lnTo>
                    <a:pt x="136" y="22"/>
                  </a:lnTo>
                  <a:lnTo>
                    <a:pt x="133" y="26"/>
                  </a:lnTo>
                  <a:lnTo>
                    <a:pt x="131" y="28"/>
                  </a:lnTo>
                  <a:lnTo>
                    <a:pt x="103" y="55"/>
                  </a:lnTo>
                  <a:lnTo>
                    <a:pt x="101" y="57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98" y="63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4" y="72"/>
                  </a:lnTo>
                  <a:lnTo>
                    <a:pt x="94" y="74"/>
                  </a:lnTo>
                  <a:lnTo>
                    <a:pt x="94" y="77"/>
                  </a:lnTo>
                  <a:lnTo>
                    <a:pt x="94" y="79"/>
                  </a:lnTo>
                  <a:lnTo>
                    <a:pt x="87" y="90"/>
                  </a:lnTo>
                  <a:lnTo>
                    <a:pt x="81" y="96"/>
                  </a:lnTo>
                  <a:lnTo>
                    <a:pt x="79" y="98"/>
                  </a:lnTo>
                  <a:lnTo>
                    <a:pt x="79" y="101"/>
                  </a:lnTo>
                  <a:lnTo>
                    <a:pt x="79" y="103"/>
                  </a:lnTo>
                  <a:lnTo>
                    <a:pt x="81" y="105"/>
                  </a:lnTo>
                  <a:lnTo>
                    <a:pt x="81" y="109"/>
                  </a:lnTo>
                  <a:lnTo>
                    <a:pt x="76" y="120"/>
                  </a:lnTo>
                  <a:lnTo>
                    <a:pt x="74" y="120"/>
                  </a:lnTo>
                  <a:lnTo>
                    <a:pt x="74" y="120"/>
                  </a:lnTo>
                  <a:lnTo>
                    <a:pt x="70" y="120"/>
                  </a:lnTo>
                  <a:lnTo>
                    <a:pt x="63" y="123"/>
                  </a:lnTo>
                  <a:lnTo>
                    <a:pt x="59" y="123"/>
                  </a:lnTo>
                  <a:lnTo>
                    <a:pt x="50" y="129"/>
                  </a:lnTo>
                  <a:lnTo>
                    <a:pt x="24" y="138"/>
                  </a:lnTo>
                  <a:lnTo>
                    <a:pt x="17" y="145"/>
                  </a:lnTo>
                  <a:lnTo>
                    <a:pt x="13" y="151"/>
                  </a:lnTo>
                  <a:lnTo>
                    <a:pt x="11" y="169"/>
                  </a:lnTo>
                  <a:lnTo>
                    <a:pt x="8" y="175"/>
                  </a:lnTo>
                  <a:lnTo>
                    <a:pt x="8" y="175"/>
                  </a:lnTo>
                  <a:lnTo>
                    <a:pt x="6" y="177"/>
                  </a:lnTo>
                  <a:lnTo>
                    <a:pt x="2" y="177"/>
                  </a:lnTo>
                  <a:lnTo>
                    <a:pt x="2" y="182"/>
                  </a:lnTo>
                  <a:lnTo>
                    <a:pt x="2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4" y="186"/>
                  </a:lnTo>
                  <a:lnTo>
                    <a:pt x="6" y="188"/>
                  </a:lnTo>
                  <a:lnTo>
                    <a:pt x="6" y="188"/>
                  </a:lnTo>
                  <a:lnTo>
                    <a:pt x="4" y="193"/>
                  </a:lnTo>
                  <a:lnTo>
                    <a:pt x="4" y="195"/>
                  </a:lnTo>
                  <a:lnTo>
                    <a:pt x="6" y="199"/>
                  </a:lnTo>
                  <a:lnTo>
                    <a:pt x="8" y="199"/>
                  </a:lnTo>
                  <a:lnTo>
                    <a:pt x="11" y="199"/>
                  </a:lnTo>
                  <a:lnTo>
                    <a:pt x="13" y="199"/>
                  </a:lnTo>
                  <a:lnTo>
                    <a:pt x="15" y="202"/>
                  </a:lnTo>
                  <a:lnTo>
                    <a:pt x="17" y="204"/>
                  </a:lnTo>
                  <a:lnTo>
                    <a:pt x="19" y="208"/>
                  </a:lnTo>
                  <a:lnTo>
                    <a:pt x="19" y="213"/>
                  </a:lnTo>
                  <a:lnTo>
                    <a:pt x="19" y="215"/>
                  </a:lnTo>
                  <a:lnTo>
                    <a:pt x="17" y="217"/>
                  </a:lnTo>
                  <a:lnTo>
                    <a:pt x="13" y="215"/>
                  </a:lnTo>
                  <a:lnTo>
                    <a:pt x="11" y="215"/>
                  </a:lnTo>
                  <a:lnTo>
                    <a:pt x="8" y="215"/>
                  </a:lnTo>
                  <a:lnTo>
                    <a:pt x="11" y="217"/>
                  </a:lnTo>
                  <a:lnTo>
                    <a:pt x="11" y="219"/>
                  </a:lnTo>
                  <a:lnTo>
                    <a:pt x="13" y="221"/>
                  </a:lnTo>
                  <a:lnTo>
                    <a:pt x="15" y="226"/>
                  </a:lnTo>
                  <a:lnTo>
                    <a:pt x="19" y="230"/>
                  </a:lnTo>
                  <a:lnTo>
                    <a:pt x="22" y="230"/>
                  </a:lnTo>
                  <a:lnTo>
                    <a:pt x="22" y="228"/>
                  </a:lnTo>
                  <a:lnTo>
                    <a:pt x="19" y="226"/>
                  </a:lnTo>
                  <a:lnTo>
                    <a:pt x="19" y="224"/>
                  </a:lnTo>
                  <a:lnTo>
                    <a:pt x="19" y="221"/>
                  </a:lnTo>
                  <a:lnTo>
                    <a:pt x="19" y="219"/>
                  </a:lnTo>
                  <a:lnTo>
                    <a:pt x="22" y="219"/>
                  </a:lnTo>
                  <a:lnTo>
                    <a:pt x="24" y="217"/>
                  </a:lnTo>
                  <a:lnTo>
                    <a:pt x="28" y="219"/>
                  </a:lnTo>
                  <a:lnTo>
                    <a:pt x="30" y="221"/>
                  </a:lnTo>
                  <a:lnTo>
                    <a:pt x="32" y="226"/>
                  </a:lnTo>
                  <a:lnTo>
                    <a:pt x="32" y="228"/>
                  </a:lnTo>
                  <a:lnTo>
                    <a:pt x="30" y="232"/>
                  </a:lnTo>
                  <a:lnTo>
                    <a:pt x="28" y="232"/>
                  </a:lnTo>
                  <a:lnTo>
                    <a:pt x="28" y="235"/>
                  </a:lnTo>
                  <a:lnTo>
                    <a:pt x="26" y="237"/>
                  </a:lnTo>
                  <a:lnTo>
                    <a:pt x="26" y="237"/>
                  </a:lnTo>
                  <a:lnTo>
                    <a:pt x="28" y="239"/>
                  </a:lnTo>
                  <a:lnTo>
                    <a:pt x="28" y="241"/>
                  </a:lnTo>
                  <a:lnTo>
                    <a:pt x="28" y="243"/>
                  </a:lnTo>
                  <a:lnTo>
                    <a:pt x="32" y="248"/>
                  </a:lnTo>
                  <a:lnTo>
                    <a:pt x="35" y="246"/>
                  </a:lnTo>
                  <a:lnTo>
                    <a:pt x="37" y="246"/>
                  </a:lnTo>
                  <a:lnTo>
                    <a:pt x="39" y="248"/>
                  </a:lnTo>
                  <a:lnTo>
                    <a:pt x="41" y="250"/>
                  </a:lnTo>
                  <a:lnTo>
                    <a:pt x="43" y="250"/>
                  </a:lnTo>
                  <a:lnTo>
                    <a:pt x="43" y="252"/>
                  </a:lnTo>
                  <a:lnTo>
                    <a:pt x="46" y="254"/>
                  </a:lnTo>
                  <a:lnTo>
                    <a:pt x="46" y="254"/>
                  </a:lnTo>
                  <a:lnTo>
                    <a:pt x="43" y="256"/>
                  </a:lnTo>
                  <a:lnTo>
                    <a:pt x="43" y="259"/>
                  </a:lnTo>
                  <a:lnTo>
                    <a:pt x="43" y="263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52" y="270"/>
                  </a:lnTo>
                  <a:lnTo>
                    <a:pt x="50" y="272"/>
                  </a:lnTo>
                  <a:lnTo>
                    <a:pt x="48" y="274"/>
                  </a:lnTo>
                  <a:lnTo>
                    <a:pt x="50" y="278"/>
                  </a:lnTo>
                  <a:lnTo>
                    <a:pt x="50" y="283"/>
                  </a:lnTo>
                  <a:lnTo>
                    <a:pt x="50" y="285"/>
                  </a:lnTo>
                  <a:lnTo>
                    <a:pt x="52" y="287"/>
                  </a:lnTo>
                  <a:lnTo>
                    <a:pt x="54" y="289"/>
                  </a:lnTo>
                  <a:lnTo>
                    <a:pt x="54" y="296"/>
                  </a:lnTo>
                  <a:lnTo>
                    <a:pt x="54" y="300"/>
                  </a:lnTo>
                  <a:lnTo>
                    <a:pt x="57" y="305"/>
                  </a:lnTo>
                  <a:lnTo>
                    <a:pt x="59" y="307"/>
                  </a:lnTo>
                  <a:lnTo>
                    <a:pt x="61" y="309"/>
                  </a:lnTo>
                  <a:lnTo>
                    <a:pt x="63" y="314"/>
                  </a:lnTo>
                  <a:lnTo>
                    <a:pt x="65" y="316"/>
                  </a:lnTo>
                  <a:lnTo>
                    <a:pt x="68" y="320"/>
                  </a:lnTo>
                  <a:lnTo>
                    <a:pt x="74" y="329"/>
                  </a:lnTo>
                  <a:lnTo>
                    <a:pt x="81" y="336"/>
                  </a:lnTo>
                  <a:lnTo>
                    <a:pt x="81" y="340"/>
                  </a:lnTo>
                  <a:lnTo>
                    <a:pt x="79" y="342"/>
                  </a:lnTo>
                  <a:lnTo>
                    <a:pt x="79" y="346"/>
                  </a:lnTo>
                  <a:lnTo>
                    <a:pt x="79" y="351"/>
                  </a:lnTo>
                  <a:lnTo>
                    <a:pt x="79" y="351"/>
                  </a:lnTo>
                  <a:lnTo>
                    <a:pt x="81" y="355"/>
                  </a:lnTo>
                  <a:lnTo>
                    <a:pt x="81" y="357"/>
                  </a:lnTo>
                  <a:lnTo>
                    <a:pt x="81" y="360"/>
                  </a:lnTo>
                  <a:lnTo>
                    <a:pt x="81" y="362"/>
                  </a:lnTo>
                  <a:lnTo>
                    <a:pt x="79" y="362"/>
                  </a:lnTo>
                  <a:lnTo>
                    <a:pt x="79" y="364"/>
                  </a:lnTo>
                  <a:lnTo>
                    <a:pt x="79" y="364"/>
                  </a:lnTo>
                  <a:lnTo>
                    <a:pt x="81" y="364"/>
                  </a:lnTo>
                  <a:lnTo>
                    <a:pt x="81" y="366"/>
                  </a:lnTo>
                  <a:lnTo>
                    <a:pt x="83" y="366"/>
                  </a:lnTo>
                  <a:lnTo>
                    <a:pt x="83" y="368"/>
                  </a:lnTo>
                  <a:lnTo>
                    <a:pt x="85" y="371"/>
                  </a:lnTo>
                  <a:lnTo>
                    <a:pt x="87" y="373"/>
                  </a:lnTo>
                  <a:lnTo>
                    <a:pt x="87" y="377"/>
                  </a:lnTo>
                  <a:lnTo>
                    <a:pt x="90" y="382"/>
                  </a:lnTo>
                  <a:lnTo>
                    <a:pt x="90" y="384"/>
                  </a:lnTo>
                  <a:lnTo>
                    <a:pt x="90" y="386"/>
                  </a:lnTo>
                  <a:lnTo>
                    <a:pt x="90" y="386"/>
                  </a:lnTo>
                  <a:lnTo>
                    <a:pt x="92" y="388"/>
                  </a:lnTo>
                  <a:lnTo>
                    <a:pt x="92" y="390"/>
                  </a:lnTo>
                  <a:lnTo>
                    <a:pt x="92" y="393"/>
                  </a:lnTo>
                  <a:lnTo>
                    <a:pt x="90" y="393"/>
                  </a:lnTo>
                  <a:lnTo>
                    <a:pt x="90" y="395"/>
                  </a:lnTo>
                  <a:lnTo>
                    <a:pt x="90" y="397"/>
                  </a:lnTo>
                  <a:lnTo>
                    <a:pt x="92" y="399"/>
                  </a:lnTo>
                  <a:lnTo>
                    <a:pt x="101" y="408"/>
                  </a:lnTo>
                  <a:lnTo>
                    <a:pt x="103" y="412"/>
                  </a:lnTo>
                  <a:lnTo>
                    <a:pt x="105" y="415"/>
                  </a:lnTo>
                  <a:lnTo>
                    <a:pt x="107" y="417"/>
                  </a:lnTo>
                  <a:lnTo>
                    <a:pt x="105" y="419"/>
                  </a:lnTo>
                  <a:lnTo>
                    <a:pt x="107" y="423"/>
                  </a:lnTo>
                  <a:lnTo>
                    <a:pt x="107" y="425"/>
                  </a:lnTo>
                  <a:lnTo>
                    <a:pt x="109" y="428"/>
                  </a:lnTo>
                  <a:lnTo>
                    <a:pt x="112" y="430"/>
                  </a:lnTo>
                  <a:lnTo>
                    <a:pt x="112" y="436"/>
                  </a:lnTo>
                  <a:lnTo>
                    <a:pt x="114" y="439"/>
                  </a:lnTo>
                  <a:lnTo>
                    <a:pt x="120" y="443"/>
                  </a:lnTo>
                  <a:lnTo>
                    <a:pt x="123" y="445"/>
                  </a:lnTo>
                  <a:lnTo>
                    <a:pt x="123" y="447"/>
                  </a:lnTo>
                  <a:lnTo>
                    <a:pt x="120" y="450"/>
                  </a:lnTo>
                  <a:lnTo>
                    <a:pt x="120" y="452"/>
                  </a:lnTo>
                  <a:lnTo>
                    <a:pt x="125" y="454"/>
                  </a:lnTo>
                  <a:lnTo>
                    <a:pt x="127" y="461"/>
                  </a:lnTo>
                  <a:lnTo>
                    <a:pt x="129" y="463"/>
                  </a:lnTo>
                  <a:lnTo>
                    <a:pt x="129" y="467"/>
                  </a:lnTo>
                  <a:lnTo>
                    <a:pt x="133" y="472"/>
                  </a:lnTo>
                  <a:lnTo>
                    <a:pt x="138" y="474"/>
                  </a:lnTo>
                  <a:lnTo>
                    <a:pt x="140" y="478"/>
                  </a:lnTo>
                  <a:lnTo>
                    <a:pt x="140" y="480"/>
                  </a:lnTo>
                  <a:lnTo>
                    <a:pt x="144" y="487"/>
                  </a:lnTo>
                  <a:lnTo>
                    <a:pt x="149" y="483"/>
                  </a:lnTo>
                  <a:lnTo>
                    <a:pt x="149" y="483"/>
                  </a:lnTo>
                  <a:lnTo>
                    <a:pt x="153" y="483"/>
                  </a:lnTo>
                  <a:lnTo>
                    <a:pt x="155" y="480"/>
                  </a:lnTo>
                  <a:lnTo>
                    <a:pt x="155" y="480"/>
                  </a:lnTo>
                  <a:lnTo>
                    <a:pt x="158" y="478"/>
                  </a:lnTo>
                  <a:lnTo>
                    <a:pt x="160" y="474"/>
                  </a:lnTo>
                  <a:lnTo>
                    <a:pt x="160" y="472"/>
                  </a:lnTo>
                  <a:lnTo>
                    <a:pt x="160" y="469"/>
                  </a:lnTo>
                  <a:lnTo>
                    <a:pt x="160" y="469"/>
                  </a:lnTo>
                  <a:lnTo>
                    <a:pt x="160" y="465"/>
                  </a:lnTo>
                  <a:lnTo>
                    <a:pt x="160" y="463"/>
                  </a:lnTo>
                  <a:lnTo>
                    <a:pt x="160" y="461"/>
                  </a:lnTo>
                  <a:lnTo>
                    <a:pt x="162" y="454"/>
                  </a:lnTo>
                  <a:lnTo>
                    <a:pt x="162" y="452"/>
                  </a:lnTo>
                  <a:lnTo>
                    <a:pt x="162" y="445"/>
                  </a:lnTo>
                  <a:lnTo>
                    <a:pt x="164" y="443"/>
                  </a:lnTo>
                  <a:lnTo>
                    <a:pt x="166" y="441"/>
                  </a:lnTo>
                  <a:lnTo>
                    <a:pt x="169" y="441"/>
                  </a:lnTo>
                  <a:lnTo>
                    <a:pt x="180" y="443"/>
                  </a:lnTo>
                  <a:lnTo>
                    <a:pt x="182" y="445"/>
                  </a:lnTo>
                  <a:lnTo>
                    <a:pt x="182" y="447"/>
                  </a:lnTo>
                  <a:lnTo>
                    <a:pt x="184" y="450"/>
                  </a:lnTo>
                  <a:lnTo>
                    <a:pt x="184" y="454"/>
                  </a:lnTo>
                  <a:lnTo>
                    <a:pt x="182" y="456"/>
                  </a:lnTo>
                  <a:lnTo>
                    <a:pt x="182" y="458"/>
                  </a:lnTo>
                  <a:lnTo>
                    <a:pt x="180" y="461"/>
                  </a:lnTo>
                  <a:lnTo>
                    <a:pt x="177" y="463"/>
                  </a:lnTo>
                  <a:lnTo>
                    <a:pt x="173" y="465"/>
                  </a:lnTo>
                  <a:lnTo>
                    <a:pt x="169" y="467"/>
                  </a:lnTo>
                  <a:lnTo>
                    <a:pt x="169" y="469"/>
                  </a:lnTo>
                  <a:lnTo>
                    <a:pt x="169" y="469"/>
                  </a:lnTo>
                  <a:lnTo>
                    <a:pt x="169" y="472"/>
                  </a:lnTo>
                  <a:lnTo>
                    <a:pt x="171" y="474"/>
                  </a:lnTo>
                  <a:lnTo>
                    <a:pt x="173" y="474"/>
                  </a:lnTo>
                  <a:lnTo>
                    <a:pt x="177" y="474"/>
                  </a:lnTo>
                  <a:lnTo>
                    <a:pt x="182" y="474"/>
                  </a:lnTo>
                  <a:lnTo>
                    <a:pt x="184" y="474"/>
                  </a:lnTo>
                  <a:lnTo>
                    <a:pt x="184" y="474"/>
                  </a:lnTo>
                  <a:lnTo>
                    <a:pt x="188" y="478"/>
                  </a:lnTo>
                  <a:lnTo>
                    <a:pt x="191" y="480"/>
                  </a:lnTo>
                  <a:lnTo>
                    <a:pt x="195" y="483"/>
                  </a:lnTo>
                  <a:lnTo>
                    <a:pt x="197" y="483"/>
                  </a:lnTo>
                  <a:lnTo>
                    <a:pt x="199" y="485"/>
                  </a:lnTo>
                  <a:lnTo>
                    <a:pt x="199" y="487"/>
                  </a:lnTo>
                  <a:lnTo>
                    <a:pt x="199" y="489"/>
                  </a:lnTo>
                  <a:lnTo>
                    <a:pt x="197" y="494"/>
                  </a:lnTo>
                  <a:lnTo>
                    <a:pt x="197" y="496"/>
                  </a:lnTo>
                  <a:lnTo>
                    <a:pt x="197" y="498"/>
                  </a:lnTo>
                  <a:lnTo>
                    <a:pt x="197" y="500"/>
                  </a:lnTo>
                  <a:lnTo>
                    <a:pt x="197" y="500"/>
                  </a:lnTo>
                  <a:lnTo>
                    <a:pt x="199" y="504"/>
                  </a:lnTo>
                  <a:lnTo>
                    <a:pt x="199" y="507"/>
                  </a:lnTo>
                  <a:lnTo>
                    <a:pt x="199" y="509"/>
                  </a:lnTo>
                  <a:lnTo>
                    <a:pt x="199" y="511"/>
                  </a:lnTo>
                  <a:lnTo>
                    <a:pt x="199" y="513"/>
                  </a:lnTo>
                  <a:lnTo>
                    <a:pt x="199" y="513"/>
                  </a:lnTo>
                  <a:lnTo>
                    <a:pt x="204" y="515"/>
                  </a:lnTo>
                  <a:lnTo>
                    <a:pt x="215" y="515"/>
                  </a:lnTo>
                  <a:lnTo>
                    <a:pt x="217" y="513"/>
                  </a:lnTo>
                  <a:lnTo>
                    <a:pt x="228" y="511"/>
                  </a:lnTo>
                  <a:lnTo>
                    <a:pt x="232" y="507"/>
                  </a:lnTo>
                  <a:lnTo>
                    <a:pt x="239" y="496"/>
                  </a:lnTo>
                  <a:lnTo>
                    <a:pt x="259" y="485"/>
                  </a:lnTo>
                  <a:lnTo>
                    <a:pt x="263" y="480"/>
                  </a:lnTo>
                  <a:lnTo>
                    <a:pt x="272" y="472"/>
                  </a:lnTo>
                  <a:lnTo>
                    <a:pt x="276" y="465"/>
                  </a:lnTo>
                  <a:lnTo>
                    <a:pt x="278" y="461"/>
                  </a:lnTo>
                  <a:lnTo>
                    <a:pt x="278" y="458"/>
                  </a:lnTo>
                  <a:lnTo>
                    <a:pt x="281" y="450"/>
                  </a:lnTo>
                  <a:lnTo>
                    <a:pt x="281" y="447"/>
                  </a:lnTo>
                  <a:lnTo>
                    <a:pt x="281" y="445"/>
                  </a:lnTo>
                  <a:lnTo>
                    <a:pt x="289" y="441"/>
                  </a:lnTo>
                  <a:lnTo>
                    <a:pt x="322" y="428"/>
                  </a:lnTo>
                  <a:lnTo>
                    <a:pt x="322" y="417"/>
                  </a:lnTo>
                  <a:lnTo>
                    <a:pt x="322" y="408"/>
                  </a:lnTo>
                  <a:lnTo>
                    <a:pt x="322" y="406"/>
                  </a:lnTo>
                  <a:lnTo>
                    <a:pt x="327" y="399"/>
                  </a:lnTo>
                  <a:lnTo>
                    <a:pt x="327" y="397"/>
                  </a:lnTo>
                  <a:lnTo>
                    <a:pt x="327" y="395"/>
                  </a:lnTo>
                  <a:lnTo>
                    <a:pt x="327" y="395"/>
                  </a:lnTo>
                  <a:lnTo>
                    <a:pt x="325" y="393"/>
                  </a:lnTo>
                  <a:lnTo>
                    <a:pt x="322" y="390"/>
                  </a:lnTo>
                  <a:lnTo>
                    <a:pt x="320" y="390"/>
                  </a:lnTo>
                  <a:lnTo>
                    <a:pt x="318" y="390"/>
                  </a:lnTo>
                  <a:lnTo>
                    <a:pt x="316" y="388"/>
                  </a:lnTo>
                  <a:lnTo>
                    <a:pt x="314" y="386"/>
                  </a:lnTo>
                  <a:lnTo>
                    <a:pt x="311" y="384"/>
                  </a:lnTo>
                  <a:lnTo>
                    <a:pt x="311" y="382"/>
                  </a:lnTo>
                  <a:lnTo>
                    <a:pt x="309" y="375"/>
                  </a:lnTo>
                  <a:lnTo>
                    <a:pt x="309" y="364"/>
                  </a:lnTo>
                  <a:lnTo>
                    <a:pt x="307" y="355"/>
                  </a:lnTo>
                  <a:lnTo>
                    <a:pt x="300" y="342"/>
                  </a:lnTo>
                  <a:lnTo>
                    <a:pt x="296" y="336"/>
                  </a:lnTo>
                  <a:lnTo>
                    <a:pt x="296" y="333"/>
                  </a:lnTo>
                  <a:lnTo>
                    <a:pt x="296" y="333"/>
                  </a:lnTo>
                  <a:lnTo>
                    <a:pt x="296" y="331"/>
                  </a:lnTo>
                  <a:lnTo>
                    <a:pt x="298" y="327"/>
                  </a:lnTo>
                  <a:lnTo>
                    <a:pt x="300" y="322"/>
                  </a:lnTo>
                  <a:lnTo>
                    <a:pt x="314" y="307"/>
                  </a:lnTo>
                  <a:lnTo>
                    <a:pt x="316" y="300"/>
                  </a:lnTo>
                  <a:lnTo>
                    <a:pt x="316" y="289"/>
                  </a:lnTo>
                  <a:lnTo>
                    <a:pt x="335" y="246"/>
                  </a:lnTo>
                  <a:lnTo>
                    <a:pt x="338" y="243"/>
                  </a:lnTo>
                  <a:lnTo>
                    <a:pt x="351" y="230"/>
                  </a:lnTo>
                  <a:lnTo>
                    <a:pt x="355" y="228"/>
                  </a:lnTo>
                  <a:lnTo>
                    <a:pt x="355" y="226"/>
                  </a:lnTo>
                  <a:lnTo>
                    <a:pt x="357" y="224"/>
                  </a:lnTo>
                  <a:lnTo>
                    <a:pt x="357" y="217"/>
                  </a:lnTo>
                  <a:lnTo>
                    <a:pt x="355" y="215"/>
                  </a:lnTo>
                  <a:lnTo>
                    <a:pt x="355" y="215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</p:grpSp>
      <p:grpSp>
        <p:nvGrpSpPr>
          <p:cNvPr id="123" name="59 Grupo"/>
          <p:cNvGrpSpPr/>
          <p:nvPr/>
        </p:nvGrpSpPr>
        <p:grpSpPr>
          <a:xfrm>
            <a:off x="1303821" y="1071919"/>
            <a:ext cx="2976563" cy="3963987"/>
            <a:chOff x="4471988" y="1049338"/>
            <a:chExt cx="2976563" cy="3963987"/>
          </a:xfrm>
          <a:solidFill>
            <a:schemeClr val="accent3"/>
          </a:solidFill>
        </p:grpSpPr>
        <p:sp>
          <p:nvSpPr>
            <p:cNvPr id="124" name="Freeform 26"/>
            <p:cNvSpPr>
              <a:spLocks/>
            </p:cNvSpPr>
            <p:nvPr/>
          </p:nvSpPr>
          <p:spPr bwMode="auto">
            <a:xfrm>
              <a:off x="5297488" y="3205163"/>
              <a:ext cx="1606550" cy="1227137"/>
            </a:xfrm>
            <a:custGeom>
              <a:avLst/>
              <a:gdLst>
                <a:gd name="T0" fmla="*/ 962 w 1012"/>
                <a:gd name="T1" fmla="*/ 430 h 773"/>
                <a:gd name="T2" fmla="*/ 925 w 1012"/>
                <a:gd name="T3" fmla="*/ 466 h 773"/>
                <a:gd name="T4" fmla="*/ 870 w 1012"/>
                <a:gd name="T5" fmla="*/ 503 h 773"/>
                <a:gd name="T6" fmla="*/ 845 w 1012"/>
                <a:gd name="T7" fmla="*/ 505 h 773"/>
                <a:gd name="T8" fmla="*/ 705 w 1012"/>
                <a:gd name="T9" fmla="*/ 487 h 773"/>
                <a:gd name="T10" fmla="*/ 690 w 1012"/>
                <a:gd name="T11" fmla="*/ 441 h 773"/>
                <a:gd name="T12" fmla="*/ 674 w 1012"/>
                <a:gd name="T13" fmla="*/ 415 h 773"/>
                <a:gd name="T14" fmla="*/ 617 w 1012"/>
                <a:gd name="T15" fmla="*/ 397 h 773"/>
                <a:gd name="T16" fmla="*/ 527 w 1012"/>
                <a:gd name="T17" fmla="*/ 376 h 773"/>
                <a:gd name="T18" fmla="*/ 556 w 1012"/>
                <a:gd name="T19" fmla="*/ 343 h 773"/>
                <a:gd name="T20" fmla="*/ 525 w 1012"/>
                <a:gd name="T21" fmla="*/ 275 h 773"/>
                <a:gd name="T22" fmla="*/ 485 w 1012"/>
                <a:gd name="T23" fmla="*/ 233 h 773"/>
                <a:gd name="T24" fmla="*/ 470 w 1012"/>
                <a:gd name="T25" fmla="*/ 204 h 773"/>
                <a:gd name="T26" fmla="*/ 441 w 1012"/>
                <a:gd name="T27" fmla="*/ 152 h 773"/>
                <a:gd name="T28" fmla="*/ 404 w 1012"/>
                <a:gd name="T29" fmla="*/ 103 h 773"/>
                <a:gd name="T30" fmla="*/ 373 w 1012"/>
                <a:gd name="T31" fmla="*/ 49 h 773"/>
                <a:gd name="T32" fmla="*/ 325 w 1012"/>
                <a:gd name="T33" fmla="*/ 18 h 773"/>
                <a:gd name="T34" fmla="*/ 255 w 1012"/>
                <a:gd name="T35" fmla="*/ 7 h 773"/>
                <a:gd name="T36" fmla="*/ 264 w 1012"/>
                <a:gd name="T37" fmla="*/ 103 h 773"/>
                <a:gd name="T38" fmla="*/ 165 w 1012"/>
                <a:gd name="T39" fmla="*/ 143 h 773"/>
                <a:gd name="T40" fmla="*/ 112 w 1012"/>
                <a:gd name="T41" fmla="*/ 156 h 773"/>
                <a:gd name="T42" fmla="*/ 88 w 1012"/>
                <a:gd name="T43" fmla="*/ 171 h 773"/>
                <a:gd name="T44" fmla="*/ 103 w 1012"/>
                <a:gd name="T45" fmla="*/ 215 h 773"/>
                <a:gd name="T46" fmla="*/ 62 w 1012"/>
                <a:gd name="T47" fmla="*/ 200 h 773"/>
                <a:gd name="T48" fmla="*/ 0 w 1012"/>
                <a:gd name="T49" fmla="*/ 255 h 773"/>
                <a:gd name="T50" fmla="*/ 20 w 1012"/>
                <a:gd name="T51" fmla="*/ 318 h 773"/>
                <a:gd name="T52" fmla="*/ 33 w 1012"/>
                <a:gd name="T53" fmla="*/ 343 h 773"/>
                <a:gd name="T54" fmla="*/ 55 w 1012"/>
                <a:gd name="T55" fmla="*/ 386 h 773"/>
                <a:gd name="T56" fmla="*/ 110 w 1012"/>
                <a:gd name="T57" fmla="*/ 367 h 773"/>
                <a:gd name="T58" fmla="*/ 147 w 1012"/>
                <a:gd name="T59" fmla="*/ 325 h 773"/>
                <a:gd name="T60" fmla="*/ 198 w 1012"/>
                <a:gd name="T61" fmla="*/ 266 h 773"/>
                <a:gd name="T62" fmla="*/ 266 w 1012"/>
                <a:gd name="T63" fmla="*/ 248 h 773"/>
                <a:gd name="T64" fmla="*/ 268 w 1012"/>
                <a:gd name="T65" fmla="*/ 272 h 773"/>
                <a:gd name="T66" fmla="*/ 242 w 1012"/>
                <a:gd name="T67" fmla="*/ 325 h 773"/>
                <a:gd name="T68" fmla="*/ 233 w 1012"/>
                <a:gd name="T69" fmla="*/ 382 h 773"/>
                <a:gd name="T70" fmla="*/ 286 w 1012"/>
                <a:gd name="T71" fmla="*/ 474 h 773"/>
                <a:gd name="T72" fmla="*/ 299 w 1012"/>
                <a:gd name="T73" fmla="*/ 562 h 773"/>
                <a:gd name="T74" fmla="*/ 334 w 1012"/>
                <a:gd name="T75" fmla="*/ 608 h 773"/>
                <a:gd name="T76" fmla="*/ 301 w 1012"/>
                <a:gd name="T77" fmla="*/ 639 h 773"/>
                <a:gd name="T78" fmla="*/ 294 w 1012"/>
                <a:gd name="T79" fmla="*/ 703 h 773"/>
                <a:gd name="T80" fmla="*/ 347 w 1012"/>
                <a:gd name="T81" fmla="*/ 689 h 773"/>
                <a:gd name="T82" fmla="*/ 387 w 1012"/>
                <a:gd name="T83" fmla="*/ 683 h 773"/>
                <a:gd name="T84" fmla="*/ 435 w 1012"/>
                <a:gd name="T85" fmla="*/ 654 h 773"/>
                <a:gd name="T86" fmla="*/ 457 w 1012"/>
                <a:gd name="T87" fmla="*/ 729 h 773"/>
                <a:gd name="T88" fmla="*/ 536 w 1012"/>
                <a:gd name="T89" fmla="*/ 746 h 773"/>
                <a:gd name="T90" fmla="*/ 558 w 1012"/>
                <a:gd name="T91" fmla="*/ 738 h 773"/>
                <a:gd name="T92" fmla="*/ 584 w 1012"/>
                <a:gd name="T93" fmla="*/ 762 h 773"/>
                <a:gd name="T94" fmla="*/ 608 w 1012"/>
                <a:gd name="T95" fmla="*/ 762 h 773"/>
                <a:gd name="T96" fmla="*/ 637 w 1012"/>
                <a:gd name="T97" fmla="*/ 773 h 773"/>
                <a:gd name="T98" fmla="*/ 670 w 1012"/>
                <a:gd name="T99" fmla="*/ 753 h 773"/>
                <a:gd name="T100" fmla="*/ 705 w 1012"/>
                <a:gd name="T101" fmla="*/ 751 h 773"/>
                <a:gd name="T102" fmla="*/ 712 w 1012"/>
                <a:gd name="T103" fmla="*/ 687 h 773"/>
                <a:gd name="T104" fmla="*/ 744 w 1012"/>
                <a:gd name="T105" fmla="*/ 692 h 773"/>
                <a:gd name="T106" fmla="*/ 918 w 1012"/>
                <a:gd name="T107" fmla="*/ 610 h 773"/>
                <a:gd name="T108" fmla="*/ 962 w 1012"/>
                <a:gd name="T109" fmla="*/ 518 h 773"/>
                <a:gd name="T110" fmla="*/ 999 w 1012"/>
                <a:gd name="T111" fmla="*/ 461 h 773"/>
                <a:gd name="T112" fmla="*/ 1008 w 1012"/>
                <a:gd name="T113" fmla="*/ 444 h 773"/>
                <a:gd name="T114" fmla="*/ 1004 w 1012"/>
                <a:gd name="T115" fmla="*/ 422 h 773"/>
                <a:gd name="T116" fmla="*/ 1010 w 1012"/>
                <a:gd name="T117" fmla="*/ 406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2" h="773">
                  <a:moveTo>
                    <a:pt x="1012" y="395"/>
                  </a:moveTo>
                  <a:lnTo>
                    <a:pt x="1006" y="397"/>
                  </a:lnTo>
                  <a:lnTo>
                    <a:pt x="1001" y="397"/>
                  </a:lnTo>
                  <a:lnTo>
                    <a:pt x="997" y="400"/>
                  </a:lnTo>
                  <a:lnTo>
                    <a:pt x="995" y="402"/>
                  </a:lnTo>
                  <a:lnTo>
                    <a:pt x="988" y="411"/>
                  </a:lnTo>
                  <a:lnTo>
                    <a:pt x="984" y="415"/>
                  </a:lnTo>
                  <a:lnTo>
                    <a:pt x="971" y="422"/>
                  </a:lnTo>
                  <a:lnTo>
                    <a:pt x="968" y="424"/>
                  </a:lnTo>
                  <a:lnTo>
                    <a:pt x="962" y="430"/>
                  </a:lnTo>
                  <a:lnTo>
                    <a:pt x="957" y="435"/>
                  </a:lnTo>
                  <a:lnTo>
                    <a:pt x="949" y="439"/>
                  </a:lnTo>
                  <a:lnTo>
                    <a:pt x="944" y="444"/>
                  </a:lnTo>
                  <a:lnTo>
                    <a:pt x="940" y="450"/>
                  </a:lnTo>
                  <a:lnTo>
                    <a:pt x="938" y="452"/>
                  </a:lnTo>
                  <a:lnTo>
                    <a:pt x="933" y="455"/>
                  </a:lnTo>
                  <a:lnTo>
                    <a:pt x="931" y="457"/>
                  </a:lnTo>
                  <a:lnTo>
                    <a:pt x="929" y="459"/>
                  </a:lnTo>
                  <a:lnTo>
                    <a:pt x="927" y="463"/>
                  </a:lnTo>
                  <a:lnTo>
                    <a:pt x="925" y="466"/>
                  </a:lnTo>
                  <a:lnTo>
                    <a:pt x="922" y="470"/>
                  </a:lnTo>
                  <a:lnTo>
                    <a:pt x="911" y="472"/>
                  </a:lnTo>
                  <a:lnTo>
                    <a:pt x="898" y="479"/>
                  </a:lnTo>
                  <a:lnTo>
                    <a:pt x="894" y="481"/>
                  </a:lnTo>
                  <a:lnTo>
                    <a:pt x="892" y="483"/>
                  </a:lnTo>
                  <a:lnTo>
                    <a:pt x="892" y="487"/>
                  </a:lnTo>
                  <a:lnTo>
                    <a:pt x="887" y="492"/>
                  </a:lnTo>
                  <a:lnTo>
                    <a:pt x="878" y="496"/>
                  </a:lnTo>
                  <a:lnTo>
                    <a:pt x="872" y="501"/>
                  </a:lnTo>
                  <a:lnTo>
                    <a:pt x="870" y="503"/>
                  </a:lnTo>
                  <a:lnTo>
                    <a:pt x="867" y="503"/>
                  </a:lnTo>
                  <a:lnTo>
                    <a:pt x="865" y="501"/>
                  </a:lnTo>
                  <a:lnTo>
                    <a:pt x="863" y="501"/>
                  </a:lnTo>
                  <a:lnTo>
                    <a:pt x="861" y="501"/>
                  </a:lnTo>
                  <a:lnTo>
                    <a:pt x="859" y="501"/>
                  </a:lnTo>
                  <a:lnTo>
                    <a:pt x="859" y="501"/>
                  </a:lnTo>
                  <a:lnTo>
                    <a:pt x="856" y="503"/>
                  </a:lnTo>
                  <a:lnTo>
                    <a:pt x="854" y="503"/>
                  </a:lnTo>
                  <a:lnTo>
                    <a:pt x="852" y="505"/>
                  </a:lnTo>
                  <a:lnTo>
                    <a:pt x="845" y="505"/>
                  </a:lnTo>
                  <a:lnTo>
                    <a:pt x="813" y="505"/>
                  </a:lnTo>
                  <a:lnTo>
                    <a:pt x="780" y="505"/>
                  </a:lnTo>
                  <a:lnTo>
                    <a:pt x="744" y="505"/>
                  </a:lnTo>
                  <a:lnTo>
                    <a:pt x="712" y="505"/>
                  </a:lnTo>
                  <a:lnTo>
                    <a:pt x="703" y="505"/>
                  </a:lnTo>
                  <a:lnTo>
                    <a:pt x="705" y="501"/>
                  </a:lnTo>
                  <a:lnTo>
                    <a:pt x="705" y="496"/>
                  </a:lnTo>
                  <a:lnTo>
                    <a:pt x="705" y="494"/>
                  </a:lnTo>
                  <a:lnTo>
                    <a:pt x="705" y="490"/>
                  </a:lnTo>
                  <a:lnTo>
                    <a:pt x="705" y="487"/>
                  </a:lnTo>
                  <a:lnTo>
                    <a:pt x="709" y="485"/>
                  </a:lnTo>
                  <a:lnTo>
                    <a:pt x="709" y="483"/>
                  </a:lnTo>
                  <a:lnTo>
                    <a:pt x="709" y="481"/>
                  </a:lnTo>
                  <a:lnTo>
                    <a:pt x="707" y="476"/>
                  </a:lnTo>
                  <a:lnTo>
                    <a:pt x="707" y="474"/>
                  </a:lnTo>
                  <a:lnTo>
                    <a:pt x="703" y="468"/>
                  </a:lnTo>
                  <a:lnTo>
                    <a:pt x="690" y="459"/>
                  </a:lnTo>
                  <a:lnTo>
                    <a:pt x="687" y="452"/>
                  </a:lnTo>
                  <a:lnTo>
                    <a:pt x="690" y="444"/>
                  </a:lnTo>
                  <a:lnTo>
                    <a:pt x="690" y="441"/>
                  </a:lnTo>
                  <a:lnTo>
                    <a:pt x="690" y="437"/>
                  </a:lnTo>
                  <a:lnTo>
                    <a:pt x="683" y="430"/>
                  </a:lnTo>
                  <a:lnTo>
                    <a:pt x="683" y="428"/>
                  </a:lnTo>
                  <a:lnTo>
                    <a:pt x="681" y="424"/>
                  </a:lnTo>
                  <a:lnTo>
                    <a:pt x="683" y="419"/>
                  </a:lnTo>
                  <a:lnTo>
                    <a:pt x="681" y="417"/>
                  </a:lnTo>
                  <a:lnTo>
                    <a:pt x="681" y="415"/>
                  </a:lnTo>
                  <a:lnTo>
                    <a:pt x="679" y="415"/>
                  </a:lnTo>
                  <a:lnTo>
                    <a:pt x="676" y="415"/>
                  </a:lnTo>
                  <a:lnTo>
                    <a:pt x="674" y="415"/>
                  </a:lnTo>
                  <a:lnTo>
                    <a:pt x="672" y="413"/>
                  </a:lnTo>
                  <a:lnTo>
                    <a:pt x="665" y="408"/>
                  </a:lnTo>
                  <a:lnTo>
                    <a:pt x="663" y="406"/>
                  </a:lnTo>
                  <a:lnTo>
                    <a:pt x="659" y="406"/>
                  </a:lnTo>
                  <a:lnTo>
                    <a:pt x="648" y="406"/>
                  </a:lnTo>
                  <a:lnTo>
                    <a:pt x="639" y="406"/>
                  </a:lnTo>
                  <a:lnTo>
                    <a:pt x="635" y="404"/>
                  </a:lnTo>
                  <a:lnTo>
                    <a:pt x="628" y="402"/>
                  </a:lnTo>
                  <a:lnTo>
                    <a:pt x="619" y="397"/>
                  </a:lnTo>
                  <a:lnTo>
                    <a:pt x="617" y="397"/>
                  </a:lnTo>
                  <a:lnTo>
                    <a:pt x="617" y="397"/>
                  </a:lnTo>
                  <a:lnTo>
                    <a:pt x="615" y="400"/>
                  </a:lnTo>
                  <a:lnTo>
                    <a:pt x="613" y="400"/>
                  </a:lnTo>
                  <a:lnTo>
                    <a:pt x="613" y="400"/>
                  </a:lnTo>
                  <a:lnTo>
                    <a:pt x="611" y="397"/>
                  </a:lnTo>
                  <a:lnTo>
                    <a:pt x="611" y="397"/>
                  </a:lnTo>
                  <a:lnTo>
                    <a:pt x="589" y="393"/>
                  </a:lnTo>
                  <a:lnTo>
                    <a:pt x="514" y="393"/>
                  </a:lnTo>
                  <a:lnTo>
                    <a:pt x="516" y="386"/>
                  </a:lnTo>
                  <a:lnTo>
                    <a:pt x="527" y="376"/>
                  </a:lnTo>
                  <a:lnTo>
                    <a:pt x="531" y="369"/>
                  </a:lnTo>
                  <a:lnTo>
                    <a:pt x="534" y="365"/>
                  </a:lnTo>
                  <a:lnTo>
                    <a:pt x="536" y="360"/>
                  </a:lnTo>
                  <a:lnTo>
                    <a:pt x="538" y="360"/>
                  </a:lnTo>
                  <a:lnTo>
                    <a:pt x="540" y="360"/>
                  </a:lnTo>
                  <a:lnTo>
                    <a:pt x="545" y="358"/>
                  </a:lnTo>
                  <a:lnTo>
                    <a:pt x="547" y="358"/>
                  </a:lnTo>
                  <a:lnTo>
                    <a:pt x="547" y="356"/>
                  </a:lnTo>
                  <a:lnTo>
                    <a:pt x="547" y="349"/>
                  </a:lnTo>
                  <a:lnTo>
                    <a:pt x="556" y="343"/>
                  </a:lnTo>
                  <a:lnTo>
                    <a:pt x="558" y="340"/>
                  </a:lnTo>
                  <a:lnTo>
                    <a:pt x="560" y="336"/>
                  </a:lnTo>
                  <a:lnTo>
                    <a:pt x="560" y="332"/>
                  </a:lnTo>
                  <a:lnTo>
                    <a:pt x="558" y="316"/>
                  </a:lnTo>
                  <a:lnTo>
                    <a:pt x="558" y="312"/>
                  </a:lnTo>
                  <a:lnTo>
                    <a:pt x="551" y="305"/>
                  </a:lnTo>
                  <a:lnTo>
                    <a:pt x="549" y="301"/>
                  </a:lnTo>
                  <a:lnTo>
                    <a:pt x="542" y="297"/>
                  </a:lnTo>
                  <a:lnTo>
                    <a:pt x="540" y="294"/>
                  </a:lnTo>
                  <a:lnTo>
                    <a:pt x="525" y="275"/>
                  </a:lnTo>
                  <a:lnTo>
                    <a:pt x="523" y="266"/>
                  </a:lnTo>
                  <a:lnTo>
                    <a:pt x="521" y="264"/>
                  </a:lnTo>
                  <a:lnTo>
                    <a:pt x="516" y="259"/>
                  </a:lnTo>
                  <a:lnTo>
                    <a:pt x="514" y="257"/>
                  </a:lnTo>
                  <a:lnTo>
                    <a:pt x="503" y="255"/>
                  </a:lnTo>
                  <a:lnTo>
                    <a:pt x="499" y="253"/>
                  </a:lnTo>
                  <a:lnTo>
                    <a:pt x="496" y="250"/>
                  </a:lnTo>
                  <a:lnTo>
                    <a:pt x="488" y="239"/>
                  </a:lnTo>
                  <a:lnTo>
                    <a:pt x="485" y="237"/>
                  </a:lnTo>
                  <a:lnTo>
                    <a:pt x="485" y="233"/>
                  </a:lnTo>
                  <a:lnTo>
                    <a:pt x="488" y="224"/>
                  </a:lnTo>
                  <a:lnTo>
                    <a:pt x="488" y="220"/>
                  </a:lnTo>
                  <a:lnTo>
                    <a:pt x="488" y="218"/>
                  </a:lnTo>
                  <a:lnTo>
                    <a:pt x="483" y="215"/>
                  </a:lnTo>
                  <a:lnTo>
                    <a:pt x="483" y="213"/>
                  </a:lnTo>
                  <a:lnTo>
                    <a:pt x="479" y="213"/>
                  </a:lnTo>
                  <a:lnTo>
                    <a:pt x="477" y="213"/>
                  </a:lnTo>
                  <a:lnTo>
                    <a:pt x="474" y="211"/>
                  </a:lnTo>
                  <a:lnTo>
                    <a:pt x="472" y="207"/>
                  </a:lnTo>
                  <a:lnTo>
                    <a:pt x="470" y="204"/>
                  </a:lnTo>
                  <a:lnTo>
                    <a:pt x="455" y="198"/>
                  </a:lnTo>
                  <a:lnTo>
                    <a:pt x="452" y="196"/>
                  </a:lnTo>
                  <a:lnTo>
                    <a:pt x="450" y="191"/>
                  </a:lnTo>
                  <a:lnTo>
                    <a:pt x="450" y="182"/>
                  </a:lnTo>
                  <a:lnTo>
                    <a:pt x="448" y="178"/>
                  </a:lnTo>
                  <a:lnTo>
                    <a:pt x="444" y="171"/>
                  </a:lnTo>
                  <a:lnTo>
                    <a:pt x="441" y="167"/>
                  </a:lnTo>
                  <a:lnTo>
                    <a:pt x="439" y="163"/>
                  </a:lnTo>
                  <a:lnTo>
                    <a:pt x="441" y="156"/>
                  </a:lnTo>
                  <a:lnTo>
                    <a:pt x="441" y="152"/>
                  </a:lnTo>
                  <a:lnTo>
                    <a:pt x="439" y="147"/>
                  </a:lnTo>
                  <a:lnTo>
                    <a:pt x="433" y="141"/>
                  </a:lnTo>
                  <a:lnTo>
                    <a:pt x="433" y="136"/>
                  </a:lnTo>
                  <a:lnTo>
                    <a:pt x="428" y="130"/>
                  </a:lnTo>
                  <a:lnTo>
                    <a:pt x="422" y="125"/>
                  </a:lnTo>
                  <a:lnTo>
                    <a:pt x="413" y="123"/>
                  </a:lnTo>
                  <a:lnTo>
                    <a:pt x="409" y="119"/>
                  </a:lnTo>
                  <a:lnTo>
                    <a:pt x="406" y="117"/>
                  </a:lnTo>
                  <a:lnTo>
                    <a:pt x="404" y="108"/>
                  </a:lnTo>
                  <a:lnTo>
                    <a:pt x="404" y="103"/>
                  </a:lnTo>
                  <a:lnTo>
                    <a:pt x="409" y="103"/>
                  </a:lnTo>
                  <a:lnTo>
                    <a:pt x="415" y="106"/>
                  </a:lnTo>
                  <a:lnTo>
                    <a:pt x="420" y="101"/>
                  </a:lnTo>
                  <a:lnTo>
                    <a:pt x="422" y="95"/>
                  </a:lnTo>
                  <a:lnTo>
                    <a:pt x="420" y="88"/>
                  </a:lnTo>
                  <a:lnTo>
                    <a:pt x="415" y="84"/>
                  </a:lnTo>
                  <a:lnTo>
                    <a:pt x="409" y="81"/>
                  </a:lnTo>
                  <a:lnTo>
                    <a:pt x="402" y="79"/>
                  </a:lnTo>
                  <a:lnTo>
                    <a:pt x="398" y="75"/>
                  </a:lnTo>
                  <a:lnTo>
                    <a:pt x="373" y="49"/>
                  </a:lnTo>
                  <a:lnTo>
                    <a:pt x="365" y="44"/>
                  </a:lnTo>
                  <a:lnTo>
                    <a:pt x="362" y="42"/>
                  </a:lnTo>
                  <a:lnTo>
                    <a:pt x="369" y="40"/>
                  </a:lnTo>
                  <a:lnTo>
                    <a:pt x="369" y="40"/>
                  </a:lnTo>
                  <a:lnTo>
                    <a:pt x="369" y="40"/>
                  </a:lnTo>
                  <a:lnTo>
                    <a:pt x="367" y="38"/>
                  </a:lnTo>
                  <a:lnTo>
                    <a:pt x="365" y="35"/>
                  </a:lnTo>
                  <a:lnTo>
                    <a:pt x="362" y="33"/>
                  </a:lnTo>
                  <a:lnTo>
                    <a:pt x="354" y="29"/>
                  </a:lnTo>
                  <a:lnTo>
                    <a:pt x="325" y="18"/>
                  </a:lnTo>
                  <a:lnTo>
                    <a:pt x="314" y="16"/>
                  </a:lnTo>
                  <a:lnTo>
                    <a:pt x="310" y="16"/>
                  </a:lnTo>
                  <a:lnTo>
                    <a:pt x="297" y="16"/>
                  </a:lnTo>
                  <a:lnTo>
                    <a:pt x="288" y="11"/>
                  </a:lnTo>
                  <a:lnTo>
                    <a:pt x="270" y="0"/>
                  </a:lnTo>
                  <a:lnTo>
                    <a:pt x="264" y="0"/>
                  </a:lnTo>
                  <a:lnTo>
                    <a:pt x="259" y="0"/>
                  </a:lnTo>
                  <a:lnTo>
                    <a:pt x="257" y="0"/>
                  </a:lnTo>
                  <a:lnTo>
                    <a:pt x="255" y="2"/>
                  </a:lnTo>
                  <a:lnTo>
                    <a:pt x="255" y="7"/>
                  </a:lnTo>
                  <a:lnTo>
                    <a:pt x="255" y="11"/>
                  </a:lnTo>
                  <a:lnTo>
                    <a:pt x="255" y="13"/>
                  </a:lnTo>
                  <a:lnTo>
                    <a:pt x="257" y="18"/>
                  </a:lnTo>
                  <a:lnTo>
                    <a:pt x="257" y="22"/>
                  </a:lnTo>
                  <a:lnTo>
                    <a:pt x="261" y="46"/>
                  </a:lnTo>
                  <a:lnTo>
                    <a:pt x="264" y="53"/>
                  </a:lnTo>
                  <a:lnTo>
                    <a:pt x="261" y="66"/>
                  </a:lnTo>
                  <a:lnTo>
                    <a:pt x="266" y="84"/>
                  </a:lnTo>
                  <a:lnTo>
                    <a:pt x="264" y="99"/>
                  </a:lnTo>
                  <a:lnTo>
                    <a:pt x="264" y="103"/>
                  </a:lnTo>
                  <a:lnTo>
                    <a:pt x="264" y="106"/>
                  </a:lnTo>
                  <a:lnTo>
                    <a:pt x="261" y="108"/>
                  </a:lnTo>
                  <a:lnTo>
                    <a:pt x="259" y="110"/>
                  </a:lnTo>
                  <a:lnTo>
                    <a:pt x="255" y="112"/>
                  </a:lnTo>
                  <a:lnTo>
                    <a:pt x="244" y="119"/>
                  </a:lnTo>
                  <a:lnTo>
                    <a:pt x="239" y="121"/>
                  </a:lnTo>
                  <a:lnTo>
                    <a:pt x="196" y="128"/>
                  </a:lnTo>
                  <a:lnTo>
                    <a:pt x="180" y="132"/>
                  </a:lnTo>
                  <a:lnTo>
                    <a:pt x="176" y="136"/>
                  </a:lnTo>
                  <a:lnTo>
                    <a:pt x="165" y="143"/>
                  </a:lnTo>
                  <a:lnTo>
                    <a:pt x="160" y="145"/>
                  </a:lnTo>
                  <a:lnTo>
                    <a:pt x="156" y="147"/>
                  </a:lnTo>
                  <a:lnTo>
                    <a:pt x="147" y="149"/>
                  </a:lnTo>
                  <a:lnTo>
                    <a:pt x="123" y="149"/>
                  </a:lnTo>
                  <a:lnTo>
                    <a:pt x="121" y="147"/>
                  </a:lnTo>
                  <a:lnTo>
                    <a:pt x="119" y="147"/>
                  </a:lnTo>
                  <a:lnTo>
                    <a:pt x="117" y="147"/>
                  </a:lnTo>
                  <a:lnTo>
                    <a:pt x="114" y="149"/>
                  </a:lnTo>
                  <a:lnTo>
                    <a:pt x="112" y="152"/>
                  </a:lnTo>
                  <a:lnTo>
                    <a:pt x="112" y="156"/>
                  </a:lnTo>
                  <a:lnTo>
                    <a:pt x="110" y="158"/>
                  </a:lnTo>
                  <a:lnTo>
                    <a:pt x="110" y="160"/>
                  </a:lnTo>
                  <a:lnTo>
                    <a:pt x="108" y="163"/>
                  </a:lnTo>
                  <a:lnTo>
                    <a:pt x="106" y="165"/>
                  </a:lnTo>
                  <a:lnTo>
                    <a:pt x="101" y="165"/>
                  </a:lnTo>
                  <a:lnTo>
                    <a:pt x="99" y="165"/>
                  </a:lnTo>
                  <a:lnTo>
                    <a:pt x="97" y="165"/>
                  </a:lnTo>
                  <a:lnTo>
                    <a:pt x="95" y="167"/>
                  </a:lnTo>
                  <a:lnTo>
                    <a:pt x="90" y="169"/>
                  </a:lnTo>
                  <a:lnTo>
                    <a:pt x="88" y="171"/>
                  </a:lnTo>
                  <a:lnTo>
                    <a:pt x="86" y="176"/>
                  </a:lnTo>
                  <a:lnTo>
                    <a:pt x="86" y="178"/>
                  </a:lnTo>
                  <a:lnTo>
                    <a:pt x="86" y="182"/>
                  </a:lnTo>
                  <a:lnTo>
                    <a:pt x="88" y="189"/>
                  </a:lnTo>
                  <a:lnTo>
                    <a:pt x="90" y="191"/>
                  </a:lnTo>
                  <a:lnTo>
                    <a:pt x="92" y="196"/>
                  </a:lnTo>
                  <a:lnTo>
                    <a:pt x="103" y="209"/>
                  </a:lnTo>
                  <a:lnTo>
                    <a:pt x="103" y="211"/>
                  </a:lnTo>
                  <a:lnTo>
                    <a:pt x="103" y="213"/>
                  </a:lnTo>
                  <a:lnTo>
                    <a:pt x="103" y="215"/>
                  </a:lnTo>
                  <a:lnTo>
                    <a:pt x="101" y="218"/>
                  </a:lnTo>
                  <a:lnTo>
                    <a:pt x="97" y="218"/>
                  </a:lnTo>
                  <a:lnTo>
                    <a:pt x="92" y="215"/>
                  </a:lnTo>
                  <a:lnTo>
                    <a:pt x="90" y="215"/>
                  </a:lnTo>
                  <a:lnTo>
                    <a:pt x="77" y="202"/>
                  </a:lnTo>
                  <a:lnTo>
                    <a:pt x="75" y="202"/>
                  </a:lnTo>
                  <a:lnTo>
                    <a:pt x="73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2" y="200"/>
                  </a:lnTo>
                  <a:lnTo>
                    <a:pt x="59" y="204"/>
                  </a:lnTo>
                  <a:lnTo>
                    <a:pt x="57" y="207"/>
                  </a:lnTo>
                  <a:lnTo>
                    <a:pt x="55" y="211"/>
                  </a:lnTo>
                  <a:lnTo>
                    <a:pt x="51" y="213"/>
                  </a:lnTo>
                  <a:lnTo>
                    <a:pt x="37" y="222"/>
                  </a:lnTo>
                  <a:lnTo>
                    <a:pt x="31" y="226"/>
                  </a:lnTo>
                  <a:lnTo>
                    <a:pt x="27" y="233"/>
                  </a:lnTo>
                  <a:lnTo>
                    <a:pt x="18" y="239"/>
                  </a:lnTo>
                  <a:lnTo>
                    <a:pt x="0" y="248"/>
                  </a:lnTo>
                  <a:lnTo>
                    <a:pt x="0" y="255"/>
                  </a:lnTo>
                  <a:lnTo>
                    <a:pt x="2" y="261"/>
                  </a:lnTo>
                  <a:lnTo>
                    <a:pt x="11" y="272"/>
                  </a:lnTo>
                  <a:lnTo>
                    <a:pt x="13" y="277"/>
                  </a:lnTo>
                  <a:lnTo>
                    <a:pt x="13" y="281"/>
                  </a:lnTo>
                  <a:lnTo>
                    <a:pt x="16" y="312"/>
                  </a:lnTo>
                  <a:lnTo>
                    <a:pt x="18" y="314"/>
                  </a:lnTo>
                  <a:lnTo>
                    <a:pt x="18" y="316"/>
                  </a:lnTo>
                  <a:lnTo>
                    <a:pt x="18" y="316"/>
                  </a:lnTo>
                  <a:lnTo>
                    <a:pt x="20" y="316"/>
                  </a:lnTo>
                  <a:lnTo>
                    <a:pt x="20" y="318"/>
                  </a:lnTo>
                  <a:lnTo>
                    <a:pt x="22" y="318"/>
                  </a:lnTo>
                  <a:lnTo>
                    <a:pt x="24" y="318"/>
                  </a:lnTo>
                  <a:lnTo>
                    <a:pt x="27" y="321"/>
                  </a:lnTo>
                  <a:lnTo>
                    <a:pt x="29" y="323"/>
                  </a:lnTo>
                  <a:lnTo>
                    <a:pt x="31" y="329"/>
                  </a:lnTo>
                  <a:lnTo>
                    <a:pt x="33" y="332"/>
                  </a:lnTo>
                  <a:lnTo>
                    <a:pt x="33" y="336"/>
                  </a:lnTo>
                  <a:lnTo>
                    <a:pt x="33" y="338"/>
                  </a:lnTo>
                  <a:lnTo>
                    <a:pt x="33" y="340"/>
                  </a:lnTo>
                  <a:lnTo>
                    <a:pt x="33" y="343"/>
                  </a:lnTo>
                  <a:lnTo>
                    <a:pt x="33" y="347"/>
                  </a:lnTo>
                  <a:lnTo>
                    <a:pt x="33" y="349"/>
                  </a:lnTo>
                  <a:lnTo>
                    <a:pt x="35" y="356"/>
                  </a:lnTo>
                  <a:lnTo>
                    <a:pt x="35" y="358"/>
                  </a:lnTo>
                  <a:lnTo>
                    <a:pt x="37" y="360"/>
                  </a:lnTo>
                  <a:lnTo>
                    <a:pt x="37" y="362"/>
                  </a:lnTo>
                  <a:lnTo>
                    <a:pt x="44" y="367"/>
                  </a:lnTo>
                  <a:lnTo>
                    <a:pt x="46" y="369"/>
                  </a:lnTo>
                  <a:lnTo>
                    <a:pt x="46" y="369"/>
                  </a:lnTo>
                  <a:lnTo>
                    <a:pt x="55" y="386"/>
                  </a:lnTo>
                  <a:lnTo>
                    <a:pt x="57" y="389"/>
                  </a:lnTo>
                  <a:lnTo>
                    <a:pt x="59" y="391"/>
                  </a:lnTo>
                  <a:lnTo>
                    <a:pt x="66" y="391"/>
                  </a:lnTo>
                  <a:lnTo>
                    <a:pt x="70" y="391"/>
                  </a:lnTo>
                  <a:lnTo>
                    <a:pt x="75" y="389"/>
                  </a:lnTo>
                  <a:lnTo>
                    <a:pt x="77" y="386"/>
                  </a:lnTo>
                  <a:lnTo>
                    <a:pt x="99" y="369"/>
                  </a:lnTo>
                  <a:lnTo>
                    <a:pt x="101" y="367"/>
                  </a:lnTo>
                  <a:lnTo>
                    <a:pt x="108" y="367"/>
                  </a:lnTo>
                  <a:lnTo>
                    <a:pt x="110" y="367"/>
                  </a:lnTo>
                  <a:lnTo>
                    <a:pt x="119" y="362"/>
                  </a:lnTo>
                  <a:lnTo>
                    <a:pt x="123" y="360"/>
                  </a:lnTo>
                  <a:lnTo>
                    <a:pt x="125" y="358"/>
                  </a:lnTo>
                  <a:lnTo>
                    <a:pt x="130" y="351"/>
                  </a:lnTo>
                  <a:lnTo>
                    <a:pt x="136" y="347"/>
                  </a:lnTo>
                  <a:lnTo>
                    <a:pt x="136" y="345"/>
                  </a:lnTo>
                  <a:lnTo>
                    <a:pt x="141" y="336"/>
                  </a:lnTo>
                  <a:lnTo>
                    <a:pt x="141" y="334"/>
                  </a:lnTo>
                  <a:lnTo>
                    <a:pt x="145" y="327"/>
                  </a:lnTo>
                  <a:lnTo>
                    <a:pt x="147" y="325"/>
                  </a:lnTo>
                  <a:lnTo>
                    <a:pt x="149" y="321"/>
                  </a:lnTo>
                  <a:lnTo>
                    <a:pt x="149" y="318"/>
                  </a:lnTo>
                  <a:lnTo>
                    <a:pt x="152" y="316"/>
                  </a:lnTo>
                  <a:lnTo>
                    <a:pt x="156" y="310"/>
                  </a:lnTo>
                  <a:lnTo>
                    <a:pt x="167" y="292"/>
                  </a:lnTo>
                  <a:lnTo>
                    <a:pt x="174" y="286"/>
                  </a:lnTo>
                  <a:lnTo>
                    <a:pt x="182" y="275"/>
                  </a:lnTo>
                  <a:lnTo>
                    <a:pt x="187" y="272"/>
                  </a:lnTo>
                  <a:lnTo>
                    <a:pt x="198" y="268"/>
                  </a:lnTo>
                  <a:lnTo>
                    <a:pt x="198" y="266"/>
                  </a:lnTo>
                  <a:lnTo>
                    <a:pt x="215" y="253"/>
                  </a:lnTo>
                  <a:lnTo>
                    <a:pt x="218" y="250"/>
                  </a:lnTo>
                  <a:lnTo>
                    <a:pt x="231" y="246"/>
                  </a:lnTo>
                  <a:lnTo>
                    <a:pt x="237" y="244"/>
                  </a:lnTo>
                  <a:lnTo>
                    <a:pt x="242" y="244"/>
                  </a:lnTo>
                  <a:lnTo>
                    <a:pt x="257" y="244"/>
                  </a:lnTo>
                  <a:lnTo>
                    <a:pt x="259" y="246"/>
                  </a:lnTo>
                  <a:lnTo>
                    <a:pt x="261" y="246"/>
                  </a:lnTo>
                  <a:lnTo>
                    <a:pt x="266" y="248"/>
                  </a:lnTo>
                  <a:lnTo>
                    <a:pt x="266" y="248"/>
                  </a:lnTo>
                  <a:lnTo>
                    <a:pt x="268" y="250"/>
                  </a:lnTo>
                  <a:lnTo>
                    <a:pt x="268" y="253"/>
                  </a:lnTo>
                  <a:lnTo>
                    <a:pt x="270" y="255"/>
                  </a:lnTo>
                  <a:lnTo>
                    <a:pt x="270" y="257"/>
                  </a:lnTo>
                  <a:lnTo>
                    <a:pt x="272" y="261"/>
                  </a:lnTo>
                  <a:lnTo>
                    <a:pt x="272" y="264"/>
                  </a:lnTo>
                  <a:lnTo>
                    <a:pt x="272" y="266"/>
                  </a:lnTo>
                  <a:lnTo>
                    <a:pt x="272" y="268"/>
                  </a:lnTo>
                  <a:lnTo>
                    <a:pt x="270" y="270"/>
                  </a:lnTo>
                  <a:lnTo>
                    <a:pt x="268" y="272"/>
                  </a:lnTo>
                  <a:lnTo>
                    <a:pt x="257" y="277"/>
                  </a:lnTo>
                  <a:lnTo>
                    <a:pt x="255" y="279"/>
                  </a:lnTo>
                  <a:lnTo>
                    <a:pt x="253" y="279"/>
                  </a:lnTo>
                  <a:lnTo>
                    <a:pt x="253" y="281"/>
                  </a:lnTo>
                  <a:lnTo>
                    <a:pt x="253" y="283"/>
                  </a:lnTo>
                  <a:lnTo>
                    <a:pt x="250" y="303"/>
                  </a:lnTo>
                  <a:lnTo>
                    <a:pt x="250" y="310"/>
                  </a:lnTo>
                  <a:lnTo>
                    <a:pt x="246" y="318"/>
                  </a:lnTo>
                  <a:lnTo>
                    <a:pt x="242" y="325"/>
                  </a:lnTo>
                  <a:lnTo>
                    <a:pt x="242" y="325"/>
                  </a:lnTo>
                  <a:lnTo>
                    <a:pt x="242" y="327"/>
                  </a:lnTo>
                  <a:lnTo>
                    <a:pt x="239" y="329"/>
                  </a:lnTo>
                  <a:lnTo>
                    <a:pt x="239" y="332"/>
                  </a:lnTo>
                  <a:lnTo>
                    <a:pt x="242" y="340"/>
                  </a:lnTo>
                  <a:lnTo>
                    <a:pt x="242" y="343"/>
                  </a:lnTo>
                  <a:lnTo>
                    <a:pt x="242" y="347"/>
                  </a:lnTo>
                  <a:lnTo>
                    <a:pt x="239" y="356"/>
                  </a:lnTo>
                  <a:lnTo>
                    <a:pt x="235" y="371"/>
                  </a:lnTo>
                  <a:lnTo>
                    <a:pt x="233" y="380"/>
                  </a:lnTo>
                  <a:lnTo>
                    <a:pt x="233" y="382"/>
                  </a:lnTo>
                  <a:lnTo>
                    <a:pt x="233" y="384"/>
                  </a:lnTo>
                  <a:lnTo>
                    <a:pt x="233" y="386"/>
                  </a:lnTo>
                  <a:lnTo>
                    <a:pt x="237" y="393"/>
                  </a:lnTo>
                  <a:lnTo>
                    <a:pt x="239" y="397"/>
                  </a:lnTo>
                  <a:lnTo>
                    <a:pt x="242" y="402"/>
                  </a:lnTo>
                  <a:lnTo>
                    <a:pt x="266" y="437"/>
                  </a:lnTo>
                  <a:lnTo>
                    <a:pt x="272" y="444"/>
                  </a:lnTo>
                  <a:lnTo>
                    <a:pt x="275" y="446"/>
                  </a:lnTo>
                  <a:lnTo>
                    <a:pt x="277" y="455"/>
                  </a:lnTo>
                  <a:lnTo>
                    <a:pt x="286" y="474"/>
                  </a:lnTo>
                  <a:lnTo>
                    <a:pt x="286" y="481"/>
                  </a:lnTo>
                  <a:lnTo>
                    <a:pt x="286" y="487"/>
                  </a:lnTo>
                  <a:lnTo>
                    <a:pt x="286" y="494"/>
                  </a:lnTo>
                  <a:lnTo>
                    <a:pt x="288" y="503"/>
                  </a:lnTo>
                  <a:lnTo>
                    <a:pt x="297" y="520"/>
                  </a:lnTo>
                  <a:lnTo>
                    <a:pt x="299" y="525"/>
                  </a:lnTo>
                  <a:lnTo>
                    <a:pt x="301" y="529"/>
                  </a:lnTo>
                  <a:lnTo>
                    <a:pt x="297" y="558"/>
                  </a:lnTo>
                  <a:lnTo>
                    <a:pt x="297" y="560"/>
                  </a:lnTo>
                  <a:lnTo>
                    <a:pt x="299" y="562"/>
                  </a:lnTo>
                  <a:lnTo>
                    <a:pt x="303" y="577"/>
                  </a:lnTo>
                  <a:lnTo>
                    <a:pt x="305" y="580"/>
                  </a:lnTo>
                  <a:lnTo>
                    <a:pt x="310" y="588"/>
                  </a:lnTo>
                  <a:lnTo>
                    <a:pt x="312" y="597"/>
                  </a:lnTo>
                  <a:lnTo>
                    <a:pt x="312" y="597"/>
                  </a:lnTo>
                  <a:lnTo>
                    <a:pt x="312" y="599"/>
                  </a:lnTo>
                  <a:lnTo>
                    <a:pt x="314" y="599"/>
                  </a:lnTo>
                  <a:lnTo>
                    <a:pt x="327" y="606"/>
                  </a:lnTo>
                  <a:lnTo>
                    <a:pt x="332" y="606"/>
                  </a:lnTo>
                  <a:lnTo>
                    <a:pt x="334" y="608"/>
                  </a:lnTo>
                  <a:lnTo>
                    <a:pt x="334" y="610"/>
                  </a:lnTo>
                  <a:lnTo>
                    <a:pt x="336" y="613"/>
                  </a:lnTo>
                  <a:lnTo>
                    <a:pt x="336" y="615"/>
                  </a:lnTo>
                  <a:lnTo>
                    <a:pt x="334" y="617"/>
                  </a:lnTo>
                  <a:lnTo>
                    <a:pt x="332" y="619"/>
                  </a:lnTo>
                  <a:lnTo>
                    <a:pt x="325" y="621"/>
                  </a:lnTo>
                  <a:lnTo>
                    <a:pt x="316" y="626"/>
                  </a:lnTo>
                  <a:lnTo>
                    <a:pt x="312" y="628"/>
                  </a:lnTo>
                  <a:lnTo>
                    <a:pt x="305" y="637"/>
                  </a:lnTo>
                  <a:lnTo>
                    <a:pt x="301" y="639"/>
                  </a:lnTo>
                  <a:lnTo>
                    <a:pt x="290" y="650"/>
                  </a:lnTo>
                  <a:lnTo>
                    <a:pt x="281" y="659"/>
                  </a:lnTo>
                  <a:lnTo>
                    <a:pt x="272" y="663"/>
                  </a:lnTo>
                  <a:lnTo>
                    <a:pt x="277" y="681"/>
                  </a:lnTo>
                  <a:lnTo>
                    <a:pt x="277" y="689"/>
                  </a:lnTo>
                  <a:lnTo>
                    <a:pt x="279" y="692"/>
                  </a:lnTo>
                  <a:lnTo>
                    <a:pt x="283" y="698"/>
                  </a:lnTo>
                  <a:lnTo>
                    <a:pt x="286" y="700"/>
                  </a:lnTo>
                  <a:lnTo>
                    <a:pt x="290" y="703"/>
                  </a:lnTo>
                  <a:lnTo>
                    <a:pt x="294" y="703"/>
                  </a:lnTo>
                  <a:lnTo>
                    <a:pt x="303" y="700"/>
                  </a:lnTo>
                  <a:lnTo>
                    <a:pt x="308" y="698"/>
                  </a:lnTo>
                  <a:lnTo>
                    <a:pt x="310" y="696"/>
                  </a:lnTo>
                  <a:lnTo>
                    <a:pt x="312" y="696"/>
                  </a:lnTo>
                  <a:lnTo>
                    <a:pt x="316" y="694"/>
                  </a:lnTo>
                  <a:lnTo>
                    <a:pt x="325" y="696"/>
                  </a:lnTo>
                  <a:lnTo>
                    <a:pt x="329" y="694"/>
                  </a:lnTo>
                  <a:lnTo>
                    <a:pt x="334" y="694"/>
                  </a:lnTo>
                  <a:lnTo>
                    <a:pt x="336" y="692"/>
                  </a:lnTo>
                  <a:lnTo>
                    <a:pt x="347" y="689"/>
                  </a:lnTo>
                  <a:lnTo>
                    <a:pt x="349" y="689"/>
                  </a:lnTo>
                  <a:lnTo>
                    <a:pt x="351" y="689"/>
                  </a:lnTo>
                  <a:lnTo>
                    <a:pt x="358" y="687"/>
                  </a:lnTo>
                  <a:lnTo>
                    <a:pt x="360" y="687"/>
                  </a:lnTo>
                  <a:lnTo>
                    <a:pt x="365" y="687"/>
                  </a:lnTo>
                  <a:lnTo>
                    <a:pt x="371" y="687"/>
                  </a:lnTo>
                  <a:lnTo>
                    <a:pt x="378" y="687"/>
                  </a:lnTo>
                  <a:lnTo>
                    <a:pt x="380" y="687"/>
                  </a:lnTo>
                  <a:lnTo>
                    <a:pt x="382" y="685"/>
                  </a:lnTo>
                  <a:lnTo>
                    <a:pt x="387" y="683"/>
                  </a:lnTo>
                  <a:lnTo>
                    <a:pt x="389" y="681"/>
                  </a:lnTo>
                  <a:lnTo>
                    <a:pt x="402" y="661"/>
                  </a:lnTo>
                  <a:lnTo>
                    <a:pt x="409" y="648"/>
                  </a:lnTo>
                  <a:lnTo>
                    <a:pt x="411" y="645"/>
                  </a:lnTo>
                  <a:lnTo>
                    <a:pt x="415" y="648"/>
                  </a:lnTo>
                  <a:lnTo>
                    <a:pt x="420" y="650"/>
                  </a:lnTo>
                  <a:lnTo>
                    <a:pt x="422" y="650"/>
                  </a:lnTo>
                  <a:lnTo>
                    <a:pt x="430" y="652"/>
                  </a:lnTo>
                  <a:lnTo>
                    <a:pt x="433" y="652"/>
                  </a:lnTo>
                  <a:lnTo>
                    <a:pt x="435" y="654"/>
                  </a:lnTo>
                  <a:lnTo>
                    <a:pt x="437" y="656"/>
                  </a:lnTo>
                  <a:lnTo>
                    <a:pt x="441" y="659"/>
                  </a:lnTo>
                  <a:lnTo>
                    <a:pt x="448" y="667"/>
                  </a:lnTo>
                  <a:lnTo>
                    <a:pt x="455" y="678"/>
                  </a:lnTo>
                  <a:lnTo>
                    <a:pt x="461" y="692"/>
                  </a:lnTo>
                  <a:lnTo>
                    <a:pt x="461" y="694"/>
                  </a:lnTo>
                  <a:lnTo>
                    <a:pt x="461" y="700"/>
                  </a:lnTo>
                  <a:lnTo>
                    <a:pt x="457" y="724"/>
                  </a:lnTo>
                  <a:lnTo>
                    <a:pt x="457" y="727"/>
                  </a:lnTo>
                  <a:lnTo>
                    <a:pt x="457" y="729"/>
                  </a:lnTo>
                  <a:lnTo>
                    <a:pt x="461" y="740"/>
                  </a:lnTo>
                  <a:lnTo>
                    <a:pt x="463" y="746"/>
                  </a:lnTo>
                  <a:lnTo>
                    <a:pt x="468" y="751"/>
                  </a:lnTo>
                  <a:lnTo>
                    <a:pt x="472" y="753"/>
                  </a:lnTo>
                  <a:lnTo>
                    <a:pt x="477" y="755"/>
                  </a:lnTo>
                  <a:lnTo>
                    <a:pt x="485" y="753"/>
                  </a:lnTo>
                  <a:lnTo>
                    <a:pt x="490" y="751"/>
                  </a:lnTo>
                  <a:lnTo>
                    <a:pt x="503" y="751"/>
                  </a:lnTo>
                  <a:lnTo>
                    <a:pt x="527" y="749"/>
                  </a:lnTo>
                  <a:lnTo>
                    <a:pt x="536" y="746"/>
                  </a:lnTo>
                  <a:lnTo>
                    <a:pt x="540" y="744"/>
                  </a:lnTo>
                  <a:lnTo>
                    <a:pt x="542" y="742"/>
                  </a:lnTo>
                  <a:lnTo>
                    <a:pt x="545" y="742"/>
                  </a:lnTo>
                  <a:lnTo>
                    <a:pt x="551" y="733"/>
                  </a:lnTo>
                  <a:lnTo>
                    <a:pt x="551" y="731"/>
                  </a:lnTo>
                  <a:lnTo>
                    <a:pt x="553" y="731"/>
                  </a:lnTo>
                  <a:lnTo>
                    <a:pt x="556" y="731"/>
                  </a:lnTo>
                  <a:lnTo>
                    <a:pt x="558" y="733"/>
                  </a:lnTo>
                  <a:lnTo>
                    <a:pt x="558" y="735"/>
                  </a:lnTo>
                  <a:lnTo>
                    <a:pt x="558" y="738"/>
                  </a:lnTo>
                  <a:lnTo>
                    <a:pt x="560" y="740"/>
                  </a:lnTo>
                  <a:lnTo>
                    <a:pt x="560" y="742"/>
                  </a:lnTo>
                  <a:lnTo>
                    <a:pt x="562" y="744"/>
                  </a:lnTo>
                  <a:lnTo>
                    <a:pt x="564" y="744"/>
                  </a:lnTo>
                  <a:lnTo>
                    <a:pt x="564" y="749"/>
                  </a:lnTo>
                  <a:lnTo>
                    <a:pt x="564" y="751"/>
                  </a:lnTo>
                  <a:lnTo>
                    <a:pt x="569" y="755"/>
                  </a:lnTo>
                  <a:lnTo>
                    <a:pt x="578" y="757"/>
                  </a:lnTo>
                  <a:lnTo>
                    <a:pt x="580" y="757"/>
                  </a:lnTo>
                  <a:lnTo>
                    <a:pt x="584" y="762"/>
                  </a:lnTo>
                  <a:lnTo>
                    <a:pt x="586" y="762"/>
                  </a:lnTo>
                  <a:lnTo>
                    <a:pt x="591" y="762"/>
                  </a:lnTo>
                  <a:lnTo>
                    <a:pt x="593" y="762"/>
                  </a:lnTo>
                  <a:lnTo>
                    <a:pt x="595" y="762"/>
                  </a:lnTo>
                  <a:lnTo>
                    <a:pt x="597" y="762"/>
                  </a:lnTo>
                  <a:lnTo>
                    <a:pt x="600" y="760"/>
                  </a:lnTo>
                  <a:lnTo>
                    <a:pt x="602" y="760"/>
                  </a:lnTo>
                  <a:lnTo>
                    <a:pt x="604" y="760"/>
                  </a:lnTo>
                  <a:lnTo>
                    <a:pt x="606" y="760"/>
                  </a:lnTo>
                  <a:lnTo>
                    <a:pt x="608" y="762"/>
                  </a:lnTo>
                  <a:lnTo>
                    <a:pt x="608" y="764"/>
                  </a:lnTo>
                  <a:lnTo>
                    <a:pt x="608" y="766"/>
                  </a:lnTo>
                  <a:lnTo>
                    <a:pt x="611" y="766"/>
                  </a:lnTo>
                  <a:lnTo>
                    <a:pt x="613" y="766"/>
                  </a:lnTo>
                  <a:lnTo>
                    <a:pt x="615" y="766"/>
                  </a:lnTo>
                  <a:lnTo>
                    <a:pt x="619" y="771"/>
                  </a:lnTo>
                  <a:lnTo>
                    <a:pt x="622" y="771"/>
                  </a:lnTo>
                  <a:lnTo>
                    <a:pt x="624" y="773"/>
                  </a:lnTo>
                  <a:lnTo>
                    <a:pt x="630" y="773"/>
                  </a:lnTo>
                  <a:lnTo>
                    <a:pt x="637" y="773"/>
                  </a:lnTo>
                  <a:lnTo>
                    <a:pt x="639" y="773"/>
                  </a:lnTo>
                  <a:lnTo>
                    <a:pt x="641" y="771"/>
                  </a:lnTo>
                  <a:lnTo>
                    <a:pt x="643" y="768"/>
                  </a:lnTo>
                  <a:lnTo>
                    <a:pt x="643" y="768"/>
                  </a:lnTo>
                  <a:lnTo>
                    <a:pt x="646" y="766"/>
                  </a:lnTo>
                  <a:lnTo>
                    <a:pt x="650" y="764"/>
                  </a:lnTo>
                  <a:lnTo>
                    <a:pt x="652" y="764"/>
                  </a:lnTo>
                  <a:lnTo>
                    <a:pt x="659" y="757"/>
                  </a:lnTo>
                  <a:lnTo>
                    <a:pt x="663" y="755"/>
                  </a:lnTo>
                  <a:lnTo>
                    <a:pt x="670" y="753"/>
                  </a:lnTo>
                  <a:lnTo>
                    <a:pt x="683" y="749"/>
                  </a:lnTo>
                  <a:lnTo>
                    <a:pt x="683" y="749"/>
                  </a:lnTo>
                  <a:lnTo>
                    <a:pt x="685" y="749"/>
                  </a:lnTo>
                  <a:lnTo>
                    <a:pt x="690" y="751"/>
                  </a:lnTo>
                  <a:lnTo>
                    <a:pt x="692" y="751"/>
                  </a:lnTo>
                  <a:lnTo>
                    <a:pt x="694" y="751"/>
                  </a:lnTo>
                  <a:lnTo>
                    <a:pt x="698" y="751"/>
                  </a:lnTo>
                  <a:lnTo>
                    <a:pt x="701" y="751"/>
                  </a:lnTo>
                  <a:lnTo>
                    <a:pt x="703" y="751"/>
                  </a:lnTo>
                  <a:lnTo>
                    <a:pt x="705" y="751"/>
                  </a:lnTo>
                  <a:lnTo>
                    <a:pt x="705" y="751"/>
                  </a:lnTo>
                  <a:lnTo>
                    <a:pt x="705" y="746"/>
                  </a:lnTo>
                  <a:lnTo>
                    <a:pt x="705" y="742"/>
                  </a:lnTo>
                  <a:lnTo>
                    <a:pt x="707" y="738"/>
                  </a:lnTo>
                  <a:lnTo>
                    <a:pt x="709" y="733"/>
                  </a:lnTo>
                  <a:lnTo>
                    <a:pt x="723" y="709"/>
                  </a:lnTo>
                  <a:lnTo>
                    <a:pt x="723" y="705"/>
                  </a:lnTo>
                  <a:lnTo>
                    <a:pt x="723" y="703"/>
                  </a:lnTo>
                  <a:lnTo>
                    <a:pt x="723" y="700"/>
                  </a:lnTo>
                  <a:lnTo>
                    <a:pt x="712" y="687"/>
                  </a:lnTo>
                  <a:lnTo>
                    <a:pt x="712" y="685"/>
                  </a:lnTo>
                  <a:lnTo>
                    <a:pt x="712" y="683"/>
                  </a:lnTo>
                  <a:lnTo>
                    <a:pt x="714" y="681"/>
                  </a:lnTo>
                  <a:lnTo>
                    <a:pt x="716" y="681"/>
                  </a:lnTo>
                  <a:lnTo>
                    <a:pt x="725" y="681"/>
                  </a:lnTo>
                  <a:lnTo>
                    <a:pt x="727" y="681"/>
                  </a:lnTo>
                  <a:lnTo>
                    <a:pt x="731" y="683"/>
                  </a:lnTo>
                  <a:lnTo>
                    <a:pt x="738" y="689"/>
                  </a:lnTo>
                  <a:lnTo>
                    <a:pt x="740" y="689"/>
                  </a:lnTo>
                  <a:lnTo>
                    <a:pt x="744" y="692"/>
                  </a:lnTo>
                  <a:lnTo>
                    <a:pt x="771" y="689"/>
                  </a:lnTo>
                  <a:lnTo>
                    <a:pt x="775" y="689"/>
                  </a:lnTo>
                  <a:lnTo>
                    <a:pt x="777" y="687"/>
                  </a:lnTo>
                  <a:lnTo>
                    <a:pt x="859" y="645"/>
                  </a:lnTo>
                  <a:lnTo>
                    <a:pt x="876" y="641"/>
                  </a:lnTo>
                  <a:lnTo>
                    <a:pt x="878" y="639"/>
                  </a:lnTo>
                  <a:lnTo>
                    <a:pt x="887" y="634"/>
                  </a:lnTo>
                  <a:lnTo>
                    <a:pt x="896" y="626"/>
                  </a:lnTo>
                  <a:lnTo>
                    <a:pt x="907" y="619"/>
                  </a:lnTo>
                  <a:lnTo>
                    <a:pt x="918" y="610"/>
                  </a:lnTo>
                  <a:lnTo>
                    <a:pt x="920" y="608"/>
                  </a:lnTo>
                  <a:lnTo>
                    <a:pt x="927" y="604"/>
                  </a:lnTo>
                  <a:lnTo>
                    <a:pt x="944" y="582"/>
                  </a:lnTo>
                  <a:lnTo>
                    <a:pt x="949" y="573"/>
                  </a:lnTo>
                  <a:lnTo>
                    <a:pt x="951" y="569"/>
                  </a:lnTo>
                  <a:lnTo>
                    <a:pt x="953" y="562"/>
                  </a:lnTo>
                  <a:lnTo>
                    <a:pt x="955" y="536"/>
                  </a:lnTo>
                  <a:lnTo>
                    <a:pt x="955" y="531"/>
                  </a:lnTo>
                  <a:lnTo>
                    <a:pt x="957" y="523"/>
                  </a:lnTo>
                  <a:lnTo>
                    <a:pt x="962" y="518"/>
                  </a:lnTo>
                  <a:lnTo>
                    <a:pt x="966" y="514"/>
                  </a:lnTo>
                  <a:lnTo>
                    <a:pt x="993" y="496"/>
                  </a:lnTo>
                  <a:lnTo>
                    <a:pt x="993" y="494"/>
                  </a:lnTo>
                  <a:lnTo>
                    <a:pt x="993" y="487"/>
                  </a:lnTo>
                  <a:lnTo>
                    <a:pt x="993" y="476"/>
                  </a:lnTo>
                  <a:lnTo>
                    <a:pt x="993" y="468"/>
                  </a:lnTo>
                  <a:lnTo>
                    <a:pt x="995" y="466"/>
                  </a:lnTo>
                  <a:lnTo>
                    <a:pt x="997" y="463"/>
                  </a:lnTo>
                  <a:lnTo>
                    <a:pt x="997" y="463"/>
                  </a:lnTo>
                  <a:lnTo>
                    <a:pt x="999" y="461"/>
                  </a:lnTo>
                  <a:lnTo>
                    <a:pt x="1001" y="461"/>
                  </a:lnTo>
                  <a:lnTo>
                    <a:pt x="1004" y="463"/>
                  </a:lnTo>
                  <a:lnTo>
                    <a:pt x="1004" y="463"/>
                  </a:lnTo>
                  <a:lnTo>
                    <a:pt x="1006" y="461"/>
                  </a:lnTo>
                  <a:lnTo>
                    <a:pt x="1006" y="459"/>
                  </a:lnTo>
                  <a:lnTo>
                    <a:pt x="1006" y="459"/>
                  </a:lnTo>
                  <a:lnTo>
                    <a:pt x="1008" y="455"/>
                  </a:lnTo>
                  <a:lnTo>
                    <a:pt x="1010" y="452"/>
                  </a:lnTo>
                  <a:lnTo>
                    <a:pt x="1010" y="448"/>
                  </a:lnTo>
                  <a:lnTo>
                    <a:pt x="1008" y="444"/>
                  </a:lnTo>
                  <a:lnTo>
                    <a:pt x="1006" y="441"/>
                  </a:lnTo>
                  <a:lnTo>
                    <a:pt x="1001" y="437"/>
                  </a:lnTo>
                  <a:lnTo>
                    <a:pt x="999" y="435"/>
                  </a:lnTo>
                  <a:lnTo>
                    <a:pt x="997" y="430"/>
                  </a:lnTo>
                  <a:lnTo>
                    <a:pt x="997" y="426"/>
                  </a:lnTo>
                  <a:lnTo>
                    <a:pt x="995" y="422"/>
                  </a:lnTo>
                  <a:lnTo>
                    <a:pt x="995" y="422"/>
                  </a:lnTo>
                  <a:lnTo>
                    <a:pt x="1001" y="422"/>
                  </a:lnTo>
                  <a:lnTo>
                    <a:pt x="1001" y="422"/>
                  </a:lnTo>
                  <a:lnTo>
                    <a:pt x="1004" y="422"/>
                  </a:lnTo>
                  <a:lnTo>
                    <a:pt x="1006" y="422"/>
                  </a:lnTo>
                  <a:lnTo>
                    <a:pt x="1004" y="417"/>
                  </a:lnTo>
                  <a:lnTo>
                    <a:pt x="1004" y="415"/>
                  </a:lnTo>
                  <a:lnTo>
                    <a:pt x="1006" y="413"/>
                  </a:lnTo>
                  <a:lnTo>
                    <a:pt x="1008" y="413"/>
                  </a:lnTo>
                  <a:lnTo>
                    <a:pt x="1008" y="411"/>
                  </a:lnTo>
                  <a:lnTo>
                    <a:pt x="1006" y="411"/>
                  </a:lnTo>
                  <a:lnTo>
                    <a:pt x="1006" y="408"/>
                  </a:lnTo>
                  <a:lnTo>
                    <a:pt x="1010" y="408"/>
                  </a:lnTo>
                  <a:lnTo>
                    <a:pt x="1010" y="406"/>
                  </a:lnTo>
                  <a:lnTo>
                    <a:pt x="1010" y="402"/>
                  </a:lnTo>
                  <a:lnTo>
                    <a:pt x="1012" y="400"/>
                  </a:lnTo>
                  <a:lnTo>
                    <a:pt x="1012" y="400"/>
                  </a:lnTo>
                  <a:lnTo>
                    <a:pt x="1012" y="395"/>
                  </a:lnTo>
                  <a:lnTo>
                    <a:pt x="1012" y="395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25" name="Freeform 27"/>
            <p:cNvSpPr>
              <a:spLocks/>
            </p:cNvSpPr>
            <p:nvPr/>
          </p:nvSpPr>
          <p:spPr bwMode="auto">
            <a:xfrm>
              <a:off x="4764088" y="2630488"/>
              <a:ext cx="684213" cy="996950"/>
            </a:xfrm>
            <a:custGeom>
              <a:avLst/>
              <a:gdLst>
                <a:gd name="T0" fmla="*/ 428 w 431"/>
                <a:gd name="T1" fmla="*/ 171 h 628"/>
                <a:gd name="T2" fmla="*/ 393 w 431"/>
                <a:gd name="T3" fmla="*/ 143 h 628"/>
                <a:gd name="T4" fmla="*/ 323 w 431"/>
                <a:gd name="T5" fmla="*/ 136 h 628"/>
                <a:gd name="T6" fmla="*/ 301 w 431"/>
                <a:gd name="T7" fmla="*/ 130 h 628"/>
                <a:gd name="T8" fmla="*/ 272 w 431"/>
                <a:gd name="T9" fmla="*/ 101 h 628"/>
                <a:gd name="T10" fmla="*/ 226 w 431"/>
                <a:gd name="T11" fmla="*/ 123 h 628"/>
                <a:gd name="T12" fmla="*/ 207 w 431"/>
                <a:gd name="T13" fmla="*/ 121 h 628"/>
                <a:gd name="T14" fmla="*/ 180 w 431"/>
                <a:gd name="T15" fmla="*/ 77 h 628"/>
                <a:gd name="T16" fmla="*/ 152 w 431"/>
                <a:gd name="T17" fmla="*/ 57 h 628"/>
                <a:gd name="T18" fmla="*/ 86 w 431"/>
                <a:gd name="T19" fmla="*/ 37 h 628"/>
                <a:gd name="T20" fmla="*/ 38 w 431"/>
                <a:gd name="T21" fmla="*/ 11 h 628"/>
                <a:gd name="T22" fmla="*/ 13 w 431"/>
                <a:gd name="T23" fmla="*/ 18 h 628"/>
                <a:gd name="T24" fmla="*/ 16 w 431"/>
                <a:gd name="T25" fmla="*/ 46 h 628"/>
                <a:gd name="T26" fmla="*/ 35 w 431"/>
                <a:gd name="T27" fmla="*/ 108 h 628"/>
                <a:gd name="T28" fmla="*/ 79 w 431"/>
                <a:gd name="T29" fmla="*/ 127 h 628"/>
                <a:gd name="T30" fmla="*/ 106 w 431"/>
                <a:gd name="T31" fmla="*/ 149 h 628"/>
                <a:gd name="T32" fmla="*/ 110 w 431"/>
                <a:gd name="T33" fmla="*/ 184 h 628"/>
                <a:gd name="T34" fmla="*/ 86 w 431"/>
                <a:gd name="T35" fmla="*/ 213 h 628"/>
                <a:gd name="T36" fmla="*/ 62 w 431"/>
                <a:gd name="T37" fmla="*/ 231 h 628"/>
                <a:gd name="T38" fmla="*/ 38 w 431"/>
                <a:gd name="T39" fmla="*/ 231 h 628"/>
                <a:gd name="T40" fmla="*/ 18 w 431"/>
                <a:gd name="T41" fmla="*/ 222 h 628"/>
                <a:gd name="T42" fmla="*/ 9 w 431"/>
                <a:gd name="T43" fmla="*/ 246 h 628"/>
                <a:gd name="T44" fmla="*/ 0 w 431"/>
                <a:gd name="T45" fmla="*/ 294 h 628"/>
                <a:gd name="T46" fmla="*/ 11 w 431"/>
                <a:gd name="T47" fmla="*/ 305 h 628"/>
                <a:gd name="T48" fmla="*/ 31 w 431"/>
                <a:gd name="T49" fmla="*/ 336 h 628"/>
                <a:gd name="T50" fmla="*/ 29 w 431"/>
                <a:gd name="T51" fmla="*/ 360 h 628"/>
                <a:gd name="T52" fmla="*/ 49 w 431"/>
                <a:gd name="T53" fmla="*/ 391 h 628"/>
                <a:gd name="T54" fmla="*/ 62 w 431"/>
                <a:gd name="T55" fmla="*/ 413 h 628"/>
                <a:gd name="T56" fmla="*/ 57 w 431"/>
                <a:gd name="T57" fmla="*/ 446 h 628"/>
                <a:gd name="T58" fmla="*/ 73 w 431"/>
                <a:gd name="T59" fmla="*/ 474 h 628"/>
                <a:gd name="T60" fmla="*/ 70 w 431"/>
                <a:gd name="T61" fmla="*/ 487 h 628"/>
                <a:gd name="T62" fmla="*/ 73 w 431"/>
                <a:gd name="T63" fmla="*/ 492 h 628"/>
                <a:gd name="T64" fmla="*/ 81 w 431"/>
                <a:gd name="T65" fmla="*/ 503 h 628"/>
                <a:gd name="T66" fmla="*/ 99 w 431"/>
                <a:gd name="T67" fmla="*/ 503 h 628"/>
                <a:gd name="T68" fmla="*/ 141 w 431"/>
                <a:gd name="T69" fmla="*/ 516 h 628"/>
                <a:gd name="T70" fmla="*/ 163 w 431"/>
                <a:gd name="T71" fmla="*/ 542 h 628"/>
                <a:gd name="T72" fmla="*/ 187 w 431"/>
                <a:gd name="T73" fmla="*/ 590 h 628"/>
                <a:gd name="T74" fmla="*/ 246 w 431"/>
                <a:gd name="T75" fmla="*/ 601 h 628"/>
                <a:gd name="T76" fmla="*/ 264 w 431"/>
                <a:gd name="T77" fmla="*/ 593 h 628"/>
                <a:gd name="T78" fmla="*/ 268 w 431"/>
                <a:gd name="T79" fmla="*/ 562 h 628"/>
                <a:gd name="T80" fmla="*/ 279 w 431"/>
                <a:gd name="T81" fmla="*/ 569 h 628"/>
                <a:gd name="T82" fmla="*/ 283 w 431"/>
                <a:gd name="T83" fmla="*/ 582 h 628"/>
                <a:gd name="T84" fmla="*/ 288 w 431"/>
                <a:gd name="T85" fmla="*/ 590 h 628"/>
                <a:gd name="T86" fmla="*/ 294 w 431"/>
                <a:gd name="T87" fmla="*/ 601 h 628"/>
                <a:gd name="T88" fmla="*/ 301 w 431"/>
                <a:gd name="T89" fmla="*/ 623 h 628"/>
                <a:gd name="T90" fmla="*/ 319 w 431"/>
                <a:gd name="T91" fmla="*/ 621 h 628"/>
                <a:gd name="T92" fmla="*/ 341 w 431"/>
                <a:gd name="T93" fmla="*/ 595 h 628"/>
                <a:gd name="T94" fmla="*/ 352 w 431"/>
                <a:gd name="T95" fmla="*/ 551 h 628"/>
                <a:gd name="T96" fmla="*/ 373 w 431"/>
                <a:gd name="T97" fmla="*/ 518 h 628"/>
                <a:gd name="T98" fmla="*/ 314 w 431"/>
                <a:gd name="T99" fmla="*/ 373 h 628"/>
                <a:gd name="T100" fmla="*/ 312 w 431"/>
                <a:gd name="T101" fmla="*/ 310 h 628"/>
                <a:gd name="T102" fmla="*/ 323 w 431"/>
                <a:gd name="T103" fmla="*/ 270 h 628"/>
                <a:gd name="T104" fmla="*/ 343 w 431"/>
                <a:gd name="T105" fmla="*/ 255 h 628"/>
                <a:gd name="T106" fmla="*/ 369 w 431"/>
                <a:gd name="T107" fmla="*/ 263 h 628"/>
                <a:gd name="T108" fmla="*/ 398 w 431"/>
                <a:gd name="T109" fmla="*/ 292 h 628"/>
                <a:gd name="T110" fmla="*/ 411 w 431"/>
                <a:gd name="T111" fmla="*/ 279 h 628"/>
                <a:gd name="T112" fmla="*/ 426 w 431"/>
                <a:gd name="T113" fmla="*/ 242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1" h="628">
                  <a:moveTo>
                    <a:pt x="431" y="182"/>
                  </a:moveTo>
                  <a:lnTo>
                    <a:pt x="431" y="180"/>
                  </a:lnTo>
                  <a:lnTo>
                    <a:pt x="431" y="176"/>
                  </a:lnTo>
                  <a:lnTo>
                    <a:pt x="428" y="174"/>
                  </a:lnTo>
                  <a:lnTo>
                    <a:pt x="428" y="171"/>
                  </a:lnTo>
                  <a:lnTo>
                    <a:pt x="424" y="165"/>
                  </a:lnTo>
                  <a:lnTo>
                    <a:pt x="422" y="163"/>
                  </a:lnTo>
                  <a:lnTo>
                    <a:pt x="411" y="149"/>
                  </a:lnTo>
                  <a:lnTo>
                    <a:pt x="404" y="147"/>
                  </a:lnTo>
                  <a:lnTo>
                    <a:pt x="393" y="143"/>
                  </a:lnTo>
                  <a:lnTo>
                    <a:pt x="382" y="141"/>
                  </a:lnTo>
                  <a:lnTo>
                    <a:pt x="360" y="134"/>
                  </a:lnTo>
                  <a:lnTo>
                    <a:pt x="347" y="134"/>
                  </a:lnTo>
                  <a:lnTo>
                    <a:pt x="330" y="136"/>
                  </a:lnTo>
                  <a:lnTo>
                    <a:pt x="323" y="136"/>
                  </a:lnTo>
                  <a:lnTo>
                    <a:pt x="319" y="136"/>
                  </a:lnTo>
                  <a:lnTo>
                    <a:pt x="316" y="136"/>
                  </a:lnTo>
                  <a:lnTo>
                    <a:pt x="308" y="134"/>
                  </a:lnTo>
                  <a:lnTo>
                    <a:pt x="305" y="132"/>
                  </a:lnTo>
                  <a:lnTo>
                    <a:pt x="301" y="130"/>
                  </a:lnTo>
                  <a:lnTo>
                    <a:pt x="288" y="114"/>
                  </a:lnTo>
                  <a:lnTo>
                    <a:pt x="283" y="108"/>
                  </a:lnTo>
                  <a:lnTo>
                    <a:pt x="279" y="103"/>
                  </a:lnTo>
                  <a:lnTo>
                    <a:pt x="275" y="101"/>
                  </a:lnTo>
                  <a:lnTo>
                    <a:pt x="272" y="101"/>
                  </a:lnTo>
                  <a:lnTo>
                    <a:pt x="268" y="99"/>
                  </a:lnTo>
                  <a:lnTo>
                    <a:pt x="266" y="99"/>
                  </a:lnTo>
                  <a:lnTo>
                    <a:pt x="259" y="101"/>
                  </a:lnTo>
                  <a:lnTo>
                    <a:pt x="233" y="121"/>
                  </a:lnTo>
                  <a:lnTo>
                    <a:pt x="226" y="123"/>
                  </a:lnTo>
                  <a:lnTo>
                    <a:pt x="222" y="123"/>
                  </a:lnTo>
                  <a:lnTo>
                    <a:pt x="218" y="123"/>
                  </a:lnTo>
                  <a:lnTo>
                    <a:pt x="215" y="123"/>
                  </a:lnTo>
                  <a:lnTo>
                    <a:pt x="209" y="121"/>
                  </a:lnTo>
                  <a:lnTo>
                    <a:pt x="207" y="121"/>
                  </a:lnTo>
                  <a:lnTo>
                    <a:pt x="200" y="116"/>
                  </a:lnTo>
                  <a:lnTo>
                    <a:pt x="196" y="110"/>
                  </a:lnTo>
                  <a:lnTo>
                    <a:pt x="191" y="101"/>
                  </a:lnTo>
                  <a:lnTo>
                    <a:pt x="185" y="84"/>
                  </a:lnTo>
                  <a:lnTo>
                    <a:pt x="180" y="77"/>
                  </a:lnTo>
                  <a:lnTo>
                    <a:pt x="176" y="70"/>
                  </a:lnTo>
                  <a:lnTo>
                    <a:pt x="167" y="64"/>
                  </a:lnTo>
                  <a:lnTo>
                    <a:pt x="163" y="62"/>
                  </a:lnTo>
                  <a:lnTo>
                    <a:pt x="158" y="59"/>
                  </a:lnTo>
                  <a:lnTo>
                    <a:pt x="152" y="57"/>
                  </a:lnTo>
                  <a:lnTo>
                    <a:pt x="112" y="55"/>
                  </a:lnTo>
                  <a:lnTo>
                    <a:pt x="108" y="53"/>
                  </a:lnTo>
                  <a:lnTo>
                    <a:pt x="99" y="51"/>
                  </a:lnTo>
                  <a:lnTo>
                    <a:pt x="90" y="42"/>
                  </a:lnTo>
                  <a:lnTo>
                    <a:pt x="86" y="37"/>
                  </a:lnTo>
                  <a:lnTo>
                    <a:pt x="84" y="35"/>
                  </a:lnTo>
                  <a:lnTo>
                    <a:pt x="77" y="29"/>
                  </a:lnTo>
                  <a:lnTo>
                    <a:pt x="66" y="22"/>
                  </a:lnTo>
                  <a:lnTo>
                    <a:pt x="44" y="13"/>
                  </a:lnTo>
                  <a:lnTo>
                    <a:pt x="38" y="11"/>
                  </a:lnTo>
                  <a:lnTo>
                    <a:pt x="31" y="5"/>
                  </a:lnTo>
                  <a:lnTo>
                    <a:pt x="27" y="0"/>
                  </a:lnTo>
                  <a:lnTo>
                    <a:pt x="20" y="7"/>
                  </a:lnTo>
                  <a:lnTo>
                    <a:pt x="13" y="13"/>
                  </a:lnTo>
                  <a:lnTo>
                    <a:pt x="13" y="18"/>
                  </a:lnTo>
                  <a:lnTo>
                    <a:pt x="11" y="20"/>
                  </a:lnTo>
                  <a:lnTo>
                    <a:pt x="11" y="22"/>
                  </a:lnTo>
                  <a:lnTo>
                    <a:pt x="16" y="40"/>
                  </a:lnTo>
                  <a:lnTo>
                    <a:pt x="16" y="42"/>
                  </a:lnTo>
                  <a:lnTo>
                    <a:pt x="16" y="46"/>
                  </a:lnTo>
                  <a:lnTo>
                    <a:pt x="13" y="51"/>
                  </a:lnTo>
                  <a:lnTo>
                    <a:pt x="11" y="55"/>
                  </a:lnTo>
                  <a:lnTo>
                    <a:pt x="11" y="64"/>
                  </a:lnTo>
                  <a:lnTo>
                    <a:pt x="31" y="97"/>
                  </a:lnTo>
                  <a:lnTo>
                    <a:pt x="35" y="108"/>
                  </a:lnTo>
                  <a:lnTo>
                    <a:pt x="40" y="114"/>
                  </a:lnTo>
                  <a:lnTo>
                    <a:pt x="42" y="116"/>
                  </a:lnTo>
                  <a:lnTo>
                    <a:pt x="46" y="119"/>
                  </a:lnTo>
                  <a:lnTo>
                    <a:pt x="55" y="121"/>
                  </a:lnTo>
                  <a:lnTo>
                    <a:pt x="79" y="127"/>
                  </a:lnTo>
                  <a:lnTo>
                    <a:pt x="88" y="132"/>
                  </a:lnTo>
                  <a:lnTo>
                    <a:pt x="95" y="134"/>
                  </a:lnTo>
                  <a:lnTo>
                    <a:pt x="97" y="138"/>
                  </a:lnTo>
                  <a:lnTo>
                    <a:pt x="101" y="143"/>
                  </a:lnTo>
                  <a:lnTo>
                    <a:pt x="106" y="149"/>
                  </a:lnTo>
                  <a:lnTo>
                    <a:pt x="108" y="154"/>
                  </a:lnTo>
                  <a:lnTo>
                    <a:pt x="110" y="158"/>
                  </a:lnTo>
                  <a:lnTo>
                    <a:pt x="114" y="171"/>
                  </a:lnTo>
                  <a:lnTo>
                    <a:pt x="114" y="178"/>
                  </a:lnTo>
                  <a:lnTo>
                    <a:pt x="110" y="184"/>
                  </a:lnTo>
                  <a:lnTo>
                    <a:pt x="95" y="198"/>
                  </a:lnTo>
                  <a:lnTo>
                    <a:pt x="90" y="202"/>
                  </a:lnTo>
                  <a:lnTo>
                    <a:pt x="88" y="204"/>
                  </a:lnTo>
                  <a:lnTo>
                    <a:pt x="86" y="209"/>
                  </a:lnTo>
                  <a:lnTo>
                    <a:pt x="86" y="213"/>
                  </a:lnTo>
                  <a:lnTo>
                    <a:pt x="84" y="217"/>
                  </a:lnTo>
                  <a:lnTo>
                    <a:pt x="81" y="222"/>
                  </a:lnTo>
                  <a:lnTo>
                    <a:pt x="79" y="224"/>
                  </a:lnTo>
                  <a:lnTo>
                    <a:pt x="75" y="226"/>
                  </a:lnTo>
                  <a:lnTo>
                    <a:pt x="62" y="231"/>
                  </a:lnTo>
                  <a:lnTo>
                    <a:pt x="60" y="231"/>
                  </a:lnTo>
                  <a:lnTo>
                    <a:pt x="53" y="228"/>
                  </a:lnTo>
                  <a:lnTo>
                    <a:pt x="51" y="228"/>
                  </a:lnTo>
                  <a:lnTo>
                    <a:pt x="40" y="231"/>
                  </a:lnTo>
                  <a:lnTo>
                    <a:pt x="38" y="231"/>
                  </a:lnTo>
                  <a:lnTo>
                    <a:pt x="33" y="228"/>
                  </a:lnTo>
                  <a:lnTo>
                    <a:pt x="31" y="228"/>
                  </a:lnTo>
                  <a:lnTo>
                    <a:pt x="27" y="224"/>
                  </a:lnTo>
                  <a:lnTo>
                    <a:pt x="20" y="222"/>
                  </a:lnTo>
                  <a:lnTo>
                    <a:pt x="18" y="222"/>
                  </a:lnTo>
                  <a:lnTo>
                    <a:pt x="11" y="224"/>
                  </a:lnTo>
                  <a:lnTo>
                    <a:pt x="11" y="226"/>
                  </a:lnTo>
                  <a:lnTo>
                    <a:pt x="9" y="231"/>
                  </a:lnTo>
                  <a:lnTo>
                    <a:pt x="7" y="235"/>
                  </a:lnTo>
                  <a:lnTo>
                    <a:pt x="9" y="246"/>
                  </a:lnTo>
                  <a:lnTo>
                    <a:pt x="7" y="266"/>
                  </a:lnTo>
                  <a:lnTo>
                    <a:pt x="0" y="281"/>
                  </a:lnTo>
                  <a:lnTo>
                    <a:pt x="0" y="288"/>
                  </a:lnTo>
                  <a:lnTo>
                    <a:pt x="0" y="292"/>
                  </a:lnTo>
                  <a:lnTo>
                    <a:pt x="0" y="294"/>
                  </a:lnTo>
                  <a:lnTo>
                    <a:pt x="2" y="296"/>
                  </a:lnTo>
                  <a:lnTo>
                    <a:pt x="5" y="299"/>
                  </a:lnTo>
                  <a:lnTo>
                    <a:pt x="7" y="301"/>
                  </a:lnTo>
                  <a:lnTo>
                    <a:pt x="9" y="303"/>
                  </a:lnTo>
                  <a:lnTo>
                    <a:pt x="11" y="305"/>
                  </a:lnTo>
                  <a:lnTo>
                    <a:pt x="13" y="310"/>
                  </a:lnTo>
                  <a:lnTo>
                    <a:pt x="18" y="325"/>
                  </a:lnTo>
                  <a:lnTo>
                    <a:pt x="20" y="327"/>
                  </a:lnTo>
                  <a:lnTo>
                    <a:pt x="31" y="334"/>
                  </a:lnTo>
                  <a:lnTo>
                    <a:pt x="31" y="336"/>
                  </a:lnTo>
                  <a:lnTo>
                    <a:pt x="33" y="338"/>
                  </a:lnTo>
                  <a:lnTo>
                    <a:pt x="33" y="342"/>
                  </a:lnTo>
                  <a:lnTo>
                    <a:pt x="33" y="345"/>
                  </a:lnTo>
                  <a:lnTo>
                    <a:pt x="29" y="356"/>
                  </a:lnTo>
                  <a:lnTo>
                    <a:pt x="29" y="360"/>
                  </a:lnTo>
                  <a:lnTo>
                    <a:pt x="29" y="364"/>
                  </a:lnTo>
                  <a:lnTo>
                    <a:pt x="35" y="378"/>
                  </a:lnTo>
                  <a:lnTo>
                    <a:pt x="40" y="384"/>
                  </a:lnTo>
                  <a:lnTo>
                    <a:pt x="42" y="386"/>
                  </a:lnTo>
                  <a:lnTo>
                    <a:pt x="49" y="391"/>
                  </a:lnTo>
                  <a:lnTo>
                    <a:pt x="49" y="393"/>
                  </a:lnTo>
                  <a:lnTo>
                    <a:pt x="55" y="400"/>
                  </a:lnTo>
                  <a:lnTo>
                    <a:pt x="60" y="406"/>
                  </a:lnTo>
                  <a:lnTo>
                    <a:pt x="62" y="408"/>
                  </a:lnTo>
                  <a:lnTo>
                    <a:pt x="62" y="413"/>
                  </a:lnTo>
                  <a:lnTo>
                    <a:pt x="62" y="415"/>
                  </a:lnTo>
                  <a:lnTo>
                    <a:pt x="57" y="426"/>
                  </a:lnTo>
                  <a:lnTo>
                    <a:pt x="57" y="430"/>
                  </a:lnTo>
                  <a:lnTo>
                    <a:pt x="57" y="437"/>
                  </a:lnTo>
                  <a:lnTo>
                    <a:pt x="57" y="446"/>
                  </a:lnTo>
                  <a:lnTo>
                    <a:pt x="60" y="448"/>
                  </a:lnTo>
                  <a:lnTo>
                    <a:pt x="60" y="452"/>
                  </a:lnTo>
                  <a:lnTo>
                    <a:pt x="64" y="459"/>
                  </a:lnTo>
                  <a:lnTo>
                    <a:pt x="70" y="470"/>
                  </a:lnTo>
                  <a:lnTo>
                    <a:pt x="73" y="474"/>
                  </a:lnTo>
                  <a:lnTo>
                    <a:pt x="73" y="476"/>
                  </a:lnTo>
                  <a:lnTo>
                    <a:pt x="73" y="481"/>
                  </a:lnTo>
                  <a:lnTo>
                    <a:pt x="73" y="483"/>
                  </a:lnTo>
                  <a:lnTo>
                    <a:pt x="73" y="485"/>
                  </a:lnTo>
                  <a:lnTo>
                    <a:pt x="70" y="487"/>
                  </a:lnTo>
                  <a:lnTo>
                    <a:pt x="70" y="487"/>
                  </a:lnTo>
                  <a:lnTo>
                    <a:pt x="70" y="490"/>
                  </a:lnTo>
                  <a:lnTo>
                    <a:pt x="70" y="490"/>
                  </a:lnTo>
                  <a:lnTo>
                    <a:pt x="70" y="492"/>
                  </a:lnTo>
                  <a:lnTo>
                    <a:pt x="73" y="492"/>
                  </a:lnTo>
                  <a:lnTo>
                    <a:pt x="75" y="496"/>
                  </a:lnTo>
                  <a:lnTo>
                    <a:pt x="77" y="498"/>
                  </a:lnTo>
                  <a:lnTo>
                    <a:pt x="77" y="501"/>
                  </a:lnTo>
                  <a:lnTo>
                    <a:pt x="79" y="503"/>
                  </a:lnTo>
                  <a:lnTo>
                    <a:pt x="81" y="503"/>
                  </a:lnTo>
                  <a:lnTo>
                    <a:pt x="86" y="505"/>
                  </a:lnTo>
                  <a:lnTo>
                    <a:pt x="90" y="505"/>
                  </a:lnTo>
                  <a:lnTo>
                    <a:pt x="92" y="505"/>
                  </a:lnTo>
                  <a:lnTo>
                    <a:pt x="95" y="503"/>
                  </a:lnTo>
                  <a:lnTo>
                    <a:pt x="99" y="503"/>
                  </a:lnTo>
                  <a:lnTo>
                    <a:pt x="101" y="503"/>
                  </a:lnTo>
                  <a:lnTo>
                    <a:pt x="121" y="507"/>
                  </a:lnTo>
                  <a:lnTo>
                    <a:pt x="128" y="511"/>
                  </a:lnTo>
                  <a:lnTo>
                    <a:pt x="136" y="514"/>
                  </a:lnTo>
                  <a:lnTo>
                    <a:pt x="141" y="516"/>
                  </a:lnTo>
                  <a:lnTo>
                    <a:pt x="147" y="520"/>
                  </a:lnTo>
                  <a:lnTo>
                    <a:pt x="150" y="520"/>
                  </a:lnTo>
                  <a:lnTo>
                    <a:pt x="163" y="536"/>
                  </a:lnTo>
                  <a:lnTo>
                    <a:pt x="163" y="538"/>
                  </a:lnTo>
                  <a:lnTo>
                    <a:pt x="163" y="542"/>
                  </a:lnTo>
                  <a:lnTo>
                    <a:pt x="167" y="586"/>
                  </a:lnTo>
                  <a:lnTo>
                    <a:pt x="169" y="588"/>
                  </a:lnTo>
                  <a:lnTo>
                    <a:pt x="169" y="590"/>
                  </a:lnTo>
                  <a:lnTo>
                    <a:pt x="171" y="593"/>
                  </a:lnTo>
                  <a:lnTo>
                    <a:pt x="187" y="590"/>
                  </a:lnTo>
                  <a:lnTo>
                    <a:pt x="193" y="590"/>
                  </a:lnTo>
                  <a:lnTo>
                    <a:pt x="200" y="593"/>
                  </a:lnTo>
                  <a:lnTo>
                    <a:pt x="215" y="597"/>
                  </a:lnTo>
                  <a:lnTo>
                    <a:pt x="220" y="597"/>
                  </a:lnTo>
                  <a:lnTo>
                    <a:pt x="246" y="601"/>
                  </a:lnTo>
                  <a:lnTo>
                    <a:pt x="253" y="601"/>
                  </a:lnTo>
                  <a:lnTo>
                    <a:pt x="259" y="599"/>
                  </a:lnTo>
                  <a:lnTo>
                    <a:pt x="259" y="599"/>
                  </a:lnTo>
                  <a:lnTo>
                    <a:pt x="262" y="597"/>
                  </a:lnTo>
                  <a:lnTo>
                    <a:pt x="264" y="593"/>
                  </a:lnTo>
                  <a:lnTo>
                    <a:pt x="264" y="584"/>
                  </a:lnTo>
                  <a:lnTo>
                    <a:pt x="264" y="571"/>
                  </a:lnTo>
                  <a:lnTo>
                    <a:pt x="264" y="566"/>
                  </a:lnTo>
                  <a:lnTo>
                    <a:pt x="266" y="564"/>
                  </a:lnTo>
                  <a:lnTo>
                    <a:pt x="268" y="562"/>
                  </a:lnTo>
                  <a:lnTo>
                    <a:pt x="270" y="560"/>
                  </a:lnTo>
                  <a:lnTo>
                    <a:pt x="272" y="560"/>
                  </a:lnTo>
                  <a:lnTo>
                    <a:pt x="275" y="562"/>
                  </a:lnTo>
                  <a:lnTo>
                    <a:pt x="277" y="569"/>
                  </a:lnTo>
                  <a:lnTo>
                    <a:pt x="279" y="569"/>
                  </a:lnTo>
                  <a:lnTo>
                    <a:pt x="279" y="571"/>
                  </a:lnTo>
                  <a:lnTo>
                    <a:pt x="279" y="575"/>
                  </a:lnTo>
                  <a:lnTo>
                    <a:pt x="279" y="577"/>
                  </a:lnTo>
                  <a:lnTo>
                    <a:pt x="281" y="580"/>
                  </a:lnTo>
                  <a:lnTo>
                    <a:pt x="283" y="582"/>
                  </a:lnTo>
                  <a:lnTo>
                    <a:pt x="286" y="584"/>
                  </a:lnTo>
                  <a:lnTo>
                    <a:pt x="286" y="584"/>
                  </a:lnTo>
                  <a:lnTo>
                    <a:pt x="286" y="588"/>
                  </a:lnTo>
                  <a:lnTo>
                    <a:pt x="288" y="588"/>
                  </a:lnTo>
                  <a:lnTo>
                    <a:pt x="288" y="590"/>
                  </a:lnTo>
                  <a:lnTo>
                    <a:pt x="290" y="593"/>
                  </a:lnTo>
                  <a:lnTo>
                    <a:pt x="292" y="595"/>
                  </a:lnTo>
                  <a:lnTo>
                    <a:pt x="292" y="597"/>
                  </a:lnTo>
                  <a:lnTo>
                    <a:pt x="294" y="601"/>
                  </a:lnTo>
                  <a:lnTo>
                    <a:pt x="294" y="601"/>
                  </a:lnTo>
                  <a:lnTo>
                    <a:pt x="294" y="604"/>
                  </a:lnTo>
                  <a:lnTo>
                    <a:pt x="299" y="612"/>
                  </a:lnTo>
                  <a:lnTo>
                    <a:pt x="299" y="619"/>
                  </a:lnTo>
                  <a:lnTo>
                    <a:pt x="301" y="621"/>
                  </a:lnTo>
                  <a:lnTo>
                    <a:pt x="301" y="623"/>
                  </a:lnTo>
                  <a:lnTo>
                    <a:pt x="303" y="626"/>
                  </a:lnTo>
                  <a:lnTo>
                    <a:pt x="305" y="628"/>
                  </a:lnTo>
                  <a:lnTo>
                    <a:pt x="312" y="628"/>
                  </a:lnTo>
                  <a:lnTo>
                    <a:pt x="316" y="623"/>
                  </a:lnTo>
                  <a:lnTo>
                    <a:pt x="319" y="621"/>
                  </a:lnTo>
                  <a:lnTo>
                    <a:pt x="321" y="617"/>
                  </a:lnTo>
                  <a:lnTo>
                    <a:pt x="325" y="606"/>
                  </a:lnTo>
                  <a:lnTo>
                    <a:pt x="330" y="604"/>
                  </a:lnTo>
                  <a:lnTo>
                    <a:pt x="332" y="601"/>
                  </a:lnTo>
                  <a:lnTo>
                    <a:pt x="341" y="595"/>
                  </a:lnTo>
                  <a:lnTo>
                    <a:pt x="345" y="577"/>
                  </a:lnTo>
                  <a:lnTo>
                    <a:pt x="347" y="569"/>
                  </a:lnTo>
                  <a:lnTo>
                    <a:pt x="349" y="558"/>
                  </a:lnTo>
                  <a:lnTo>
                    <a:pt x="349" y="555"/>
                  </a:lnTo>
                  <a:lnTo>
                    <a:pt x="352" y="551"/>
                  </a:lnTo>
                  <a:lnTo>
                    <a:pt x="369" y="531"/>
                  </a:lnTo>
                  <a:lnTo>
                    <a:pt x="371" y="527"/>
                  </a:lnTo>
                  <a:lnTo>
                    <a:pt x="371" y="525"/>
                  </a:lnTo>
                  <a:lnTo>
                    <a:pt x="373" y="522"/>
                  </a:lnTo>
                  <a:lnTo>
                    <a:pt x="373" y="518"/>
                  </a:lnTo>
                  <a:lnTo>
                    <a:pt x="371" y="511"/>
                  </a:lnTo>
                  <a:lnTo>
                    <a:pt x="365" y="492"/>
                  </a:lnTo>
                  <a:lnTo>
                    <a:pt x="321" y="395"/>
                  </a:lnTo>
                  <a:lnTo>
                    <a:pt x="316" y="384"/>
                  </a:lnTo>
                  <a:lnTo>
                    <a:pt x="314" y="373"/>
                  </a:lnTo>
                  <a:lnTo>
                    <a:pt x="312" y="362"/>
                  </a:lnTo>
                  <a:lnTo>
                    <a:pt x="316" y="323"/>
                  </a:lnTo>
                  <a:lnTo>
                    <a:pt x="314" y="316"/>
                  </a:lnTo>
                  <a:lnTo>
                    <a:pt x="314" y="312"/>
                  </a:lnTo>
                  <a:lnTo>
                    <a:pt x="312" y="310"/>
                  </a:lnTo>
                  <a:lnTo>
                    <a:pt x="310" y="303"/>
                  </a:lnTo>
                  <a:lnTo>
                    <a:pt x="310" y="303"/>
                  </a:lnTo>
                  <a:lnTo>
                    <a:pt x="310" y="301"/>
                  </a:lnTo>
                  <a:lnTo>
                    <a:pt x="314" y="290"/>
                  </a:lnTo>
                  <a:lnTo>
                    <a:pt x="323" y="270"/>
                  </a:lnTo>
                  <a:lnTo>
                    <a:pt x="330" y="261"/>
                  </a:lnTo>
                  <a:lnTo>
                    <a:pt x="332" y="259"/>
                  </a:lnTo>
                  <a:lnTo>
                    <a:pt x="336" y="257"/>
                  </a:lnTo>
                  <a:lnTo>
                    <a:pt x="338" y="257"/>
                  </a:lnTo>
                  <a:lnTo>
                    <a:pt x="343" y="255"/>
                  </a:lnTo>
                  <a:lnTo>
                    <a:pt x="349" y="255"/>
                  </a:lnTo>
                  <a:lnTo>
                    <a:pt x="354" y="257"/>
                  </a:lnTo>
                  <a:lnTo>
                    <a:pt x="360" y="259"/>
                  </a:lnTo>
                  <a:lnTo>
                    <a:pt x="365" y="259"/>
                  </a:lnTo>
                  <a:lnTo>
                    <a:pt x="369" y="263"/>
                  </a:lnTo>
                  <a:lnTo>
                    <a:pt x="373" y="268"/>
                  </a:lnTo>
                  <a:lnTo>
                    <a:pt x="391" y="288"/>
                  </a:lnTo>
                  <a:lnTo>
                    <a:pt x="393" y="290"/>
                  </a:lnTo>
                  <a:lnTo>
                    <a:pt x="395" y="290"/>
                  </a:lnTo>
                  <a:lnTo>
                    <a:pt x="398" y="292"/>
                  </a:lnTo>
                  <a:lnTo>
                    <a:pt x="400" y="290"/>
                  </a:lnTo>
                  <a:lnTo>
                    <a:pt x="402" y="290"/>
                  </a:lnTo>
                  <a:lnTo>
                    <a:pt x="404" y="288"/>
                  </a:lnTo>
                  <a:lnTo>
                    <a:pt x="406" y="285"/>
                  </a:lnTo>
                  <a:lnTo>
                    <a:pt x="411" y="279"/>
                  </a:lnTo>
                  <a:lnTo>
                    <a:pt x="420" y="263"/>
                  </a:lnTo>
                  <a:lnTo>
                    <a:pt x="422" y="261"/>
                  </a:lnTo>
                  <a:lnTo>
                    <a:pt x="422" y="259"/>
                  </a:lnTo>
                  <a:lnTo>
                    <a:pt x="426" y="244"/>
                  </a:lnTo>
                  <a:lnTo>
                    <a:pt x="426" y="242"/>
                  </a:lnTo>
                  <a:lnTo>
                    <a:pt x="424" y="235"/>
                  </a:lnTo>
                  <a:lnTo>
                    <a:pt x="431" y="182"/>
                  </a:lnTo>
                  <a:lnTo>
                    <a:pt x="431" y="182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26" name="Freeform 28"/>
            <p:cNvSpPr>
              <a:spLocks/>
            </p:cNvSpPr>
            <p:nvPr/>
          </p:nvSpPr>
          <p:spPr bwMode="auto">
            <a:xfrm>
              <a:off x="6357938" y="3989388"/>
              <a:ext cx="1090613" cy="1023937"/>
            </a:xfrm>
            <a:custGeom>
              <a:avLst/>
              <a:gdLst>
                <a:gd name="T0" fmla="*/ 643 w 687"/>
                <a:gd name="T1" fmla="*/ 404 h 645"/>
                <a:gd name="T2" fmla="*/ 566 w 687"/>
                <a:gd name="T3" fmla="*/ 268 h 645"/>
                <a:gd name="T4" fmla="*/ 524 w 687"/>
                <a:gd name="T5" fmla="*/ 195 h 645"/>
                <a:gd name="T6" fmla="*/ 522 w 687"/>
                <a:gd name="T7" fmla="*/ 191 h 645"/>
                <a:gd name="T8" fmla="*/ 494 w 687"/>
                <a:gd name="T9" fmla="*/ 191 h 645"/>
                <a:gd name="T10" fmla="*/ 474 w 687"/>
                <a:gd name="T11" fmla="*/ 184 h 645"/>
                <a:gd name="T12" fmla="*/ 450 w 687"/>
                <a:gd name="T13" fmla="*/ 182 h 645"/>
                <a:gd name="T14" fmla="*/ 379 w 687"/>
                <a:gd name="T15" fmla="*/ 211 h 645"/>
                <a:gd name="T16" fmla="*/ 349 w 687"/>
                <a:gd name="T17" fmla="*/ 191 h 645"/>
                <a:gd name="T18" fmla="*/ 322 w 687"/>
                <a:gd name="T19" fmla="*/ 184 h 645"/>
                <a:gd name="T20" fmla="*/ 325 w 687"/>
                <a:gd name="T21" fmla="*/ 90 h 645"/>
                <a:gd name="T22" fmla="*/ 325 w 687"/>
                <a:gd name="T23" fmla="*/ 0 h 645"/>
                <a:gd name="T24" fmla="*/ 289 w 687"/>
                <a:gd name="T25" fmla="*/ 29 h 645"/>
                <a:gd name="T26" fmla="*/ 283 w 687"/>
                <a:gd name="T27" fmla="*/ 75 h 645"/>
                <a:gd name="T28" fmla="*/ 252 w 687"/>
                <a:gd name="T29" fmla="*/ 114 h 645"/>
                <a:gd name="T30" fmla="*/ 219 w 687"/>
                <a:gd name="T31" fmla="*/ 140 h 645"/>
                <a:gd name="T32" fmla="*/ 109 w 687"/>
                <a:gd name="T33" fmla="*/ 193 h 645"/>
                <a:gd name="T34" fmla="*/ 72 w 687"/>
                <a:gd name="T35" fmla="*/ 195 h 645"/>
                <a:gd name="T36" fmla="*/ 57 w 687"/>
                <a:gd name="T37" fmla="*/ 187 h 645"/>
                <a:gd name="T38" fmla="*/ 44 w 687"/>
                <a:gd name="T39" fmla="*/ 191 h 645"/>
                <a:gd name="T40" fmla="*/ 55 w 687"/>
                <a:gd name="T41" fmla="*/ 211 h 645"/>
                <a:gd name="T42" fmla="*/ 37 w 687"/>
                <a:gd name="T43" fmla="*/ 248 h 645"/>
                <a:gd name="T44" fmla="*/ 37 w 687"/>
                <a:gd name="T45" fmla="*/ 270 h 645"/>
                <a:gd name="T46" fmla="*/ 4 w 687"/>
                <a:gd name="T47" fmla="*/ 342 h 645"/>
                <a:gd name="T48" fmla="*/ 0 w 687"/>
                <a:gd name="T49" fmla="*/ 369 h 645"/>
                <a:gd name="T50" fmla="*/ 4 w 687"/>
                <a:gd name="T51" fmla="*/ 388 h 645"/>
                <a:gd name="T52" fmla="*/ 39 w 687"/>
                <a:gd name="T53" fmla="*/ 410 h 645"/>
                <a:gd name="T54" fmla="*/ 50 w 687"/>
                <a:gd name="T55" fmla="*/ 441 h 645"/>
                <a:gd name="T56" fmla="*/ 63 w 687"/>
                <a:gd name="T57" fmla="*/ 448 h 645"/>
                <a:gd name="T58" fmla="*/ 72 w 687"/>
                <a:gd name="T59" fmla="*/ 450 h 645"/>
                <a:gd name="T60" fmla="*/ 87 w 687"/>
                <a:gd name="T61" fmla="*/ 478 h 645"/>
                <a:gd name="T62" fmla="*/ 87 w 687"/>
                <a:gd name="T63" fmla="*/ 507 h 645"/>
                <a:gd name="T64" fmla="*/ 90 w 687"/>
                <a:gd name="T65" fmla="*/ 520 h 645"/>
                <a:gd name="T66" fmla="*/ 107 w 687"/>
                <a:gd name="T67" fmla="*/ 542 h 645"/>
                <a:gd name="T68" fmla="*/ 160 w 687"/>
                <a:gd name="T69" fmla="*/ 553 h 645"/>
                <a:gd name="T70" fmla="*/ 173 w 687"/>
                <a:gd name="T71" fmla="*/ 557 h 645"/>
                <a:gd name="T72" fmla="*/ 228 w 687"/>
                <a:gd name="T73" fmla="*/ 577 h 645"/>
                <a:gd name="T74" fmla="*/ 265 w 687"/>
                <a:gd name="T75" fmla="*/ 593 h 645"/>
                <a:gd name="T76" fmla="*/ 347 w 687"/>
                <a:gd name="T77" fmla="*/ 597 h 645"/>
                <a:gd name="T78" fmla="*/ 338 w 687"/>
                <a:gd name="T79" fmla="*/ 588 h 645"/>
                <a:gd name="T80" fmla="*/ 338 w 687"/>
                <a:gd name="T81" fmla="*/ 579 h 645"/>
                <a:gd name="T82" fmla="*/ 364 w 687"/>
                <a:gd name="T83" fmla="*/ 582 h 645"/>
                <a:gd name="T84" fmla="*/ 384 w 687"/>
                <a:gd name="T85" fmla="*/ 582 h 645"/>
                <a:gd name="T86" fmla="*/ 634 w 687"/>
                <a:gd name="T87" fmla="*/ 584 h 645"/>
                <a:gd name="T88" fmla="*/ 632 w 687"/>
                <a:gd name="T89" fmla="*/ 553 h 645"/>
                <a:gd name="T90" fmla="*/ 645 w 687"/>
                <a:gd name="T91" fmla="*/ 542 h 645"/>
                <a:gd name="T92" fmla="*/ 671 w 687"/>
                <a:gd name="T93" fmla="*/ 525 h 645"/>
                <a:gd name="T94" fmla="*/ 669 w 687"/>
                <a:gd name="T95" fmla="*/ 511 h 645"/>
                <a:gd name="T96" fmla="*/ 671 w 687"/>
                <a:gd name="T97" fmla="*/ 500 h 645"/>
                <a:gd name="T98" fmla="*/ 682 w 687"/>
                <a:gd name="T99" fmla="*/ 489 h 645"/>
                <a:gd name="T100" fmla="*/ 687 w 687"/>
                <a:gd name="T101" fmla="*/ 483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87" h="645">
                  <a:moveTo>
                    <a:pt x="687" y="483"/>
                  </a:moveTo>
                  <a:lnTo>
                    <a:pt x="682" y="474"/>
                  </a:lnTo>
                  <a:lnTo>
                    <a:pt x="663" y="439"/>
                  </a:lnTo>
                  <a:lnTo>
                    <a:pt x="643" y="404"/>
                  </a:lnTo>
                  <a:lnTo>
                    <a:pt x="623" y="371"/>
                  </a:lnTo>
                  <a:lnTo>
                    <a:pt x="603" y="336"/>
                  </a:lnTo>
                  <a:lnTo>
                    <a:pt x="584" y="301"/>
                  </a:lnTo>
                  <a:lnTo>
                    <a:pt x="566" y="268"/>
                  </a:lnTo>
                  <a:lnTo>
                    <a:pt x="546" y="233"/>
                  </a:lnTo>
                  <a:lnTo>
                    <a:pt x="527" y="200"/>
                  </a:lnTo>
                  <a:lnTo>
                    <a:pt x="527" y="198"/>
                  </a:lnTo>
                  <a:lnTo>
                    <a:pt x="524" y="195"/>
                  </a:lnTo>
                  <a:lnTo>
                    <a:pt x="524" y="195"/>
                  </a:lnTo>
                  <a:lnTo>
                    <a:pt x="524" y="193"/>
                  </a:lnTo>
                  <a:lnTo>
                    <a:pt x="522" y="193"/>
                  </a:lnTo>
                  <a:lnTo>
                    <a:pt x="522" y="191"/>
                  </a:lnTo>
                  <a:lnTo>
                    <a:pt x="522" y="191"/>
                  </a:lnTo>
                  <a:lnTo>
                    <a:pt x="520" y="189"/>
                  </a:lnTo>
                  <a:lnTo>
                    <a:pt x="518" y="189"/>
                  </a:lnTo>
                  <a:lnTo>
                    <a:pt x="494" y="191"/>
                  </a:lnTo>
                  <a:lnTo>
                    <a:pt x="489" y="191"/>
                  </a:lnTo>
                  <a:lnTo>
                    <a:pt x="480" y="187"/>
                  </a:lnTo>
                  <a:lnTo>
                    <a:pt x="478" y="184"/>
                  </a:lnTo>
                  <a:lnTo>
                    <a:pt x="474" y="184"/>
                  </a:lnTo>
                  <a:lnTo>
                    <a:pt x="465" y="184"/>
                  </a:lnTo>
                  <a:lnTo>
                    <a:pt x="463" y="184"/>
                  </a:lnTo>
                  <a:lnTo>
                    <a:pt x="459" y="184"/>
                  </a:lnTo>
                  <a:lnTo>
                    <a:pt x="450" y="182"/>
                  </a:lnTo>
                  <a:lnTo>
                    <a:pt x="406" y="206"/>
                  </a:lnTo>
                  <a:lnTo>
                    <a:pt x="397" y="209"/>
                  </a:lnTo>
                  <a:lnTo>
                    <a:pt x="388" y="211"/>
                  </a:lnTo>
                  <a:lnTo>
                    <a:pt x="379" y="211"/>
                  </a:lnTo>
                  <a:lnTo>
                    <a:pt x="371" y="211"/>
                  </a:lnTo>
                  <a:lnTo>
                    <a:pt x="362" y="206"/>
                  </a:lnTo>
                  <a:lnTo>
                    <a:pt x="358" y="202"/>
                  </a:lnTo>
                  <a:lnTo>
                    <a:pt x="349" y="191"/>
                  </a:lnTo>
                  <a:lnTo>
                    <a:pt x="344" y="187"/>
                  </a:lnTo>
                  <a:lnTo>
                    <a:pt x="340" y="187"/>
                  </a:lnTo>
                  <a:lnTo>
                    <a:pt x="322" y="200"/>
                  </a:lnTo>
                  <a:lnTo>
                    <a:pt x="322" y="184"/>
                  </a:lnTo>
                  <a:lnTo>
                    <a:pt x="322" y="160"/>
                  </a:lnTo>
                  <a:lnTo>
                    <a:pt x="325" y="136"/>
                  </a:lnTo>
                  <a:lnTo>
                    <a:pt x="325" y="112"/>
                  </a:lnTo>
                  <a:lnTo>
                    <a:pt x="325" y="90"/>
                  </a:lnTo>
                  <a:lnTo>
                    <a:pt x="325" y="66"/>
                  </a:lnTo>
                  <a:lnTo>
                    <a:pt x="325" y="42"/>
                  </a:lnTo>
                  <a:lnTo>
                    <a:pt x="325" y="18"/>
                  </a:lnTo>
                  <a:lnTo>
                    <a:pt x="325" y="0"/>
                  </a:lnTo>
                  <a:lnTo>
                    <a:pt x="325" y="2"/>
                  </a:lnTo>
                  <a:lnTo>
                    <a:pt x="298" y="20"/>
                  </a:lnTo>
                  <a:lnTo>
                    <a:pt x="294" y="24"/>
                  </a:lnTo>
                  <a:lnTo>
                    <a:pt x="289" y="29"/>
                  </a:lnTo>
                  <a:lnTo>
                    <a:pt x="287" y="37"/>
                  </a:lnTo>
                  <a:lnTo>
                    <a:pt x="287" y="42"/>
                  </a:lnTo>
                  <a:lnTo>
                    <a:pt x="285" y="68"/>
                  </a:lnTo>
                  <a:lnTo>
                    <a:pt x="283" y="75"/>
                  </a:lnTo>
                  <a:lnTo>
                    <a:pt x="281" y="79"/>
                  </a:lnTo>
                  <a:lnTo>
                    <a:pt x="276" y="88"/>
                  </a:lnTo>
                  <a:lnTo>
                    <a:pt x="259" y="110"/>
                  </a:lnTo>
                  <a:lnTo>
                    <a:pt x="252" y="114"/>
                  </a:lnTo>
                  <a:lnTo>
                    <a:pt x="250" y="116"/>
                  </a:lnTo>
                  <a:lnTo>
                    <a:pt x="239" y="125"/>
                  </a:lnTo>
                  <a:lnTo>
                    <a:pt x="228" y="132"/>
                  </a:lnTo>
                  <a:lnTo>
                    <a:pt x="219" y="140"/>
                  </a:lnTo>
                  <a:lnTo>
                    <a:pt x="210" y="145"/>
                  </a:lnTo>
                  <a:lnTo>
                    <a:pt x="208" y="147"/>
                  </a:lnTo>
                  <a:lnTo>
                    <a:pt x="191" y="151"/>
                  </a:lnTo>
                  <a:lnTo>
                    <a:pt x="109" y="193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76" y="198"/>
                  </a:lnTo>
                  <a:lnTo>
                    <a:pt x="72" y="195"/>
                  </a:lnTo>
                  <a:lnTo>
                    <a:pt x="70" y="195"/>
                  </a:lnTo>
                  <a:lnTo>
                    <a:pt x="63" y="189"/>
                  </a:lnTo>
                  <a:lnTo>
                    <a:pt x="59" y="187"/>
                  </a:lnTo>
                  <a:lnTo>
                    <a:pt x="57" y="187"/>
                  </a:lnTo>
                  <a:lnTo>
                    <a:pt x="48" y="187"/>
                  </a:lnTo>
                  <a:lnTo>
                    <a:pt x="46" y="187"/>
                  </a:lnTo>
                  <a:lnTo>
                    <a:pt x="44" y="189"/>
                  </a:lnTo>
                  <a:lnTo>
                    <a:pt x="44" y="191"/>
                  </a:lnTo>
                  <a:lnTo>
                    <a:pt x="44" y="193"/>
                  </a:lnTo>
                  <a:lnTo>
                    <a:pt x="55" y="206"/>
                  </a:lnTo>
                  <a:lnTo>
                    <a:pt x="55" y="209"/>
                  </a:lnTo>
                  <a:lnTo>
                    <a:pt x="55" y="211"/>
                  </a:lnTo>
                  <a:lnTo>
                    <a:pt x="55" y="215"/>
                  </a:lnTo>
                  <a:lnTo>
                    <a:pt x="41" y="239"/>
                  </a:lnTo>
                  <a:lnTo>
                    <a:pt x="39" y="244"/>
                  </a:lnTo>
                  <a:lnTo>
                    <a:pt x="37" y="248"/>
                  </a:lnTo>
                  <a:lnTo>
                    <a:pt x="37" y="252"/>
                  </a:lnTo>
                  <a:lnTo>
                    <a:pt x="37" y="257"/>
                  </a:lnTo>
                  <a:lnTo>
                    <a:pt x="37" y="257"/>
                  </a:lnTo>
                  <a:lnTo>
                    <a:pt x="37" y="270"/>
                  </a:lnTo>
                  <a:lnTo>
                    <a:pt x="33" y="279"/>
                  </a:lnTo>
                  <a:lnTo>
                    <a:pt x="8" y="325"/>
                  </a:lnTo>
                  <a:lnTo>
                    <a:pt x="6" y="336"/>
                  </a:lnTo>
                  <a:lnTo>
                    <a:pt x="4" y="342"/>
                  </a:lnTo>
                  <a:lnTo>
                    <a:pt x="2" y="353"/>
                  </a:lnTo>
                  <a:lnTo>
                    <a:pt x="2" y="360"/>
                  </a:lnTo>
                  <a:lnTo>
                    <a:pt x="0" y="367"/>
                  </a:lnTo>
                  <a:lnTo>
                    <a:pt x="0" y="369"/>
                  </a:lnTo>
                  <a:lnTo>
                    <a:pt x="2" y="386"/>
                  </a:lnTo>
                  <a:lnTo>
                    <a:pt x="4" y="386"/>
                  </a:lnTo>
                  <a:lnTo>
                    <a:pt x="4" y="388"/>
                  </a:lnTo>
                  <a:lnTo>
                    <a:pt x="4" y="388"/>
                  </a:lnTo>
                  <a:lnTo>
                    <a:pt x="8" y="393"/>
                  </a:lnTo>
                  <a:lnTo>
                    <a:pt x="24" y="402"/>
                  </a:lnTo>
                  <a:lnTo>
                    <a:pt x="37" y="408"/>
                  </a:lnTo>
                  <a:lnTo>
                    <a:pt x="39" y="410"/>
                  </a:lnTo>
                  <a:lnTo>
                    <a:pt x="41" y="413"/>
                  </a:lnTo>
                  <a:lnTo>
                    <a:pt x="41" y="417"/>
                  </a:lnTo>
                  <a:lnTo>
                    <a:pt x="48" y="437"/>
                  </a:lnTo>
                  <a:lnTo>
                    <a:pt x="50" y="441"/>
                  </a:lnTo>
                  <a:lnTo>
                    <a:pt x="50" y="443"/>
                  </a:lnTo>
                  <a:lnTo>
                    <a:pt x="52" y="446"/>
                  </a:lnTo>
                  <a:lnTo>
                    <a:pt x="59" y="448"/>
                  </a:lnTo>
                  <a:lnTo>
                    <a:pt x="63" y="448"/>
                  </a:lnTo>
                  <a:lnTo>
                    <a:pt x="68" y="448"/>
                  </a:lnTo>
                  <a:lnTo>
                    <a:pt x="70" y="450"/>
                  </a:lnTo>
                  <a:lnTo>
                    <a:pt x="72" y="450"/>
                  </a:lnTo>
                  <a:lnTo>
                    <a:pt x="72" y="450"/>
                  </a:lnTo>
                  <a:lnTo>
                    <a:pt x="74" y="454"/>
                  </a:lnTo>
                  <a:lnTo>
                    <a:pt x="76" y="457"/>
                  </a:lnTo>
                  <a:lnTo>
                    <a:pt x="81" y="465"/>
                  </a:lnTo>
                  <a:lnTo>
                    <a:pt x="87" y="478"/>
                  </a:lnTo>
                  <a:lnTo>
                    <a:pt x="90" y="487"/>
                  </a:lnTo>
                  <a:lnTo>
                    <a:pt x="92" y="494"/>
                  </a:lnTo>
                  <a:lnTo>
                    <a:pt x="92" y="498"/>
                  </a:lnTo>
                  <a:lnTo>
                    <a:pt x="87" y="507"/>
                  </a:lnTo>
                  <a:lnTo>
                    <a:pt x="87" y="509"/>
                  </a:lnTo>
                  <a:lnTo>
                    <a:pt x="87" y="516"/>
                  </a:lnTo>
                  <a:lnTo>
                    <a:pt x="87" y="518"/>
                  </a:lnTo>
                  <a:lnTo>
                    <a:pt x="90" y="520"/>
                  </a:lnTo>
                  <a:lnTo>
                    <a:pt x="94" y="531"/>
                  </a:lnTo>
                  <a:lnTo>
                    <a:pt x="98" y="536"/>
                  </a:lnTo>
                  <a:lnTo>
                    <a:pt x="103" y="540"/>
                  </a:lnTo>
                  <a:lnTo>
                    <a:pt x="107" y="542"/>
                  </a:lnTo>
                  <a:lnTo>
                    <a:pt x="142" y="553"/>
                  </a:lnTo>
                  <a:lnTo>
                    <a:pt x="147" y="553"/>
                  </a:lnTo>
                  <a:lnTo>
                    <a:pt x="151" y="553"/>
                  </a:lnTo>
                  <a:lnTo>
                    <a:pt x="160" y="553"/>
                  </a:lnTo>
                  <a:lnTo>
                    <a:pt x="164" y="553"/>
                  </a:lnTo>
                  <a:lnTo>
                    <a:pt x="166" y="553"/>
                  </a:lnTo>
                  <a:lnTo>
                    <a:pt x="169" y="555"/>
                  </a:lnTo>
                  <a:lnTo>
                    <a:pt x="173" y="557"/>
                  </a:lnTo>
                  <a:lnTo>
                    <a:pt x="175" y="560"/>
                  </a:lnTo>
                  <a:lnTo>
                    <a:pt x="195" y="566"/>
                  </a:lnTo>
                  <a:lnTo>
                    <a:pt x="224" y="575"/>
                  </a:lnTo>
                  <a:lnTo>
                    <a:pt x="228" y="577"/>
                  </a:lnTo>
                  <a:lnTo>
                    <a:pt x="250" y="593"/>
                  </a:lnTo>
                  <a:lnTo>
                    <a:pt x="252" y="593"/>
                  </a:lnTo>
                  <a:lnTo>
                    <a:pt x="259" y="593"/>
                  </a:lnTo>
                  <a:lnTo>
                    <a:pt x="265" y="593"/>
                  </a:lnTo>
                  <a:lnTo>
                    <a:pt x="316" y="601"/>
                  </a:lnTo>
                  <a:lnTo>
                    <a:pt x="340" y="601"/>
                  </a:lnTo>
                  <a:lnTo>
                    <a:pt x="344" y="599"/>
                  </a:lnTo>
                  <a:lnTo>
                    <a:pt x="347" y="597"/>
                  </a:lnTo>
                  <a:lnTo>
                    <a:pt x="347" y="595"/>
                  </a:lnTo>
                  <a:lnTo>
                    <a:pt x="344" y="593"/>
                  </a:lnTo>
                  <a:lnTo>
                    <a:pt x="340" y="590"/>
                  </a:lnTo>
                  <a:lnTo>
                    <a:pt x="338" y="588"/>
                  </a:lnTo>
                  <a:lnTo>
                    <a:pt x="336" y="586"/>
                  </a:lnTo>
                  <a:lnTo>
                    <a:pt x="333" y="584"/>
                  </a:lnTo>
                  <a:lnTo>
                    <a:pt x="336" y="582"/>
                  </a:lnTo>
                  <a:lnTo>
                    <a:pt x="338" y="579"/>
                  </a:lnTo>
                  <a:lnTo>
                    <a:pt x="340" y="579"/>
                  </a:lnTo>
                  <a:lnTo>
                    <a:pt x="347" y="579"/>
                  </a:lnTo>
                  <a:lnTo>
                    <a:pt x="355" y="582"/>
                  </a:lnTo>
                  <a:lnTo>
                    <a:pt x="364" y="582"/>
                  </a:lnTo>
                  <a:lnTo>
                    <a:pt x="371" y="582"/>
                  </a:lnTo>
                  <a:lnTo>
                    <a:pt x="377" y="584"/>
                  </a:lnTo>
                  <a:lnTo>
                    <a:pt x="379" y="582"/>
                  </a:lnTo>
                  <a:lnTo>
                    <a:pt x="384" y="582"/>
                  </a:lnTo>
                  <a:lnTo>
                    <a:pt x="509" y="643"/>
                  </a:lnTo>
                  <a:lnTo>
                    <a:pt x="513" y="645"/>
                  </a:lnTo>
                  <a:lnTo>
                    <a:pt x="516" y="643"/>
                  </a:lnTo>
                  <a:lnTo>
                    <a:pt x="634" y="584"/>
                  </a:lnTo>
                  <a:lnTo>
                    <a:pt x="634" y="584"/>
                  </a:lnTo>
                  <a:lnTo>
                    <a:pt x="632" y="566"/>
                  </a:lnTo>
                  <a:lnTo>
                    <a:pt x="632" y="557"/>
                  </a:lnTo>
                  <a:lnTo>
                    <a:pt x="632" y="553"/>
                  </a:lnTo>
                  <a:lnTo>
                    <a:pt x="639" y="549"/>
                  </a:lnTo>
                  <a:lnTo>
                    <a:pt x="641" y="544"/>
                  </a:lnTo>
                  <a:lnTo>
                    <a:pt x="643" y="540"/>
                  </a:lnTo>
                  <a:lnTo>
                    <a:pt x="645" y="542"/>
                  </a:lnTo>
                  <a:lnTo>
                    <a:pt x="650" y="536"/>
                  </a:lnTo>
                  <a:lnTo>
                    <a:pt x="652" y="531"/>
                  </a:lnTo>
                  <a:lnTo>
                    <a:pt x="656" y="529"/>
                  </a:lnTo>
                  <a:lnTo>
                    <a:pt x="671" y="525"/>
                  </a:lnTo>
                  <a:lnTo>
                    <a:pt x="671" y="522"/>
                  </a:lnTo>
                  <a:lnTo>
                    <a:pt x="676" y="516"/>
                  </a:lnTo>
                  <a:lnTo>
                    <a:pt x="674" y="514"/>
                  </a:lnTo>
                  <a:lnTo>
                    <a:pt x="669" y="511"/>
                  </a:lnTo>
                  <a:lnTo>
                    <a:pt x="667" y="509"/>
                  </a:lnTo>
                  <a:lnTo>
                    <a:pt x="667" y="507"/>
                  </a:lnTo>
                  <a:lnTo>
                    <a:pt x="669" y="503"/>
                  </a:lnTo>
                  <a:lnTo>
                    <a:pt x="671" y="500"/>
                  </a:lnTo>
                  <a:lnTo>
                    <a:pt x="676" y="498"/>
                  </a:lnTo>
                  <a:lnTo>
                    <a:pt x="680" y="496"/>
                  </a:lnTo>
                  <a:lnTo>
                    <a:pt x="682" y="494"/>
                  </a:lnTo>
                  <a:lnTo>
                    <a:pt x="682" y="489"/>
                  </a:lnTo>
                  <a:lnTo>
                    <a:pt x="685" y="487"/>
                  </a:lnTo>
                  <a:lnTo>
                    <a:pt x="685" y="485"/>
                  </a:lnTo>
                  <a:lnTo>
                    <a:pt x="687" y="483"/>
                  </a:lnTo>
                  <a:lnTo>
                    <a:pt x="687" y="483"/>
                  </a:lnTo>
                  <a:lnTo>
                    <a:pt x="687" y="483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27" name="Freeform 29"/>
            <p:cNvSpPr>
              <a:spLocks/>
            </p:cNvSpPr>
            <p:nvPr/>
          </p:nvSpPr>
          <p:spPr bwMode="auto">
            <a:xfrm>
              <a:off x="4754563" y="1049338"/>
              <a:ext cx="2317750" cy="2549525"/>
            </a:xfrm>
            <a:custGeom>
              <a:avLst/>
              <a:gdLst>
                <a:gd name="T0" fmla="*/ 1365 w 1460"/>
                <a:gd name="T1" fmla="*/ 715 h 1606"/>
                <a:gd name="T2" fmla="*/ 1440 w 1460"/>
                <a:gd name="T3" fmla="*/ 496 h 1606"/>
                <a:gd name="T4" fmla="*/ 1407 w 1460"/>
                <a:gd name="T5" fmla="*/ 478 h 1606"/>
                <a:gd name="T6" fmla="*/ 1376 w 1460"/>
                <a:gd name="T7" fmla="*/ 456 h 1606"/>
                <a:gd name="T8" fmla="*/ 1339 w 1460"/>
                <a:gd name="T9" fmla="*/ 450 h 1606"/>
                <a:gd name="T10" fmla="*/ 1280 w 1460"/>
                <a:gd name="T11" fmla="*/ 406 h 1606"/>
                <a:gd name="T12" fmla="*/ 1225 w 1460"/>
                <a:gd name="T13" fmla="*/ 428 h 1606"/>
                <a:gd name="T14" fmla="*/ 1176 w 1460"/>
                <a:gd name="T15" fmla="*/ 421 h 1606"/>
                <a:gd name="T16" fmla="*/ 1113 w 1460"/>
                <a:gd name="T17" fmla="*/ 399 h 1606"/>
                <a:gd name="T18" fmla="*/ 1029 w 1460"/>
                <a:gd name="T19" fmla="*/ 441 h 1606"/>
                <a:gd name="T20" fmla="*/ 955 w 1460"/>
                <a:gd name="T21" fmla="*/ 441 h 1606"/>
                <a:gd name="T22" fmla="*/ 909 w 1460"/>
                <a:gd name="T23" fmla="*/ 445 h 1606"/>
                <a:gd name="T24" fmla="*/ 860 w 1460"/>
                <a:gd name="T25" fmla="*/ 410 h 1606"/>
                <a:gd name="T26" fmla="*/ 863 w 1460"/>
                <a:gd name="T27" fmla="*/ 353 h 1606"/>
                <a:gd name="T28" fmla="*/ 832 w 1460"/>
                <a:gd name="T29" fmla="*/ 327 h 1606"/>
                <a:gd name="T30" fmla="*/ 805 w 1460"/>
                <a:gd name="T31" fmla="*/ 283 h 1606"/>
                <a:gd name="T32" fmla="*/ 783 w 1460"/>
                <a:gd name="T33" fmla="*/ 237 h 1606"/>
                <a:gd name="T34" fmla="*/ 746 w 1460"/>
                <a:gd name="T35" fmla="*/ 221 h 1606"/>
                <a:gd name="T36" fmla="*/ 709 w 1460"/>
                <a:gd name="T37" fmla="*/ 195 h 1606"/>
                <a:gd name="T38" fmla="*/ 645 w 1460"/>
                <a:gd name="T39" fmla="*/ 153 h 1606"/>
                <a:gd name="T40" fmla="*/ 641 w 1460"/>
                <a:gd name="T41" fmla="*/ 120 h 1606"/>
                <a:gd name="T42" fmla="*/ 588 w 1460"/>
                <a:gd name="T43" fmla="*/ 57 h 1606"/>
                <a:gd name="T44" fmla="*/ 560 w 1460"/>
                <a:gd name="T45" fmla="*/ 28 h 1606"/>
                <a:gd name="T46" fmla="*/ 496 w 1460"/>
                <a:gd name="T47" fmla="*/ 2 h 1606"/>
                <a:gd name="T48" fmla="*/ 439 w 1460"/>
                <a:gd name="T49" fmla="*/ 24 h 1606"/>
                <a:gd name="T50" fmla="*/ 423 w 1460"/>
                <a:gd name="T51" fmla="*/ 35 h 1606"/>
                <a:gd name="T52" fmla="*/ 472 w 1460"/>
                <a:gd name="T53" fmla="*/ 92 h 1606"/>
                <a:gd name="T54" fmla="*/ 467 w 1460"/>
                <a:gd name="T55" fmla="*/ 129 h 1606"/>
                <a:gd name="T56" fmla="*/ 445 w 1460"/>
                <a:gd name="T57" fmla="*/ 164 h 1606"/>
                <a:gd name="T58" fmla="*/ 329 w 1460"/>
                <a:gd name="T59" fmla="*/ 379 h 1606"/>
                <a:gd name="T60" fmla="*/ 76 w 1460"/>
                <a:gd name="T61" fmla="*/ 520 h 1606"/>
                <a:gd name="T62" fmla="*/ 33 w 1460"/>
                <a:gd name="T63" fmla="*/ 674 h 1606"/>
                <a:gd name="T64" fmla="*/ 46 w 1460"/>
                <a:gd name="T65" fmla="*/ 788 h 1606"/>
                <a:gd name="T66" fmla="*/ 8 w 1460"/>
                <a:gd name="T67" fmla="*/ 908 h 1606"/>
                <a:gd name="T68" fmla="*/ 164 w 1460"/>
                <a:gd name="T69" fmla="*/ 1055 h 1606"/>
                <a:gd name="T70" fmla="*/ 274 w 1460"/>
                <a:gd name="T71" fmla="*/ 1095 h 1606"/>
                <a:gd name="T72" fmla="*/ 417 w 1460"/>
                <a:gd name="T73" fmla="*/ 1145 h 1606"/>
                <a:gd name="T74" fmla="*/ 406 w 1460"/>
                <a:gd name="T75" fmla="*/ 1286 h 1606"/>
                <a:gd name="T76" fmla="*/ 316 w 1460"/>
                <a:gd name="T77" fmla="*/ 1297 h 1606"/>
                <a:gd name="T78" fmla="*/ 358 w 1460"/>
                <a:gd name="T79" fmla="*/ 1547 h 1606"/>
                <a:gd name="T80" fmla="*/ 415 w 1460"/>
                <a:gd name="T81" fmla="*/ 1558 h 1606"/>
                <a:gd name="T82" fmla="*/ 432 w 1460"/>
                <a:gd name="T83" fmla="*/ 1527 h 1606"/>
                <a:gd name="T84" fmla="*/ 502 w 1460"/>
                <a:gd name="T85" fmla="*/ 1503 h 1606"/>
                <a:gd name="T86" fmla="*/ 599 w 1460"/>
                <a:gd name="T87" fmla="*/ 1376 h 1606"/>
                <a:gd name="T88" fmla="*/ 711 w 1460"/>
                <a:gd name="T89" fmla="*/ 1398 h 1606"/>
                <a:gd name="T90" fmla="*/ 753 w 1460"/>
                <a:gd name="T91" fmla="*/ 1360 h 1606"/>
                <a:gd name="T92" fmla="*/ 768 w 1460"/>
                <a:gd name="T93" fmla="*/ 1262 h 1606"/>
                <a:gd name="T94" fmla="*/ 867 w 1460"/>
                <a:gd name="T95" fmla="*/ 1172 h 1606"/>
                <a:gd name="T96" fmla="*/ 902 w 1460"/>
                <a:gd name="T97" fmla="*/ 1005 h 1606"/>
                <a:gd name="T98" fmla="*/ 922 w 1460"/>
                <a:gd name="T99" fmla="*/ 941 h 1606"/>
                <a:gd name="T100" fmla="*/ 972 w 1460"/>
                <a:gd name="T101" fmla="*/ 924 h 1606"/>
                <a:gd name="T102" fmla="*/ 1005 w 1460"/>
                <a:gd name="T103" fmla="*/ 897 h 1606"/>
                <a:gd name="T104" fmla="*/ 1069 w 1460"/>
                <a:gd name="T105" fmla="*/ 851 h 1606"/>
                <a:gd name="T106" fmla="*/ 1128 w 1460"/>
                <a:gd name="T107" fmla="*/ 829 h 1606"/>
                <a:gd name="T108" fmla="*/ 1172 w 1460"/>
                <a:gd name="T109" fmla="*/ 821 h 1606"/>
                <a:gd name="T110" fmla="*/ 1209 w 1460"/>
                <a:gd name="T111" fmla="*/ 814 h 1606"/>
                <a:gd name="T112" fmla="*/ 1267 w 1460"/>
                <a:gd name="T113" fmla="*/ 803 h 1606"/>
                <a:gd name="T114" fmla="*/ 1319 w 1460"/>
                <a:gd name="T115" fmla="*/ 770 h 1606"/>
                <a:gd name="T116" fmla="*/ 1357 w 1460"/>
                <a:gd name="T117" fmla="*/ 772 h 1606"/>
                <a:gd name="T118" fmla="*/ 1407 w 1460"/>
                <a:gd name="T119" fmla="*/ 794 h 1606"/>
                <a:gd name="T120" fmla="*/ 1449 w 1460"/>
                <a:gd name="T121" fmla="*/ 801 h 1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60" h="1606">
                  <a:moveTo>
                    <a:pt x="1460" y="781"/>
                  </a:moveTo>
                  <a:lnTo>
                    <a:pt x="1453" y="772"/>
                  </a:lnTo>
                  <a:lnTo>
                    <a:pt x="1451" y="766"/>
                  </a:lnTo>
                  <a:lnTo>
                    <a:pt x="1447" y="761"/>
                  </a:lnTo>
                  <a:lnTo>
                    <a:pt x="1442" y="757"/>
                  </a:lnTo>
                  <a:lnTo>
                    <a:pt x="1422" y="748"/>
                  </a:lnTo>
                  <a:lnTo>
                    <a:pt x="1418" y="744"/>
                  </a:lnTo>
                  <a:lnTo>
                    <a:pt x="1416" y="737"/>
                  </a:lnTo>
                  <a:lnTo>
                    <a:pt x="1414" y="731"/>
                  </a:lnTo>
                  <a:lnTo>
                    <a:pt x="1411" y="724"/>
                  </a:lnTo>
                  <a:lnTo>
                    <a:pt x="1407" y="717"/>
                  </a:lnTo>
                  <a:lnTo>
                    <a:pt x="1403" y="711"/>
                  </a:lnTo>
                  <a:lnTo>
                    <a:pt x="1394" y="706"/>
                  </a:lnTo>
                  <a:lnTo>
                    <a:pt x="1387" y="704"/>
                  </a:lnTo>
                  <a:lnTo>
                    <a:pt x="1383" y="704"/>
                  </a:lnTo>
                  <a:lnTo>
                    <a:pt x="1378" y="706"/>
                  </a:lnTo>
                  <a:lnTo>
                    <a:pt x="1372" y="713"/>
                  </a:lnTo>
                  <a:lnTo>
                    <a:pt x="1365" y="715"/>
                  </a:lnTo>
                  <a:lnTo>
                    <a:pt x="1361" y="715"/>
                  </a:lnTo>
                  <a:lnTo>
                    <a:pt x="1352" y="713"/>
                  </a:lnTo>
                  <a:lnTo>
                    <a:pt x="1350" y="711"/>
                  </a:lnTo>
                  <a:lnTo>
                    <a:pt x="1324" y="698"/>
                  </a:lnTo>
                  <a:lnTo>
                    <a:pt x="1317" y="698"/>
                  </a:lnTo>
                  <a:lnTo>
                    <a:pt x="1321" y="687"/>
                  </a:lnTo>
                  <a:lnTo>
                    <a:pt x="1337" y="665"/>
                  </a:lnTo>
                  <a:lnTo>
                    <a:pt x="1352" y="641"/>
                  </a:lnTo>
                  <a:lnTo>
                    <a:pt x="1365" y="619"/>
                  </a:lnTo>
                  <a:lnTo>
                    <a:pt x="1381" y="597"/>
                  </a:lnTo>
                  <a:lnTo>
                    <a:pt x="1396" y="573"/>
                  </a:lnTo>
                  <a:lnTo>
                    <a:pt x="1409" y="551"/>
                  </a:lnTo>
                  <a:lnTo>
                    <a:pt x="1425" y="529"/>
                  </a:lnTo>
                  <a:lnTo>
                    <a:pt x="1440" y="505"/>
                  </a:lnTo>
                  <a:lnTo>
                    <a:pt x="1442" y="498"/>
                  </a:lnTo>
                  <a:lnTo>
                    <a:pt x="1442" y="498"/>
                  </a:lnTo>
                  <a:lnTo>
                    <a:pt x="1442" y="498"/>
                  </a:lnTo>
                  <a:lnTo>
                    <a:pt x="1440" y="496"/>
                  </a:lnTo>
                  <a:lnTo>
                    <a:pt x="1438" y="494"/>
                  </a:lnTo>
                  <a:lnTo>
                    <a:pt x="1438" y="491"/>
                  </a:lnTo>
                  <a:lnTo>
                    <a:pt x="1436" y="483"/>
                  </a:lnTo>
                  <a:lnTo>
                    <a:pt x="1433" y="483"/>
                  </a:lnTo>
                  <a:lnTo>
                    <a:pt x="1429" y="485"/>
                  </a:lnTo>
                  <a:lnTo>
                    <a:pt x="1429" y="487"/>
                  </a:lnTo>
                  <a:lnTo>
                    <a:pt x="1427" y="487"/>
                  </a:lnTo>
                  <a:lnTo>
                    <a:pt x="1427" y="489"/>
                  </a:lnTo>
                  <a:lnTo>
                    <a:pt x="1425" y="489"/>
                  </a:lnTo>
                  <a:lnTo>
                    <a:pt x="1422" y="489"/>
                  </a:lnTo>
                  <a:lnTo>
                    <a:pt x="1422" y="487"/>
                  </a:lnTo>
                  <a:lnTo>
                    <a:pt x="1422" y="485"/>
                  </a:lnTo>
                  <a:lnTo>
                    <a:pt x="1422" y="483"/>
                  </a:lnTo>
                  <a:lnTo>
                    <a:pt x="1418" y="480"/>
                  </a:lnTo>
                  <a:lnTo>
                    <a:pt x="1416" y="483"/>
                  </a:lnTo>
                  <a:lnTo>
                    <a:pt x="1411" y="483"/>
                  </a:lnTo>
                  <a:lnTo>
                    <a:pt x="1409" y="483"/>
                  </a:lnTo>
                  <a:lnTo>
                    <a:pt x="1407" y="478"/>
                  </a:lnTo>
                  <a:lnTo>
                    <a:pt x="1405" y="469"/>
                  </a:lnTo>
                  <a:lnTo>
                    <a:pt x="1403" y="467"/>
                  </a:lnTo>
                  <a:lnTo>
                    <a:pt x="1398" y="465"/>
                  </a:lnTo>
                  <a:lnTo>
                    <a:pt x="1394" y="467"/>
                  </a:lnTo>
                  <a:lnTo>
                    <a:pt x="1389" y="469"/>
                  </a:lnTo>
                  <a:lnTo>
                    <a:pt x="1385" y="469"/>
                  </a:lnTo>
                  <a:lnTo>
                    <a:pt x="1385" y="469"/>
                  </a:lnTo>
                  <a:lnTo>
                    <a:pt x="1383" y="467"/>
                  </a:lnTo>
                  <a:lnTo>
                    <a:pt x="1383" y="465"/>
                  </a:lnTo>
                  <a:lnTo>
                    <a:pt x="1383" y="465"/>
                  </a:lnTo>
                  <a:lnTo>
                    <a:pt x="1383" y="463"/>
                  </a:lnTo>
                  <a:lnTo>
                    <a:pt x="1387" y="463"/>
                  </a:lnTo>
                  <a:lnTo>
                    <a:pt x="1387" y="463"/>
                  </a:lnTo>
                  <a:lnTo>
                    <a:pt x="1389" y="458"/>
                  </a:lnTo>
                  <a:lnTo>
                    <a:pt x="1385" y="456"/>
                  </a:lnTo>
                  <a:lnTo>
                    <a:pt x="1383" y="456"/>
                  </a:lnTo>
                  <a:lnTo>
                    <a:pt x="1378" y="456"/>
                  </a:lnTo>
                  <a:lnTo>
                    <a:pt x="1376" y="456"/>
                  </a:lnTo>
                  <a:lnTo>
                    <a:pt x="1372" y="458"/>
                  </a:lnTo>
                  <a:lnTo>
                    <a:pt x="1370" y="458"/>
                  </a:lnTo>
                  <a:lnTo>
                    <a:pt x="1368" y="456"/>
                  </a:lnTo>
                  <a:lnTo>
                    <a:pt x="1368" y="456"/>
                  </a:lnTo>
                  <a:lnTo>
                    <a:pt x="1365" y="454"/>
                  </a:lnTo>
                  <a:lnTo>
                    <a:pt x="1365" y="452"/>
                  </a:lnTo>
                  <a:lnTo>
                    <a:pt x="1363" y="450"/>
                  </a:lnTo>
                  <a:lnTo>
                    <a:pt x="1359" y="447"/>
                  </a:lnTo>
                  <a:lnTo>
                    <a:pt x="1357" y="447"/>
                  </a:lnTo>
                  <a:lnTo>
                    <a:pt x="1352" y="447"/>
                  </a:lnTo>
                  <a:lnTo>
                    <a:pt x="1350" y="445"/>
                  </a:lnTo>
                  <a:lnTo>
                    <a:pt x="1348" y="443"/>
                  </a:lnTo>
                  <a:lnTo>
                    <a:pt x="1346" y="441"/>
                  </a:lnTo>
                  <a:lnTo>
                    <a:pt x="1341" y="443"/>
                  </a:lnTo>
                  <a:lnTo>
                    <a:pt x="1341" y="445"/>
                  </a:lnTo>
                  <a:lnTo>
                    <a:pt x="1341" y="447"/>
                  </a:lnTo>
                  <a:lnTo>
                    <a:pt x="1341" y="447"/>
                  </a:lnTo>
                  <a:lnTo>
                    <a:pt x="1339" y="450"/>
                  </a:lnTo>
                  <a:lnTo>
                    <a:pt x="1332" y="450"/>
                  </a:lnTo>
                  <a:lnTo>
                    <a:pt x="1330" y="447"/>
                  </a:lnTo>
                  <a:lnTo>
                    <a:pt x="1330" y="445"/>
                  </a:lnTo>
                  <a:lnTo>
                    <a:pt x="1330" y="443"/>
                  </a:lnTo>
                  <a:lnTo>
                    <a:pt x="1330" y="441"/>
                  </a:lnTo>
                  <a:lnTo>
                    <a:pt x="1330" y="439"/>
                  </a:lnTo>
                  <a:lnTo>
                    <a:pt x="1324" y="434"/>
                  </a:lnTo>
                  <a:lnTo>
                    <a:pt x="1324" y="434"/>
                  </a:lnTo>
                  <a:lnTo>
                    <a:pt x="1324" y="430"/>
                  </a:lnTo>
                  <a:lnTo>
                    <a:pt x="1321" y="428"/>
                  </a:lnTo>
                  <a:lnTo>
                    <a:pt x="1321" y="426"/>
                  </a:lnTo>
                  <a:lnTo>
                    <a:pt x="1317" y="426"/>
                  </a:lnTo>
                  <a:lnTo>
                    <a:pt x="1313" y="426"/>
                  </a:lnTo>
                  <a:lnTo>
                    <a:pt x="1306" y="423"/>
                  </a:lnTo>
                  <a:lnTo>
                    <a:pt x="1299" y="419"/>
                  </a:lnTo>
                  <a:lnTo>
                    <a:pt x="1291" y="408"/>
                  </a:lnTo>
                  <a:lnTo>
                    <a:pt x="1284" y="404"/>
                  </a:lnTo>
                  <a:lnTo>
                    <a:pt x="1280" y="406"/>
                  </a:lnTo>
                  <a:lnTo>
                    <a:pt x="1275" y="406"/>
                  </a:lnTo>
                  <a:lnTo>
                    <a:pt x="1269" y="401"/>
                  </a:lnTo>
                  <a:lnTo>
                    <a:pt x="1262" y="401"/>
                  </a:lnTo>
                  <a:lnTo>
                    <a:pt x="1260" y="404"/>
                  </a:lnTo>
                  <a:lnTo>
                    <a:pt x="1262" y="408"/>
                  </a:lnTo>
                  <a:lnTo>
                    <a:pt x="1262" y="415"/>
                  </a:lnTo>
                  <a:lnTo>
                    <a:pt x="1262" y="415"/>
                  </a:lnTo>
                  <a:lnTo>
                    <a:pt x="1260" y="415"/>
                  </a:lnTo>
                  <a:lnTo>
                    <a:pt x="1256" y="415"/>
                  </a:lnTo>
                  <a:lnTo>
                    <a:pt x="1251" y="412"/>
                  </a:lnTo>
                  <a:lnTo>
                    <a:pt x="1249" y="412"/>
                  </a:lnTo>
                  <a:lnTo>
                    <a:pt x="1245" y="412"/>
                  </a:lnTo>
                  <a:lnTo>
                    <a:pt x="1240" y="415"/>
                  </a:lnTo>
                  <a:lnTo>
                    <a:pt x="1236" y="423"/>
                  </a:lnTo>
                  <a:lnTo>
                    <a:pt x="1231" y="426"/>
                  </a:lnTo>
                  <a:lnTo>
                    <a:pt x="1227" y="428"/>
                  </a:lnTo>
                  <a:lnTo>
                    <a:pt x="1225" y="430"/>
                  </a:lnTo>
                  <a:lnTo>
                    <a:pt x="1225" y="428"/>
                  </a:lnTo>
                  <a:lnTo>
                    <a:pt x="1223" y="426"/>
                  </a:lnTo>
                  <a:lnTo>
                    <a:pt x="1220" y="426"/>
                  </a:lnTo>
                  <a:lnTo>
                    <a:pt x="1216" y="428"/>
                  </a:lnTo>
                  <a:lnTo>
                    <a:pt x="1214" y="430"/>
                  </a:lnTo>
                  <a:lnTo>
                    <a:pt x="1209" y="430"/>
                  </a:lnTo>
                  <a:lnTo>
                    <a:pt x="1207" y="428"/>
                  </a:lnTo>
                  <a:lnTo>
                    <a:pt x="1194" y="434"/>
                  </a:lnTo>
                  <a:lnTo>
                    <a:pt x="1187" y="434"/>
                  </a:lnTo>
                  <a:lnTo>
                    <a:pt x="1185" y="432"/>
                  </a:lnTo>
                  <a:lnTo>
                    <a:pt x="1187" y="430"/>
                  </a:lnTo>
                  <a:lnTo>
                    <a:pt x="1190" y="428"/>
                  </a:lnTo>
                  <a:lnTo>
                    <a:pt x="1190" y="426"/>
                  </a:lnTo>
                  <a:lnTo>
                    <a:pt x="1190" y="423"/>
                  </a:lnTo>
                  <a:lnTo>
                    <a:pt x="1185" y="419"/>
                  </a:lnTo>
                  <a:lnTo>
                    <a:pt x="1181" y="412"/>
                  </a:lnTo>
                  <a:lnTo>
                    <a:pt x="1181" y="412"/>
                  </a:lnTo>
                  <a:lnTo>
                    <a:pt x="1176" y="415"/>
                  </a:lnTo>
                  <a:lnTo>
                    <a:pt x="1176" y="421"/>
                  </a:lnTo>
                  <a:lnTo>
                    <a:pt x="1174" y="423"/>
                  </a:lnTo>
                  <a:lnTo>
                    <a:pt x="1172" y="423"/>
                  </a:lnTo>
                  <a:lnTo>
                    <a:pt x="1170" y="419"/>
                  </a:lnTo>
                  <a:lnTo>
                    <a:pt x="1170" y="412"/>
                  </a:lnTo>
                  <a:lnTo>
                    <a:pt x="1168" y="408"/>
                  </a:lnTo>
                  <a:lnTo>
                    <a:pt x="1166" y="408"/>
                  </a:lnTo>
                  <a:lnTo>
                    <a:pt x="1157" y="404"/>
                  </a:lnTo>
                  <a:lnTo>
                    <a:pt x="1152" y="404"/>
                  </a:lnTo>
                  <a:lnTo>
                    <a:pt x="1148" y="399"/>
                  </a:lnTo>
                  <a:lnTo>
                    <a:pt x="1146" y="397"/>
                  </a:lnTo>
                  <a:lnTo>
                    <a:pt x="1141" y="397"/>
                  </a:lnTo>
                  <a:lnTo>
                    <a:pt x="1135" y="399"/>
                  </a:lnTo>
                  <a:lnTo>
                    <a:pt x="1130" y="401"/>
                  </a:lnTo>
                  <a:lnTo>
                    <a:pt x="1128" y="397"/>
                  </a:lnTo>
                  <a:lnTo>
                    <a:pt x="1130" y="390"/>
                  </a:lnTo>
                  <a:lnTo>
                    <a:pt x="1128" y="390"/>
                  </a:lnTo>
                  <a:lnTo>
                    <a:pt x="1124" y="393"/>
                  </a:lnTo>
                  <a:lnTo>
                    <a:pt x="1113" y="399"/>
                  </a:lnTo>
                  <a:lnTo>
                    <a:pt x="1111" y="399"/>
                  </a:lnTo>
                  <a:lnTo>
                    <a:pt x="1111" y="401"/>
                  </a:lnTo>
                  <a:lnTo>
                    <a:pt x="1104" y="410"/>
                  </a:lnTo>
                  <a:lnTo>
                    <a:pt x="1095" y="417"/>
                  </a:lnTo>
                  <a:lnTo>
                    <a:pt x="1093" y="419"/>
                  </a:lnTo>
                  <a:lnTo>
                    <a:pt x="1093" y="423"/>
                  </a:lnTo>
                  <a:lnTo>
                    <a:pt x="1091" y="426"/>
                  </a:lnTo>
                  <a:lnTo>
                    <a:pt x="1086" y="426"/>
                  </a:lnTo>
                  <a:lnTo>
                    <a:pt x="1075" y="426"/>
                  </a:lnTo>
                  <a:lnTo>
                    <a:pt x="1069" y="426"/>
                  </a:lnTo>
                  <a:lnTo>
                    <a:pt x="1065" y="428"/>
                  </a:lnTo>
                  <a:lnTo>
                    <a:pt x="1058" y="432"/>
                  </a:lnTo>
                  <a:lnTo>
                    <a:pt x="1051" y="441"/>
                  </a:lnTo>
                  <a:lnTo>
                    <a:pt x="1047" y="441"/>
                  </a:lnTo>
                  <a:lnTo>
                    <a:pt x="1036" y="439"/>
                  </a:lnTo>
                  <a:lnTo>
                    <a:pt x="1034" y="439"/>
                  </a:lnTo>
                  <a:lnTo>
                    <a:pt x="1029" y="441"/>
                  </a:lnTo>
                  <a:lnTo>
                    <a:pt x="1029" y="441"/>
                  </a:lnTo>
                  <a:lnTo>
                    <a:pt x="1029" y="445"/>
                  </a:lnTo>
                  <a:lnTo>
                    <a:pt x="1027" y="445"/>
                  </a:lnTo>
                  <a:lnTo>
                    <a:pt x="1027" y="447"/>
                  </a:lnTo>
                  <a:lnTo>
                    <a:pt x="1023" y="447"/>
                  </a:lnTo>
                  <a:lnTo>
                    <a:pt x="1014" y="450"/>
                  </a:lnTo>
                  <a:lnTo>
                    <a:pt x="1010" y="450"/>
                  </a:lnTo>
                  <a:lnTo>
                    <a:pt x="1007" y="447"/>
                  </a:lnTo>
                  <a:lnTo>
                    <a:pt x="1003" y="447"/>
                  </a:lnTo>
                  <a:lnTo>
                    <a:pt x="1001" y="445"/>
                  </a:lnTo>
                  <a:lnTo>
                    <a:pt x="1001" y="443"/>
                  </a:lnTo>
                  <a:lnTo>
                    <a:pt x="999" y="441"/>
                  </a:lnTo>
                  <a:lnTo>
                    <a:pt x="979" y="439"/>
                  </a:lnTo>
                  <a:lnTo>
                    <a:pt x="977" y="437"/>
                  </a:lnTo>
                  <a:lnTo>
                    <a:pt x="968" y="430"/>
                  </a:lnTo>
                  <a:lnTo>
                    <a:pt x="964" y="428"/>
                  </a:lnTo>
                  <a:lnTo>
                    <a:pt x="961" y="428"/>
                  </a:lnTo>
                  <a:lnTo>
                    <a:pt x="959" y="430"/>
                  </a:lnTo>
                  <a:lnTo>
                    <a:pt x="955" y="441"/>
                  </a:lnTo>
                  <a:lnTo>
                    <a:pt x="950" y="443"/>
                  </a:lnTo>
                  <a:lnTo>
                    <a:pt x="948" y="443"/>
                  </a:lnTo>
                  <a:lnTo>
                    <a:pt x="948" y="443"/>
                  </a:lnTo>
                  <a:lnTo>
                    <a:pt x="946" y="439"/>
                  </a:lnTo>
                  <a:lnTo>
                    <a:pt x="946" y="437"/>
                  </a:lnTo>
                  <a:lnTo>
                    <a:pt x="946" y="434"/>
                  </a:lnTo>
                  <a:lnTo>
                    <a:pt x="944" y="434"/>
                  </a:lnTo>
                  <a:lnTo>
                    <a:pt x="942" y="434"/>
                  </a:lnTo>
                  <a:lnTo>
                    <a:pt x="942" y="437"/>
                  </a:lnTo>
                  <a:lnTo>
                    <a:pt x="939" y="439"/>
                  </a:lnTo>
                  <a:lnTo>
                    <a:pt x="939" y="441"/>
                  </a:lnTo>
                  <a:lnTo>
                    <a:pt x="935" y="437"/>
                  </a:lnTo>
                  <a:lnTo>
                    <a:pt x="931" y="437"/>
                  </a:lnTo>
                  <a:lnTo>
                    <a:pt x="926" y="439"/>
                  </a:lnTo>
                  <a:lnTo>
                    <a:pt x="922" y="441"/>
                  </a:lnTo>
                  <a:lnTo>
                    <a:pt x="920" y="443"/>
                  </a:lnTo>
                  <a:lnTo>
                    <a:pt x="917" y="443"/>
                  </a:lnTo>
                  <a:lnTo>
                    <a:pt x="909" y="445"/>
                  </a:lnTo>
                  <a:lnTo>
                    <a:pt x="906" y="445"/>
                  </a:lnTo>
                  <a:lnTo>
                    <a:pt x="906" y="443"/>
                  </a:lnTo>
                  <a:lnTo>
                    <a:pt x="904" y="441"/>
                  </a:lnTo>
                  <a:lnTo>
                    <a:pt x="900" y="432"/>
                  </a:lnTo>
                  <a:lnTo>
                    <a:pt x="898" y="430"/>
                  </a:lnTo>
                  <a:lnTo>
                    <a:pt x="898" y="428"/>
                  </a:lnTo>
                  <a:lnTo>
                    <a:pt x="884" y="421"/>
                  </a:lnTo>
                  <a:lnTo>
                    <a:pt x="884" y="423"/>
                  </a:lnTo>
                  <a:lnTo>
                    <a:pt x="882" y="428"/>
                  </a:lnTo>
                  <a:lnTo>
                    <a:pt x="880" y="430"/>
                  </a:lnTo>
                  <a:lnTo>
                    <a:pt x="878" y="426"/>
                  </a:lnTo>
                  <a:lnTo>
                    <a:pt x="876" y="423"/>
                  </a:lnTo>
                  <a:lnTo>
                    <a:pt x="869" y="421"/>
                  </a:lnTo>
                  <a:lnTo>
                    <a:pt x="865" y="419"/>
                  </a:lnTo>
                  <a:lnTo>
                    <a:pt x="865" y="419"/>
                  </a:lnTo>
                  <a:lnTo>
                    <a:pt x="865" y="412"/>
                  </a:lnTo>
                  <a:lnTo>
                    <a:pt x="863" y="412"/>
                  </a:lnTo>
                  <a:lnTo>
                    <a:pt x="860" y="410"/>
                  </a:lnTo>
                  <a:lnTo>
                    <a:pt x="860" y="410"/>
                  </a:lnTo>
                  <a:lnTo>
                    <a:pt x="860" y="408"/>
                  </a:lnTo>
                  <a:lnTo>
                    <a:pt x="858" y="406"/>
                  </a:lnTo>
                  <a:lnTo>
                    <a:pt x="858" y="404"/>
                  </a:lnTo>
                  <a:lnTo>
                    <a:pt x="858" y="401"/>
                  </a:lnTo>
                  <a:lnTo>
                    <a:pt x="858" y="399"/>
                  </a:lnTo>
                  <a:lnTo>
                    <a:pt x="860" y="399"/>
                  </a:lnTo>
                  <a:lnTo>
                    <a:pt x="867" y="393"/>
                  </a:lnTo>
                  <a:lnTo>
                    <a:pt x="869" y="388"/>
                  </a:lnTo>
                  <a:lnTo>
                    <a:pt x="873" y="379"/>
                  </a:lnTo>
                  <a:lnTo>
                    <a:pt x="871" y="377"/>
                  </a:lnTo>
                  <a:lnTo>
                    <a:pt x="871" y="373"/>
                  </a:lnTo>
                  <a:lnTo>
                    <a:pt x="869" y="368"/>
                  </a:lnTo>
                  <a:lnTo>
                    <a:pt x="867" y="364"/>
                  </a:lnTo>
                  <a:lnTo>
                    <a:pt x="865" y="360"/>
                  </a:lnTo>
                  <a:lnTo>
                    <a:pt x="863" y="358"/>
                  </a:lnTo>
                  <a:lnTo>
                    <a:pt x="863" y="355"/>
                  </a:lnTo>
                  <a:lnTo>
                    <a:pt x="863" y="353"/>
                  </a:lnTo>
                  <a:lnTo>
                    <a:pt x="865" y="349"/>
                  </a:lnTo>
                  <a:lnTo>
                    <a:pt x="865" y="347"/>
                  </a:lnTo>
                  <a:lnTo>
                    <a:pt x="865" y="342"/>
                  </a:lnTo>
                  <a:lnTo>
                    <a:pt x="860" y="338"/>
                  </a:lnTo>
                  <a:lnTo>
                    <a:pt x="858" y="336"/>
                  </a:lnTo>
                  <a:lnTo>
                    <a:pt x="860" y="329"/>
                  </a:lnTo>
                  <a:lnTo>
                    <a:pt x="858" y="327"/>
                  </a:lnTo>
                  <a:lnTo>
                    <a:pt x="858" y="325"/>
                  </a:lnTo>
                  <a:lnTo>
                    <a:pt x="856" y="325"/>
                  </a:lnTo>
                  <a:lnTo>
                    <a:pt x="854" y="322"/>
                  </a:lnTo>
                  <a:lnTo>
                    <a:pt x="849" y="318"/>
                  </a:lnTo>
                  <a:lnTo>
                    <a:pt x="847" y="318"/>
                  </a:lnTo>
                  <a:lnTo>
                    <a:pt x="847" y="322"/>
                  </a:lnTo>
                  <a:lnTo>
                    <a:pt x="845" y="322"/>
                  </a:lnTo>
                  <a:lnTo>
                    <a:pt x="838" y="322"/>
                  </a:lnTo>
                  <a:lnTo>
                    <a:pt x="836" y="322"/>
                  </a:lnTo>
                  <a:lnTo>
                    <a:pt x="834" y="325"/>
                  </a:lnTo>
                  <a:lnTo>
                    <a:pt x="832" y="327"/>
                  </a:lnTo>
                  <a:lnTo>
                    <a:pt x="830" y="327"/>
                  </a:lnTo>
                  <a:lnTo>
                    <a:pt x="825" y="322"/>
                  </a:lnTo>
                  <a:lnTo>
                    <a:pt x="823" y="320"/>
                  </a:lnTo>
                  <a:lnTo>
                    <a:pt x="821" y="320"/>
                  </a:lnTo>
                  <a:lnTo>
                    <a:pt x="819" y="320"/>
                  </a:lnTo>
                  <a:lnTo>
                    <a:pt x="816" y="320"/>
                  </a:lnTo>
                  <a:lnTo>
                    <a:pt x="814" y="320"/>
                  </a:lnTo>
                  <a:lnTo>
                    <a:pt x="812" y="320"/>
                  </a:lnTo>
                  <a:lnTo>
                    <a:pt x="812" y="320"/>
                  </a:lnTo>
                  <a:lnTo>
                    <a:pt x="812" y="318"/>
                  </a:lnTo>
                  <a:lnTo>
                    <a:pt x="812" y="316"/>
                  </a:lnTo>
                  <a:lnTo>
                    <a:pt x="799" y="309"/>
                  </a:lnTo>
                  <a:lnTo>
                    <a:pt x="797" y="305"/>
                  </a:lnTo>
                  <a:lnTo>
                    <a:pt x="797" y="298"/>
                  </a:lnTo>
                  <a:lnTo>
                    <a:pt x="799" y="292"/>
                  </a:lnTo>
                  <a:lnTo>
                    <a:pt x="801" y="289"/>
                  </a:lnTo>
                  <a:lnTo>
                    <a:pt x="805" y="285"/>
                  </a:lnTo>
                  <a:lnTo>
                    <a:pt x="805" y="283"/>
                  </a:lnTo>
                  <a:lnTo>
                    <a:pt x="803" y="274"/>
                  </a:lnTo>
                  <a:lnTo>
                    <a:pt x="803" y="272"/>
                  </a:lnTo>
                  <a:lnTo>
                    <a:pt x="803" y="270"/>
                  </a:lnTo>
                  <a:lnTo>
                    <a:pt x="803" y="268"/>
                  </a:lnTo>
                  <a:lnTo>
                    <a:pt x="801" y="265"/>
                  </a:lnTo>
                  <a:lnTo>
                    <a:pt x="797" y="263"/>
                  </a:lnTo>
                  <a:lnTo>
                    <a:pt x="794" y="261"/>
                  </a:lnTo>
                  <a:lnTo>
                    <a:pt x="788" y="257"/>
                  </a:lnTo>
                  <a:lnTo>
                    <a:pt x="786" y="254"/>
                  </a:lnTo>
                  <a:lnTo>
                    <a:pt x="790" y="250"/>
                  </a:lnTo>
                  <a:lnTo>
                    <a:pt x="790" y="248"/>
                  </a:lnTo>
                  <a:lnTo>
                    <a:pt x="788" y="248"/>
                  </a:lnTo>
                  <a:lnTo>
                    <a:pt x="786" y="246"/>
                  </a:lnTo>
                  <a:lnTo>
                    <a:pt x="786" y="246"/>
                  </a:lnTo>
                  <a:lnTo>
                    <a:pt x="786" y="243"/>
                  </a:lnTo>
                  <a:lnTo>
                    <a:pt x="786" y="239"/>
                  </a:lnTo>
                  <a:lnTo>
                    <a:pt x="783" y="237"/>
                  </a:lnTo>
                  <a:lnTo>
                    <a:pt x="783" y="237"/>
                  </a:lnTo>
                  <a:lnTo>
                    <a:pt x="783" y="237"/>
                  </a:lnTo>
                  <a:lnTo>
                    <a:pt x="781" y="237"/>
                  </a:lnTo>
                  <a:lnTo>
                    <a:pt x="779" y="237"/>
                  </a:lnTo>
                  <a:lnTo>
                    <a:pt x="779" y="235"/>
                  </a:lnTo>
                  <a:lnTo>
                    <a:pt x="779" y="235"/>
                  </a:lnTo>
                  <a:lnTo>
                    <a:pt x="777" y="230"/>
                  </a:lnTo>
                  <a:lnTo>
                    <a:pt x="777" y="228"/>
                  </a:lnTo>
                  <a:lnTo>
                    <a:pt x="777" y="228"/>
                  </a:lnTo>
                  <a:lnTo>
                    <a:pt x="772" y="226"/>
                  </a:lnTo>
                  <a:lnTo>
                    <a:pt x="768" y="224"/>
                  </a:lnTo>
                  <a:lnTo>
                    <a:pt x="766" y="221"/>
                  </a:lnTo>
                  <a:lnTo>
                    <a:pt x="762" y="221"/>
                  </a:lnTo>
                  <a:lnTo>
                    <a:pt x="759" y="219"/>
                  </a:lnTo>
                  <a:lnTo>
                    <a:pt x="757" y="217"/>
                  </a:lnTo>
                  <a:lnTo>
                    <a:pt x="755" y="213"/>
                  </a:lnTo>
                  <a:lnTo>
                    <a:pt x="753" y="215"/>
                  </a:lnTo>
                  <a:lnTo>
                    <a:pt x="748" y="219"/>
                  </a:lnTo>
                  <a:lnTo>
                    <a:pt x="746" y="221"/>
                  </a:lnTo>
                  <a:lnTo>
                    <a:pt x="744" y="221"/>
                  </a:lnTo>
                  <a:lnTo>
                    <a:pt x="740" y="221"/>
                  </a:lnTo>
                  <a:lnTo>
                    <a:pt x="735" y="219"/>
                  </a:lnTo>
                  <a:lnTo>
                    <a:pt x="733" y="217"/>
                  </a:lnTo>
                  <a:lnTo>
                    <a:pt x="731" y="215"/>
                  </a:lnTo>
                  <a:lnTo>
                    <a:pt x="729" y="210"/>
                  </a:lnTo>
                  <a:lnTo>
                    <a:pt x="724" y="202"/>
                  </a:lnTo>
                  <a:lnTo>
                    <a:pt x="724" y="202"/>
                  </a:lnTo>
                  <a:lnTo>
                    <a:pt x="720" y="199"/>
                  </a:lnTo>
                  <a:lnTo>
                    <a:pt x="715" y="202"/>
                  </a:lnTo>
                  <a:lnTo>
                    <a:pt x="713" y="199"/>
                  </a:lnTo>
                  <a:lnTo>
                    <a:pt x="713" y="197"/>
                  </a:lnTo>
                  <a:lnTo>
                    <a:pt x="713" y="195"/>
                  </a:lnTo>
                  <a:lnTo>
                    <a:pt x="713" y="193"/>
                  </a:lnTo>
                  <a:lnTo>
                    <a:pt x="713" y="193"/>
                  </a:lnTo>
                  <a:lnTo>
                    <a:pt x="711" y="193"/>
                  </a:lnTo>
                  <a:lnTo>
                    <a:pt x="711" y="193"/>
                  </a:lnTo>
                  <a:lnTo>
                    <a:pt x="709" y="195"/>
                  </a:lnTo>
                  <a:lnTo>
                    <a:pt x="709" y="195"/>
                  </a:lnTo>
                  <a:lnTo>
                    <a:pt x="707" y="197"/>
                  </a:lnTo>
                  <a:lnTo>
                    <a:pt x="707" y="197"/>
                  </a:lnTo>
                  <a:lnTo>
                    <a:pt x="704" y="195"/>
                  </a:lnTo>
                  <a:lnTo>
                    <a:pt x="702" y="195"/>
                  </a:lnTo>
                  <a:lnTo>
                    <a:pt x="700" y="193"/>
                  </a:lnTo>
                  <a:lnTo>
                    <a:pt x="698" y="180"/>
                  </a:lnTo>
                  <a:lnTo>
                    <a:pt x="696" y="178"/>
                  </a:lnTo>
                  <a:lnTo>
                    <a:pt x="691" y="184"/>
                  </a:lnTo>
                  <a:lnTo>
                    <a:pt x="687" y="184"/>
                  </a:lnTo>
                  <a:lnTo>
                    <a:pt x="676" y="180"/>
                  </a:lnTo>
                  <a:lnTo>
                    <a:pt x="665" y="178"/>
                  </a:lnTo>
                  <a:lnTo>
                    <a:pt x="658" y="175"/>
                  </a:lnTo>
                  <a:lnTo>
                    <a:pt x="656" y="169"/>
                  </a:lnTo>
                  <a:lnTo>
                    <a:pt x="652" y="160"/>
                  </a:lnTo>
                  <a:lnTo>
                    <a:pt x="652" y="158"/>
                  </a:lnTo>
                  <a:lnTo>
                    <a:pt x="645" y="156"/>
                  </a:lnTo>
                  <a:lnTo>
                    <a:pt x="645" y="153"/>
                  </a:lnTo>
                  <a:lnTo>
                    <a:pt x="645" y="151"/>
                  </a:lnTo>
                  <a:lnTo>
                    <a:pt x="650" y="151"/>
                  </a:lnTo>
                  <a:lnTo>
                    <a:pt x="652" y="151"/>
                  </a:lnTo>
                  <a:lnTo>
                    <a:pt x="654" y="151"/>
                  </a:lnTo>
                  <a:lnTo>
                    <a:pt x="656" y="149"/>
                  </a:lnTo>
                  <a:lnTo>
                    <a:pt x="654" y="147"/>
                  </a:lnTo>
                  <a:lnTo>
                    <a:pt x="652" y="145"/>
                  </a:lnTo>
                  <a:lnTo>
                    <a:pt x="652" y="142"/>
                  </a:lnTo>
                  <a:lnTo>
                    <a:pt x="652" y="140"/>
                  </a:lnTo>
                  <a:lnTo>
                    <a:pt x="652" y="138"/>
                  </a:lnTo>
                  <a:lnTo>
                    <a:pt x="647" y="138"/>
                  </a:lnTo>
                  <a:lnTo>
                    <a:pt x="645" y="138"/>
                  </a:lnTo>
                  <a:lnTo>
                    <a:pt x="645" y="138"/>
                  </a:lnTo>
                  <a:lnTo>
                    <a:pt x="639" y="131"/>
                  </a:lnTo>
                  <a:lnTo>
                    <a:pt x="636" y="127"/>
                  </a:lnTo>
                  <a:lnTo>
                    <a:pt x="636" y="125"/>
                  </a:lnTo>
                  <a:lnTo>
                    <a:pt x="639" y="123"/>
                  </a:lnTo>
                  <a:lnTo>
                    <a:pt x="641" y="120"/>
                  </a:lnTo>
                  <a:lnTo>
                    <a:pt x="641" y="118"/>
                  </a:lnTo>
                  <a:lnTo>
                    <a:pt x="632" y="101"/>
                  </a:lnTo>
                  <a:lnTo>
                    <a:pt x="632" y="99"/>
                  </a:lnTo>
                  <a:lnTo>
                    <a:pt x="632" y="99"/>
                  </a:lnTo>
                  <a:lnTo>
                    <a:pt x="632" y="96"/>
                  </a:lnTo>
                  <a:lnTo>
                    <a:pt x="632" y="94"/>
                  </a:lnTo>
                  <a:lnTo>
                    <a:pt x="630" y="94"/>
                  </a:lnTo>
                  <a:lnTo>
                    <a:pt x="628" y="94"/>
                  </a:lnTo>
                  <a:lnTo>
                    <a:pt x="628" y="94"/>
                  </a:lnTo>
                  <a:lnTo>
                    <a:pt x="625" y="90"/>
                  </a:lnTo>
                  <a:lnTo>
                    <a:pt x="623" y="88"/>
                  </a:lnTo>
                  <a:lnTo>
                    <a:pt x="621" y="85"/>
                  </a:lnTo>
                  <a:lnTo>
                    <a:pt x="610" y="79"/>
                  </a:lnTo>
                  <a:lnTo>
                    <a:pt x="603" y="74"/>
                  </a:lnTo>
                  <a:lnTo>
                    <a:pt x="597" y="68"/>
                  </a:lnTo>
                  <a:lnTo>
                    <a:pt x="590" y="59"/>
                  </a:lnTo>
                  <a:lnTo>
                    <a:pt x="590" y="57"/>
                  </a:lnTo>
                  <a:lnTo>
                    <a:pt x="588" y="57"/>
                  </a:lnTo>
                  <a:lnTo>
                    <a:pt x="586" y="59"/>
                  </a:lnTo>
                  <a:lnTo>
                    <a:pt x="586" y="59"/>
                  </a:lnTo>
                  <a:lnTo>
                    <a:pt x="584" y="59"/>
                  </a:lnTo>
                  <a:lnTo>
                    <a:pt x="581" y="59"/>
                  </a:lnTo>
                  <a:lnTo>
                    <a:pt x="579" y="59"/>
                  </a:lnTo>
                  <a:lnTo>
                    <a:pt x="579" y="57"/>
                  </a:lnTo>
                  <a:lnTo>
                    <a:pt x="579" y="57"/>
                  </a:lnTo>
                  <a:lnTo>
                    <a:pt x="577" y="57"/>
                  </a:lnTo>
                  <a:lnTo>
                    <a:pt x="577" y="55"/>
                  </a:lnTo>
                  <a:lnTo>
                    <a:pt x="575" y="55"/>
                  </a:lnTo>
                  <a:lnTo>
                    <a:pt x="570" y="55"/>
                  </a:lnTo>
                  <a:lnTo>
                    <a:pt x="566" y="52"/>
                  </a:lnTo>
                  <a:lnTo>
                    <a:pt x="566" y="52"/>
                  </a:lnTo>
                  <a:lnTo>
                    <a:pt x="562" y="52"/>
                  </a:lnTo>
                  <a:lnTo>
                    <a:pt x="564" y="50"/>
                  </a:lnTo>
                  <a:lnTo>
                    <a:pt x="568" y="46"/>
                  </a:lnTo>
                  <a:lnTo>
                    <a:pt x="562" y="33"/>
                  </a:lnTo>
                  <a:lnTo>
                    <a:pt x="560" y="28"/>
                  </a:lnTo>
                  <a:lnTo>
                    <a:pt x="555" y="26"/>
                  </a:lnTo>
                  <a:lnTo>
                    <a:pt x="553" y="26"/>
                  </a:lnTo>
                  <a:lnTo>
                    <a:pt x="549" y="33"/>
                  </a:lnTo>
                  <a:lnTo>
                    <a:pt x="546" y="35"/>
                  </a:lnTo>
                  <a:lnTo>
                    <a:pt x="544" y="35"/>
                  </a:lnTo>
                  <a:lnTo>
                    <a:pt x="542" y="35"/>
                  </a:lnTo>
                  <a:lnTo>
                    <a:pt x="535" y="33"/>
                  </a:lnTo>
                  <a:lnTo>
                    <a:pt x="531" y="31"/>
                  </a:lnTo>
                  <a:lnTo>
                    <a:pt x="529" y="28"/>
                  </a:lnTo>
                  <a:lnTo>
                    <a:pt x="522" y="22"/>
                  </a:lnTo>
                  <a:lnTo>
                    <a:pt x="520" y="20"/>
                  </a:lnTo>
                  <a:lnTo>
                    <a:pt x="518" y="20"/>
                  </a:lnTo>
                  <a:lnTo>
                    <a:pt x="516" y="20"/>
                  </a:lnTo>
                  <a:lnTo>
                    <a:pt x="513" y="20"/>
                  </a:lnTo>
                  <a:lnTo>
                    <a:pt x="511" y="17"/>
                  </a:lnTo>
                  <a:lnTo>
                    <a:pt x="505" y="6"/>
                  </a:lnTo>
                  <a:lnTo>
                    <a:pt x="500" y="4"/>
                  </a:lnTo>
                  <a:lnTo>
                    <a:pt x="496" y="2"/>
                  </a:lnTo>
                  <a:lnTo>
                    <a:pt x="489" y="0"/>
                  </a:lnTo>
                  <a:lnTo>
                    <a:pt x="485" y="0"/>
                  </a:lnTo>
                  <a:lnTo>
                    <a:pt x="483" y="0"/>
                  </a:lnTo>
                  <a:lnTo>
                    <a:pt x="480" y="2"/>
                  </a:lnTo>
                  <a:lnTo>
                    <a:pt x="478" y="4"/>
                  </a:lnTo>
                  <a:lnTo>
                    <a:pt x="478" y="9"/>
                  </a:lnTo>
                  <a:lnTo>
                    <a:pt x="476" y="11"/>
                  </a:lnTo>
                  <a:lnTo>
                    <a:pt x="474" y="13"/>
                  </a:lnTo>
                  <a:lnTo>
                    <a:pt x="470" y="13"/>
                  </a:lnTo>
                  <a:lnTo>
                    <a:pt x="467" y="17"/>
                  </a:lnTo>
                  <a:lnTo>
                    <a:pt x="463" y="20"/>
                  </a:lnTo>
                  <a:lnTo>
                    <a:pt x="461" y="20"/>
                  </a:lnTo>
                  <a:lnTo>
                    <a:pt x="459" y="22"/>
                  </a:lnTo>
                  <a:lnTo>
                    <a:pt x="456" y="22"/>
                  </a:lnTo>
                  <a:lnTo>
                    <a:pt x="450" y="22"/>
                  </a:lnTo>
                  <a:lnTo>
                    <a:pt x="448" y="22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26" y="17"/>
                  </a:lnTo>
                  <a:lnTo>
                    <a:pt x="423" y="15"/>
                  </a:lnTo>
                  <a:lnTo>
                    <a:pt x="421" y="15"/>
                  </a:lnTo>
                  <a:lnTo>
                    <a:pt x="417" y="17"/>
                  </a:lnTo>
                  <a:lnTo>
                    <a:pt x="415" y="15"/>
                  </a:lnTo>
                  <a:lnTo>
                    <a:pt x="410" y="15"/>
                  </a:lnTo>
                  <a:lnTo>
                    <a:pt x="408" y="13"/>
                  </a:lnTo>
                  <a:lnTo>
                    <a:pt x="404" y="15"/>
                  </a:lnTo>
                  <a:lnTo>
                    <a:pt x="404" y="17"/>
                  </a:lnTo>
                  <a:lnTo>
                    <a:pt x="404" y="22"/>
                  </a:lnTo>
                  <a:lnTo>
                    <a:pt x="406" y="26"/>
                  </a:lnTo>
                  <a:lnTo>
                    <a:pt x="408" y="28"/>
                  </a:lnTo>
                  <a:lnTo>
                    <a:pt x="410" y="28"/>
                  </a:lnTo>
                  <a:lnTo>
                    <a:pt x="415" y="28"/>
                  </a:lnTo>
                  <a:lnTo>
                    <a:pt x="415" y="28"/>
                  </a:lnTo>
                  <a:lnTo>
                    <a:pt x="417" y="28"/>
                  </a:lnTo>
                  <a:lnTo>
                    <a:pt x="421" y="33"/>
                  </a:lnTo>
                  <a:lnTo>
                    <a:pt x="423" y="35"/>
                  </a:lnTo>
                  <a:lnTo>
                    <a:pt x="428" y="35"/>
                  </a:lnTo>
                  <a:lnTo>
                    <a:pt x="430" y="37"/>
                  </a:lnTo>
                  <a:lnTo>
                    <a:pt x="432" y="39"/>
                  </a:lnTo>
                  <a:lnTo>
                    <a:pt x="439" y="61"/>
                  </a:lnTo>
                  <a:lnTo>
                    <a:pt x="443" y="68"/>
                  </a:lnTo>
                  <a:lnTo>
                    <a:pt x="448" y="77"/>
                  </a:lnTo>
                  <a:lnTo>
                    <a:pt x="452" y="79"/>
                  </a:lnTo>
                  <a:lnTo>
                    <a:pt x="454" y="81"/>
                  </a:lnTo>
                  <a:lnTo>
                    <a:pt x="454" y="81"/>
                  </a:lnTo>
                  <a:lnTo>
                    <a:pt x="456" y="81"/>
                  </a:lnTo>
                  <a:lnTo>
                    <a:pt x="459" y="81"/>
                  </a:lnTo>
                  <a:lnTo>
                    <a:pt x="459" y="83"/>
                  </a:lnTo>
                  <a:lnTo>
                    <a:pt x="467" y="88"/>
                  </a:lnTo>
                  <a:lnTo>
                    <a:pt x="467" y="90"/>
                  </a:lnTo>
                  <a:lnTo>
                    <a:pt x="467" y="92"/>
                  </a:lnTo>
                  <a:lnTo>
                    <a:pt x="470" y="92"/>
                  </a:lnTo>
                  <a:lnTo>
                    <a:pt x="470" y="92"/>
                  </a:lnTo>
                  <a:lnTo>
                    <a:pt x="472" y="92"/>
                  </a:lnTo>
                  <a:lnTo>
                    <a:pt x="472" y="92"/>
                  </a:lnTo>
                  <a:lnTo>
                    <a:pt x="474" y="94"/>
                  </a:lnTo>
                  <a:lnTo>
                    <a:pt x="476" y="99"/>
                  </a:lnTo>
                  <a:lnTo>
                    <a:pt x="474" y="105"/>
                  </a:lnTo>
                  <a:lnTo>
                    <a:pt x="474" y="107"/>
                  </a:lnTo>
                  <a:lnTo>
                    <a:pt x="476" y="107"/>
                  </a:lnTo>
                  <a:lnTo>
                    <a:pt x="476" y="110"/>
                  </a:lnTo>
                  <a:lnTo>
                    <a:pt x="476" y="112"/>
                  </a:lnTo>
                  <a:lnTo>
                    <a:pt x="474" y="114"/>
                  </a:lnTo>
                  <a:lnTo>
                    <a:pt x="474" y="114"/>
                  </a:lnTo>
                  <a:lnTo>
                    <a:pt x="472" y="114"/>
                  </a:lnTo>
                  <a:lnTo>
                    <a:pt x="470" y="116"/>
                  </a:lnTo>
                  <a:lnTo>
                    <a:pt x="467" y="118"/>
                  </a:lnTo>
                  <a:lnTo>
                    <a:pt x="470" y="120"/>
                  </a:lnTo>
                  <a:lnTo>
                    <a:pt x="470" y="123"/>
                  </a:lnTo>
                  <a:lnTo>
                    <a:pt x="470" y="125"/>
                  </a:lnTo>
                  <a:lnTo>
                    <a:pt x="470" y="127"/>
                  </a:lnTo>
                  <a:lnTo>
                    <a:pt x="467" y="129"/>
                  </a:lnTo>
                  <a:lnTo>
                    <a:pt x="467" y="131"/>
                  </a:lnTo>
                  <a:lnTo>
                    <a:pt x="476" y="160"/>
                  </a:lnTo>
                  <a:lnTo>
                    <a:pt x="476" y="162"/>
                  </a:lnTo>
                  <a:lnTo>
                    <a:pt x="476" y="164"/>
                  </a:lnTo>
                  <a:lnTo>
                    <a:pt x="476" y="167"/>
                  </a:lnTo>
                  <a:lnTo>
                    <a:pt x="478" y="169"/>
                  </a:lnTo>
                  <a:lnTo>
                    <a:pt x="478" y="171"/>
                  </a:lnTo>
                  <a:lnTo>
                    <a:pt x="480" y="173"/>
                  </a:lnTo>
                  <a:lnTo>
                    <a:pt x="480" y="173"/>
                  </a:lnTo>
                  <a:lnTo>
                    <a:pt x="478" y="173"/>
                  </a:lnTo>
                  <a:lnTo>
                    <a:pt x="470" y="173"/>
                  </a:lnTo>
                  <a:lnTo>
                    <a:pt x="463" y="175"/>
                  </a:lnTo>
                  <a:lnTo>
                    <a:pt x="459" y="175"/>
                  </a:lnTo>
                  <a:lnTo>
                    <a:pt x="456" y="173"/>
                  </a:lnTo>
                  <a:lnTo>
                    <a:pt x="456" y="171"/>
                  </a:lnTo>
                  <a:lnTo>
                    <a:pt x="452" y="169"/>
                  </a:lnTo>
                  <a:lnTo>
                    <a:pt x="448" y="164"/>
                  </a:lnTo>
                  <a:lnTo>
                    <a:pt x="445" y="164"/>
                  </a:lnTo>
                  <a:lnTo>
                    <a:pt x="443" y="175"/>
                  </a:lnTo>
                  <a:lnTo>
                    <a:pt x="439" y="197"/>
                  </a:lnTo>
                  <a:lnTo>
                    <a:pt x="432" y="219"/>
                  </a:lnTo>
                  <a:lnTo>
                    <a:pt x="428" y="241"/>
                  </a:lnTo>
                  <a:lnTo>
                    <a:pt x="421" y="263"/>
                  </a:lnTo>
                  <a:lnTo>
                    <a:pt x="419" y="272"/>
                  </a:lnTo>
                  <a:lnTo>
                    <a:pt x="417" y="278"/>
                  </a:lnTo>
                  <a:lnTo>
                    <a:pt x="415" y="281"/>
                  </a:lnTo>
                  <a:lnTo>
                    <a:pt x="412" y="285"/>
                  </a:lnTo>
                  <a:lnTo>
                    <a:pt x="401" y="294"/>
                  </a:lnTo>
                  <a:lnTo>
                    <a:pt x="395" y="303"/>
                  </a:lnTo>
                  <a:lnTo>
                    <a:pt x="386" y="314"/>
                  </a:lnTo>
                  <a:lnTo>
                    <a:pt x="375" y="325"/>
                  </a:lnTo>
                  <a:lnTo>
                    <a:pt x="366" y="336"/>
                  </a:lnTo>
                  <a:lnTo>
                    <a:pt x="358" y="347"/>
                  </a:lnTo>
                  <a:lnTo>
                    <a:pt x="349" y="358"/>
                  </a:lnTo>
                  <a:lnTo>
                    <a:pt x="338" y="368"/>
                  </a:lnTo>
                  <a:lnTo>
                    <a:pt x="329" y="379"/>
                  </a:lnTo>
                  <a:lnTo>
                    <a:pt x="320" y="390"/>
                  </a:lnTo>
                  <a:lnTo>
                    <a:pt x="309" y="397"/>
                  </a:lnTo>
                  <a:lnTo>
                    <a:pt x="298" y="406"/>
                  </a:lnTo>
                  <a:lnTo>
                    <a:pt x="287" y="415"/>
                  </a:lnTo>
                  <a:lnTo>
                    <a:pt x="276" y="423"/>
                  </a:lnTo>
                  <a:lnTo>
                    <a:pt x="265" y="432"/>
                  </a:lnTo>
                  <a:lnTo>
                    <a:pt x="254" y="441"/>
                  </a:lnTo>
                  <a:lnTo>
                    <a:pt x="243" y="450"/>
                  </a:lnTo>
                  <a:lnTo>
                    <a:pt x="232" y="456"/>
                  </a:lnTo>
                  <a:lnTo>
                    <a:pt x="221" y="465"/>
                  </a:lnTo>
                  <a:lnTo>
                    <a:pt x="213" y="469"/>
                  </a:lnTo>
                  <a:lnTo>
                    <a:pt x="210" y="472"/>
                  </a:lnTo>
                  <a:lnTo>
                    <a:pt x="193" y="478"/>
                  </a:lnTo>
                  <a:lnTo>
                    <a:pt x="169" y="487"/>
                  </a:lnTo>
                  <a:lnTo>
                    <a:pt x="147" y="494"/>
                  </a:lnTo>
                  <a:lnTo>
                    <a:pt x="123" y="502"/>
                  </a:lnTo>
                  <a:lnTo>
                    <a:pt x="98" y="511"/>
                  </a:lnTo>
                  <a:lnTo>
                    <a:pt x="76" y="520"/>
                  </a:lnTo>
                  <a:lnTo>
                    <a:pt x="52" y="526"/>
                  </a:lnTo>
                  <a:lnTo>
                    <a:pt x="28" y="535"/>
                  </a:lnTo>
                  <a:lnTo>
                    <a:pt x="6" y="544"/>
                  </a:lnTo>
                  <a:lnTo>
                    <a:pt x="0" y="546"/>
                  </a:lnTo>
                  <a:lnTo>
                    <a:pt x="0" y="546"/>
                  </a:lnTo>
                  <a:lnTo>
                    <a:pt x="4" y="566"/>
                  </a:lnTo>
                  <a:lnTo>
                    <a:pt x="8" y="579"/>
                  </a:lnTo>
                  <a:lnTo>
                    <a:pt x="8" y="584"/>
                  </a:lnTo>
                  <a:lnTo>
                    <a:pt x="8" y="599"/>
                  </a:lnTo>
                  <a:lnTo>
                    <a:pt x="8" y="603"/>
                  </a:lnTo>
                  <a:lnTo>
                    <a:pt x="11" y="605"/>
                  </a:lnTo>
                  <a:lnTo>
                    <a:pt x="19" y="621"/>
                  </a:lnTo>
                  <a:lnTo>
                    <a:pt x="24" y="634"/>
                  </a:lnTo>
                  <a:lnTo>
                    <a:pt x="26" y="641"/>
                  </a:lnTo>
                  <a:lnTo>
                    <a:pt x="28" y="658"/>
                  </a:lnTo>
                  <a:lnTo>
                    <a:pt x="33" y="669"/>
                  </a:lnTo>
                  <a:lnTo>
                    <a:pt x="33" y="671"/>
                  </a:lnTo>
                  <a:lnTo>
                    <a:pt x="33" y="674"/>
                  </a:lnTo>
                  <a:lnTo>
                    <a:pt x="33" y="678"/>
                  </a:lnTo>
                  <a:lnTo>
                    <a:pt x="33" y="684"/>
                  </a:lnTo>
                  <a:lnTo>
                    <a:pt x="33" y="689"/>
                  </a:lnTo>
                  <a:lnTo>
                    <a:pt x="33" y="693"/>
                  </a:lnTo>
                  <a:lnTo>
                    <a:pt x="35" y="695"/>
                  </a:lnTo>
                  <a:lnTo>
                    <a:pt x="35" y="698"/>
                  </a:lnTo>
                  <a:lnTo>
                    <a:pt x="44" y="709"/>
                  </a:lnTo>
                  <a:lnTo>
                    <a:pt x="44" y="713"/>
                  </a:lnTo>
                  <a:lnTo>
                    <a:pt x="46" y="717"/>
                  </a:lnTo>
                  <a:lnTo>
                    <a:pt x="48" y="720"/>
                  </a:lnTo>
                  <a:lnTo>
                    <a:pt x="48" y="731"/>
                  </a:lnTo>
                  <a:lnTo>
                    <a:pt x="50" y="737"/>
                  </a:lnTo>
                  <a:lnTo>
                    <a:pt x="50" y="739"/>
                  </a:lnTo>
                  <a:lnTo>
                    <a:pt x="52" y="742"/>
                  </a:lnTo>
                  <a:lnTo>
                    <a:pt x="52" y="744"/>
                  </a:lnTo>
                  <a:lnTo>
                    <a:pt x="48" y="750"/>
                  </a:lnTo>
                  <a:lnTo>
                    <a:pt x="48" y="757"/>
                  </a:lnTo>
                  <a:lnTo>
                    <a:pt x="46" y="788"/>
                  </a:lnTo>
                  <a:lnTo>
                    <a:pt x="46" y="801"/>
                  </a:lnTo>
                  <a:lnTo>
                    <a:pt x="46" y="814"/>
                  </a:lnTo>
                  <a:lnTo>
                    <a:pt x="44" y="818"/>
                  </a:lnTo>
                  <a:lnTo>
                    <a:pt x="41" y="823"/>
                  </a:lnTo>
                  <a:lnTo>
                    <a:pt x="37" y="829"/>
                  </a:lnTo>
                  <a:lnTo>
                    <a:pt x="33" y="843"/>
                  </a:lnTo>
                  <a:lnTo>
                    <a:pt x="28" y="851"/>
                  </a:lnTo>
                  <a:lnTo>
                    <a:pt x="26" y="853"/>
                  </a:lnTo>
                  <a:lnTo>
                    <a:pt x="24" y="856"/>
                  </a:lnTo>
                  <a:lnTo>
                    <a:pt x="19" y="860"/>
                  </a:lnTo>
                  <a:lnTo>
                    <a:pt x="17" y="864"/>
                  </a:lnTo>
                  <a:lnTo>
                    <a:pt x="13" y="869"/>
                  </a:lnTo>
                  <a:lnTo>
                    <a:pt x="8" y="880"/>
                  </a:lnTo>
                  <a:lnTo>
                    <a:pt x="8" y="886"/>
                  </a:lnTo>
                  <a:lnTo>
                    <a:pt x="6" y="895"/>
                  </a:lnTo>
                  <a:lnTo>
                    <a:pt x="6" y="902"/>
                  </a:lnTo>
                  <a:lnTo>
                    <a:pt x="8" y="904"/>
                  </a:lnTo>
                  <a:lnTo>
                    <a:pt x="8" y="908"/>
                  </a:lnTo>
                  <a:lnTo>
                    <a:pt x="11" y="913"/>
                  </a:lnTo>
                  <a:lnTo>
                    <a:pt x="13" y="922"/>
                  </a:lnTo>
                  <a:lnTo>
                    <a:pt x="15" y="948"/>
                  </a:lnTo>
                  <a:lnTo>
                    <a:pt x="19" y="968"/>
                  </a:lnTo>
                  <a:lnTo>
                    <a:pt x="33" y="996"/>
                  </a:lnTo>
                  <a:lnTo>
                    <a:pt x="37" y="1001"/>
                  </a:lnTo>
                  <a:lnTo>
                    <a:pt x="44" y="1007"/>
                  </a:lnTo>
                  <a:lnTo>
                    <a:pt x="50" y="1009"/>
                  </a:lnTo>
                  <a:lnTo>
                    <a:pt x="72" y="1018"/>
                  </a:lnTo>
                  <a:lnTo>
                    <a:pt x="83" y="1025"/>
                  </a:lnTo>
                  <a:lnTo>
                    <a:pt x="90" y="1031"/>
                  </a:lnTo>
                  <a:lnTo>
                    <a:pt x="92" y="1033"/>
                  </a:lnTo>
                  <a:lnTo>
                    <a:pt x="96" y="1038"/>
                  </a:lnTo>
                  <a:lnTo>
                    <a:pt x="105" y="1047"/>
                  </a:lnTo>
                  <a:lnTo>
                    <a:pt x="114" y="1049"/>
                  </a:lnTo>
                  <a:lnTo>
                    <a:pt x="118" y="1051"/>
                  </a:lnTo>
                  <a:lnTo>
                    <a:pt x="158" y="1053"/>
                  </a:lnTo>
                  <a:lnTo>
                    <a:pt x="164" y="1055"/>
                  </a:lnTo>
                  <a:lnTo>
                    <a:pt x="169" y="1058"/>
                  </a:lnTo>
                  <a:lnTo>
                    <a:pt x="173" y="1060"/>
                  </a:lnTo>
                  <a:lnTo>
                    <a:pt x="182" y="1066"/>
                  </a:lnTo>
                  <a:lnTo>
                    <a:pt x="186" y="1073"/>
                  </a:lnTo>
                  <a:lnTo>
                    <a:pt x="191" y="1080"/>
                  </a:lnTo>
                  <a:lnTo>
                    <a:pt x="197" y="1097"/>
                  </a:lnTo>
                  <a:lnTo>
                    <a:pt x="202" y="1106"/>
                  </a:lnTo>
                  <a:lnTo>
                    <a:pt x="206" y="1112"/>
                  </a:lnTo>
                  <a:lnTo>
                    <a:pt x="213" y="1117"/>
                  </a:lnTo>
                  <a:lnTo>
                    <a:pt x="215" y="1117"/>
                  </a:lnTo>
                  <a:lnTo>
                    <a:pt x="221" y="1119"/>
                  </a:lnTo>
                  <a:lnTo>
                    <a:pt x="224" y="1119"/>
                  </a:lnTo>
                  <a:lnTo>
                    <a:pt x="228" y="1119"/>
                  </a:lnTo>
                  <a:lnTo>
                    <a:pt x="232" y="1119"/>
                  </a:lnTo>
                  <a:lnTo>
                    <a:pt x="239" y="1117"/>
                  </a:lnTo>
                  <a:lnTo>
                    <a:pt x="265" y="1097"/>
                  </a:lnTo>
                  <a:lnTo>
                    <a:pt x="272" y="1095"/>
                  </a:lnTo>
                  <a:lnTo>
                    <a:pt x="274" y="1095"/>
                  </a:lnTo>
                  <a:lnTo>
                    <a:pt x="278" y="1097"/>
                  </a:lnTo>
                  <a:lnTo>
                    <a:pt x="281" y="1097"/>
                  </a:lnTo>
                  <a:lnTo>
                    <a:pt x="285" y="1099"/>
                  </a:lnTo>
                  <a:lnTo>
                    <a:pt x="289" y="1104"/>
                  </a:lnTo>
                  <a:lnTo>
                    <a:pt x="294" y="1110"/>
                  </a:lnTo>
                  <a:lnTo>
                    <a:pt x="307" y="1126"/>
                  </a:lnTo>
                  <a:lnTo>
                    <a:pt x="311" y="1128"/>
                  </a:lnTo>
                  <a:lnTo>
                    <a:pt x="314" y="1130"/>
                  </a:lnTo>
                  <a:lnTo>
                    <a:pt x="322" y="1132"/>
                  </a:lnTo>
                  <a:lnTo>
                    <a:pt x="325" y="1132"/>
                  </a:lnTo>
                  <a:lnTo>
                    <a:pt x="329" y="1132"/>
                  </a:lnTo>
                  <a:lnTo>
                    <a:pt x="336" y="1132"/>
                  </a:lnTo>
                  <a:lnTo>
                    <a:pt x="353" y="1130"/>
                  </a:lnTo>
                  <a:lnTo>
                    <a:pt x="366" y="1130"/>
                  </a:lnTo>
                  <a:lnTo>
                    <a:pt x="388" y="1137"/>
                  </a:lnTo>
                  <a:lnTo>
                    <a:pt x="399" y="1139"/>
                  </a:lnTo>
                  <a:lnTo>
                    <a:pt x="410" y="1143"/>
                  </a:lnTo>
                  <a:lnTo>
                    <a:pt x="417" y="1145"/>
                  </a:lnTo>
                  <a:lnTo>
                    <a:pt x="428" y="1159"/>
                  </a:lnTo>
                  <a:lnTo>
                    <a:pt x="430" y="1161"/>
                  </a:lnTo>
                  <a:lnTo>
                    <a:pt x="434" y="1167"/>
                  </a:lnTo>
                  <a:lnTo>
                    <a:pt x="434" y="1170"/>
                  </a:lnTo>
                  <a:lnTo>
                    <a:pt x="437" y="1172"/>
                  </a:lnTo>
                  <a:lnTo>
                    <a:pt x="437" y="1176"/>
                  </a:lnTo>
                  <a:lnTo>
                    <a:pt x="437" y="1178"/>
                  </a:lnTo>
                  <a:lnTo>
                    <a:pt x="430" y="1231"/>
                  </a:lnTo>
                  <a:lnTo>
                    <a:pt x="432" y="1238"/>
                  </a:lnTo>
                  <a:lnTo>
                    <a:pt x="432" y="1240"/>
                  </a:lnTo>
                  <a:lnTo>
                    <a:pt x="428" y="1255"/>
                  </a:lnTo>
                  <a:lnTo>
                    <a:pt x="428" y="1257"/>
                  </a:lnTo>
                  <a:lnTo>
                    <a:pt x="426" y="1259"/>
                  </a:lnTo>
                  <a:lnTo>
                    <a:pt x="417" y="1275"/>
                  </a:lnTo>
                  <a:lnTo>
                    <a:pt x="412" y="1281"/>
                  </a:lnTo>
                  <a:lnTo>
                    <a:pt x="410" y="1284"/>
                  </a:lnTo>
                  <a:lnTo>
                    <a:pt x="408" y="1286"/>
                  </a:lnTo>
                  <a:lnTo>
                    <a:pt x="406" y="1286"/>
                  </a:lnTo>
                  <a:lnTo>
                    <a:pt x="404" y="1288"/>
                  </a:lnTo>
                  <a:lnTo>
                    <a:pt x="401" y="1286"/>
                  </a:lnTo>
                  <a:lnTo>
                    <a:pt x="399" y="1286"/>
                  </a:lnTo>
                  <a:lnTo>
                    <a:pt x="397" y="1284"/>
                  </a:lnTo>
                  <a:lnTo>
                    <a:pt x="379" y="1264"/>
                  </a:lnTo>
                  <a:lnTo>
                    <a:pt x="375" y="1259"/>
                  </a:lnTo>
                  <a:lnTo>
                    <a:pt x="371" y="1255"/>
                  </a:lnTo>
                  <a:lnTo>
                    <a:pt x="366" y="1255"/>
                  </a:lnTo>
                  <a:lnTo>
                    <a:pt x="360" y="1253"/>
                  </a:lnTo>
                  <a:lnTo>
                    <a:pt x="355" y="1251"/>
                  </a:lnTo>
                  <a:lnTo>
                    <a:pt x="349" y="1251"/>
                  </a:lnTo>
                  <a:lnTo>
                    <a:pt x="344" y="1253"/>
                  </a:lnTo>
                  <a:lnTo>
                    <a:pt x="342" y="1253"/>
                  </a:lnTo>
                  <a:lnTo>
                    <a:pt x="338" y="1255"/>
                  </a:lnTo>
                  <a:lnTo>
                    <a:pt x="336" y="1257"/>
                  </a:lnTo>
                  <a:lnTo>
                    <a:pt x="329" y="1266"/>
                  </a:lnTo>
                  <a:lnTo>
                    <a:pt x="320" y="1286"/>
                  </a:lnTo>
                  <a:lnTo>
                    <a:pt x="316" y="1297"/>
                  </a:lnTo>
                  <a:lnTo>
                    <a:pt x="316" y="1299"/>
                  </a:lnTo>
                  <a:lnTo>
                    <a:pt x="316" y="1299"/>
                  </a:lnTo>
                  <a:lnTo>
                    <a:pt x="318" y="1306"/>
                  </a:lnTo>
                  <a:lnTo>
                    <a:pt x="320" y="1308"/>
                  </a:lnTo>
                  <a:lnTo>
                    <a:pt x="320" y="1312"/>
                  </a:lnTo>
                  <a:lnTo>
                    <a:pt x="322" y="1319"/>
                  </a:lnTo>
                  <a:lnTo>
                    <a:pt x="318" y="1358"/>
                  </a:lnTo>
                  <a:lnTo>
                    <a:pt x="320" y="1369"/>
                  </a:lnTo>
                  <a:lnTo>
                    <a:pt x="322" y="1380"/>
                  </a:lnTo>
                  <a:lnTo>
                    <a:pt x="327" y="1391"/>
                  </a:lnTo>
                  <a:lnTo>
                    <a:pt x="371" y="1488"/>
                  </a:lnTo>
                  <a:lnTo>
                    <a:pt x="377" y="1507"/>
                  </a:lnTo>
                  <a:lnTo>
                    <a:pt x="379" y="1514"/>
                  </a:lnTo>
                  <a:lnTo>
                    <a:pt x="379" y="1518"/>
                  </a:lnTo>
                  <a:lnTo>
                    <a:pt x="377" y="1521"/>
                  </a:lnTo>
                  <a:lnTo>
                    <a:pt x="377" y="1523"/>
                  </a:lnTo>
                  <a:lnTo>
                    <a:pt x="375" y="1527"/>
                  </a:lnTo>
                  <a:lnTo>
                    <a:pt x="358" y="1547"/>
                  </a:lnTo>
                  <a:lnTo>
                    <a:pt x="355" y="1551"/>
                  </a:lnTo>
                  <a:lnTo>
                    <a:pt x="355" y="1554"/>
                  </a:lnTo>
                  <a:lnTo>
                    <a:pt x="353" y="1565"/>
                  </a:lnTo>
                  <a:lnTo>
                    <a:pt x="351" y="1573"/>
                  </a:lnTo>
                  <a:lnTo>
                    <a:pt x="347" y="1591"/>
                  </a:lnTo>
                  <a:lnTo>
                    <a:pt x="342" y="1606"/>
                  </a:lnTo>
                  <a:lnTo>
                    <a:pt x="360" y="1597"/>
                  </a:lnTo>
                  <a:lnTo>
                    <a:pt x="369" y="1591"/>
                  </a:lnTo>
                  <a:lnTo>
                    <a:pt x="373" y="1584"/>
                  </a:lnTo>
                  <a:lnTo>
                    <a:pt x="379" y="1580"/>
                  </a:lnTo>
                  <a:lnTo>
                    <a:pt x="393" y="1571"/>
                  </a:lnTo>
                  <a:lnTo>
                    <a:pt x="397" y="1569"/>
                  </a:lnTo>
                  <a:lnTo>
                    <a:pt x="399" y="1565"/>
                  </a:lnTo>
                  <a:lnTo>
                    <a:pt x="401" y="1562"/>
                  </a:lnTo>
                  <a:lnTo>
                    <a:pt x="404" y="1558"/>
                  </a:lnTo>
                  <a:lnTo>
                    <a:pt x="406" y="1558"/>
                  </a:lnTo>
                  <a:lnTo>
                    <a:pt x="410" y="1558"/>
                  </a:lnTo>
                  <a:lnTo>
                    <a:pt x="415" y="1558"/>
                  </a:lnTo>
                  <a:lnTo>
                    <a:pt x="417" y="1560"/>
                  </a:lnTo>
                  <a:lnTo>
                    <a:pt x="419" y="1560"/>
                  </a:lnTo>
                  <a:lnTo>
                    <a:pt x="432" y="1573"/>
                  </a:lnTo>
                  <a:lnTo>
                    <a:pt x="434" y="1573"/>
                  </a:lnTo>
                  <a:lnTo>
                    <a:pt x="439" y="1576"/>
                  </a:lnTo>
                  <a:lnTo>
                    <a:pt x="443" y="1576"/>
                  </a:lnTo>
                  <a:lnTo>
                    <a:pt x="445" y="1573"/>
                  </a:lnTo>
                  <a:lnTo>
                    <a:pt x="445" y="1571"/>
                  </a:lnTo>
                  <a:lnTo>
                    <a:pt x="445" y="1569"/>
                  </a:lnTo>
                  <a:lnTo>
                    <a:pt x="445" y="1567"/>
                  </a:lnTo>
                  <a:lnTo>
                    <a:pt x="434" y="1554"/>
                  </a:lnTo>
                  <a:lnTo>
                    <a:pt x="432" y="1549"/>
                  </a:lnTo>
                  <a:lnTo>
                    <a:pt x="430" y="1547"/>
                  </a:lnTo>
                  <a:lnTo>
                    <a:pt x="428" y="1540"/>
                  </a:lnTo>
                  <a:lnTo>
                    <a:pt x="428" y="1536"/>
                  </a:lnTo>
                  <a:lnTo>
                    <a:pt x="428" y="1534"/>
                  </a:lnTo>
                  <a:lnTo>
                    <a:pt x="430" y="1529"/>
                  </a:lnTo>
                  <a:lnTo>
                    <a:pt x="432" y="1527"/>
                  </a:lnTo>
                  <a:lnTo>
                    <a:pt x="437" y="1525"/>
                  </a:lnTo>
                  <a:lnTo>
                    <a:pt x="439" y="1523"/>
                  </a:lnTo>
                  <a:lnTo>
                    <a:pt x="441" y="1523"/>
                  </a:lnTo>
                  <a:lnTo>
                    <a:pt x="443" y="1523"/>
                  </a:lnTo>
                  <a:lnTo>
                    <a:pt x="448" y="1523"/>
                  </a:lnTo>
                  <a:lnTo>
                    <a:pt x="450" y="1521"/>
                  </a:lnTo>
                  <a:lnTo>
                    <a:pt x="452" y="1518"/>
                  </a:lnTo>
                  <a:lnTo>
                    <a:pt x="452" y="1516"/>
                  </a:lnTo>
                  <a:lnTo>
                    <a:pt x="454" y="1514"/>
                  </a:lnTo>
                  <a:lnTo>
                    <a:pt x="454" y="1510"/>
                  </a:lnTo>
                  <a:lnTo>
                    <a:pt x="456" y="1507"/>
                  </a:lnTo>
                  <a:lnTo>
                    <a:pt x="459" y="1505"/>
                  </a:lnTo>
                  <a:lnTo>
                    <a:pt x="461" y="1505"/>
                  </a:lnTo>
                  <a:lnTo>
                    <a:pt x="463" y="1505"/>
                  </a:lnTo>
                  <a:lnTo>
                    <a:pt x="465" y="1507"/>
                  </a:lnTo>
                  <a:lnTo>
                    <a:pt x="489" y="1507"/>
                  </a:lnTo>
                  <a:lnTo>
                    <a:pt x="498" y="1505"/>
                  </a:lnTo>
                  <a:lnTo>
                    <a:pt x="502" y="1503"/>
                  </a:lnTo>
                  <a:lnTo>
                    <a:pt x="507" y="1501"/>
                  </a:lnTo>
                  <a:lnTo>
                    <a:pt x="518" y="1494"/>
                  </a:lnTo>
                  <a:lnTo>
                    <a:pt x="522" y="1490"/>
                  </a:lnTo>
                  <a:lnTo>
                    <a:pt x="538" y="1486"/>
                  </a:lnTo>
                  <a:lnTo>
                    <a:pt x="581" y="1479"/>
                  </a:lnTo>
                  <a:lnTo>
                    <a:pt x="586" y="1477"/>
                  </a:lnTo>
                  <a:lnTo>
                    <a:pt x="597" y="1470"/>
                  </a:lnTo>
                  <a:lnTo>
                    <a:pt x="601" y="1468"/>
                  </a:lnTo>
                  <a:lnTo>
                    <a:pt x="603" y="1466"/>
                  </a:lnTo>
                  <a:lnTo>
                    <a:pt x="606" y="1464"/>
                  </a:lnTo>
                  <a:lnTo>
                    <a:pt x="606" y="1461"/>
                  </a:lnTo>
                  <a:lnTo>
                    <a:pt x="606" y="1457"/>
                  </a:lnTo>
                  <a:lnTo>
                    <a:pt x="608" y="1442"/>
                  </a:lnTo>
                  <a:lnTo>
                    <a:pt x="603" y="1424"/>
                  </a:lnTo>
                  <a:lnTo>
                    <a:pt x="606" y="1411"/>
                  </a:lnTo>
                  <a:lnTo>
                    <a:pt x="603" y="1404"/>
                  </a:lnTo>
                  <a:lnTo>
                    <a:pt x="599" y="1380"/>
                  </a:lnTo>
                  <a:lnTo>
                    <a:pt x="599" y="1376"/>
                  </a:lnTo>
                  <a:lnTo>
                    <a:pt x="597" y="1371"/>
                  </a:lnTo>
                  <a:lnTo>
                    <a:pt x="597" y="1369"/>
                  </a:lnTo>
                  <a:lnTo>
                    <a:pt x="597" y="1365"/>
                  </a:lnTo>
                  <a:lnTo>
                    <a:pt x="597" y="1360"/>
                  </a:lnTo>
                  <a:lnTo>
                    <a:pt x="599" y="1358"/>
                  </a:lnTo>
                  <a:lnTo>
                    <a:pt x="601" y="1358"/>
                  </a:lnTo>
                  <a:lnTo>
                    <a:pt x="606" y="1358"/>
                  </a:lnTo>
                  <a:lnTo>
                    <a:pt x="612" y="1358"/>
                  </a:lnTo>
                  <a:lnTo>
                    <a:pt x="630" y="1369"/>
                  </a:lnTo>
                  <a:lnTo>
                    <a:pt x="639" y="1374"/>
                  </a:lnTo>
                  <a:lnTo>
                    <a:pt x="652" y="1374"/>
                  </a:lnTo>
                  <a:lnTo>
                    <a:pt x="656" y="1374"/>
                  </a:lnTo>
                  <a:lnTo>
                    <a:pt x="667" y="1376"/>
                  </a:lnTo>
                  <a:lnTo>
                    <a:pt x="696" y="1387"/>
                  </a:lnTo>
                  <a:lnTo>
                    <a:pt x="704" y="1391"/>
                  </a:lnTo>
                  <a:lnTo>
                    <a:pt x="707" y="1393"/>
                  </a:lnTo>
                  <a:lnTo>
                    <a:pt x="709" y="1396"/>
                  </a:lnTo>
                  <a:lnTo>
                    <a:pt x="711" y="1398"/>
                  </a:lnTo>
                  <a:lnTo>
                    <a:pt x="711" y="1398"/>
                  </a:lnTo>
                  <a:lnTo>
                    <a:pt x="711" y="1398"/>
                  </a:lnTo>
                  <a:lnTo>
                    <a:pt x="713" y="1396"/>
                  </a:lnTo>
                  <a:lnTo>
                    <a:pt x="718" y="1391"/>
                  </a:lnTo>
                  <a:lnTo>
                    <a:pt x="718" y="1387"/>
                  </a:lnTo>
                  <a:lnTo>
                    <a:pt x="718" y="1385"/>
                  </a:lnTo>
                  <a:lnTo>
                    <a:pt x="720" y="1382"/>
                  </a:lnTo>
                  <a:lnTo>
                    <a:pt x="718" y="1378"/>
                  </a:lnTo>
                  <a:lnTo>
                    <a:pt x="713" y="1367"/>
                  </a:lnTo>
                  <a:lnTo>
                    <a:pt x="711" y="1365"/>
                  </a:lnTo>
                  <a:lnTo>
                    <a:pt x="715" y="1365"/>
                  </a:lnTo>
                  <a:lnTo>
                    <a:pt x="724" y="1367"/>
                  </a:lnTo>
                  <a:lnTo>
                    <a:pt x="726" y="1367"/>
                  </a:lnTo>
                  <a:lnTo>
                    <a:pt x="731" y="1367"/>
                  </a:lnTo>
                  <a:lnTo>
                    <a:pt x="737" y="1363"/>
                  </a:lnTo>
                  <a:lnTo>
                    <a:pt x="742" y="1360"/>
                  </a:lnTo>
                  <a:lnTo>
                    <a:pt x="746" y="1360"/>
                  </a:lnTo>
                  <a:lnTo>
                    <a:pt x="753" y="1360"/>
                  </a:lnTo>
                  <a:lnTo>
                    <a:pt x="757" y="1360"/>
                  </a:lnTo>
                  <a:lnTo>
                    <a:pt x="759" y="1358"/>
                  </a:lnTo>
                  <a:lnTo>
                    <a:pt x="762" y="1354"/>
                  </a:lnTo>
                  <a:lnTo>
                    <a:pt x="762" y="1352"/>
                  </a:lnTo>
                  <a:lnTo>
                    <a:pt x="759" y="1347"/>
                  </a:lnTo>
                  <a:lnTo>
                    <a:pt x="759" y="1341"/>
                  </a:lnTo>
                  <a:lnTo>
                    <a:pt x="746" y="1321"/>
                  </a:lnTo>
                  <a:lnTo>
                    <a:pt x="744" y="1319"/>
                  </a:lnTo>
                  <a:lnTo>
                    <a:pt x="744" y="1317"/>
                  </a:lnTo>
                  <a:lnTo>
                    <a:pt x="744" y="1312"/>
                  </a:lnTo>
                  <a:lnTo>
                    <a:pt x="748" y="1308"/>
                  </a:lnTo>
                  <a:lnTo>
                    <a:pt x="753" y="1290"/>
                  </a:lnTo>
                  <a:lnTo>
                    <a:pt x="753" y="1279"/>
                  </a:lnTo>
                  <a:lnTo>
                    <a:pt x="753" y="1277"/>
                  </a:lnTo>
                  <a:lnTo>
                    <a:pt x="755" y="1275"/>
                  </a:lnTo>
                  <a:lnTo>
                    <a:pt x="764" y="1270"/>
                  </a:lnTo>
                  <a:lnTo>
                    <a:pt x="766" y="1268"/>
                  </a:lnTo>
                  <a:lnTo>
                    <a:pt x="768" y="1262"/>
                  </a:lnTo>
                  <a:lnTo>
                    <a:pt x="770" y="1259"/>
                  </a:lnTo>
                  <a:lnTo>
                    <a:pt x="775" y="1257"/>
                  </a:lnTo>
                  <a:lnTo>
                    <a:pt x="783" y="1251"/>
                  </a:lnTo>
                  <a:lnTo>
                    <a:pt x="799" y="1242"/>
                  </a:lnTo>
                  <a:lnTo>
                    <a:pt x="812" y="1231"/>
                  </a:lnTo>
                  <a:lnTo>
                    <a:pt x="819" y="1227"/>
                  </a:lnTo>
                  <a:lnTo>
                    <a:pt x="825" y="1220"/>
                  </a:lnTo>
                  <a:lnTo>
                    <a:pt x="830" y="1218"/>
                  </a:lnTo>
                  <a:lnTo>
                    <a:pt x="843" y="1218"/>
                  </a:lnTo>
                  <a:lnTo>
                    <a:pt x="852" y="1216"/>
                  </a:lnTo>
                  <a:lnTo>
                    <a:pt x="858" y="1213"/>
                  </a:lnTo>
                  <a:lnTo>
                    <a:pt x="863" y="1207"/>
                  </a:lnTo>
                  <a:lnTo>
                    <a:pt x="867" y="1200"/>
                  </a:lnTo>
                  <a:lnTo>
                    <a:pt x="871" y="1191"/>
                  </a:lnTo>
                  <a:lnTo>
                    <a:pt x="871" y="1187"/>
                  </a:lnTo>
                  <a:lnTo>
                    <a:pt x="871" y="1185"/>
                  </a:lnTo>
                  <a:lnTo>
                    <a:pt x="869" y="1180"/>
                  </a:lnTo>
                  <a:lnTo>
                    <a:pt x="867" y="1172"/>
                  </a:lnTo>
                  <a:lnTo>
                    <a:pt x="865" y="1167"/>
                  </a:lnTo>
                  <a:lnTo>
                    <a:pt x="863" y="1152"/>
                  </a:lnTo>
                  <a:lnTo>
                    <a:pt x="863" y="1148"/>
                  </a:lnTo>
                  <a:lnTo>
                    <a:pt x="854" y="1139"/>
                  </a:lnTo>
                  <a:lnTo>
                    <a:pt x="852" y="1134"/>
                  </a:lnTo>
                  <a:lnTo>
                    <a:pt x="852" y="1126"/>
                  </a:lnTo>
                  <a:lnTo>
                    <a:pt x="854" y="1119"/>
                  </a:lnTo>
                  <a:lnTo>
                    <a:pt x="858" y="1112"/>
                  </a:lnTo>
                  <a:lnTo>
                    <a:pt x="869" y="1088"/>
                  </a:lnTo>
                  <a:lnTo>
                    <a:pt x="876" y="1082"/>
                  </a:lnTo>
                  <a:lnTo>
                    <a:pt x="895" y="1055"/>
                  </a:lnTo>
                  <a:lnTo>
                    <a:pt x="898" y="1051"/>
                  </a:lnTo>
                  <a:lnTo>
                    <a:pt x="900" y="1047"/>
                  </a:lnTo>
                  <a:lnTo>
                    <a:pt x="902" y="1029"/>
                  </a:lnTo>
                  <a:lnTo>
                    <a:pt x="902" y="1022"/>
                  </a:lnTo>
                  <a:lnTo>
                    <a:pt x="900" y="1018"/>
                  </a:lnTo>
                  <a:lnTo>
                    <a:pt x="900" y="1011"/>
                  </a:lnTo>
                  <a:lnTo>
                    <a:pt x="902" y="1005"/>
                  </a:lnTo>
                  <a:lnTo>
                    <a:pt x="906" y="994"/>
                  </a:lnTo>
                  <a:lnTo>
                    <a:pt x="909" y="990"/>
                  </a:lnTo>
                  <a:lnTo>
                    <a:pt x="909" y="983"/>
                  </a:lnTo>
                  <a:lnTo>
                    <a:pt x="911" y="981"/>
                  </a:lnTo>
                  <a:lnTo>
                    <a:pt x="913" y="976"/>
                  </a:lnTo>
                  <a:lnTo>
                    <a:pt x="913" y="974"/>
                  </a:lnTo>
                  <a:lnTo>
                    <a:pt x="915" y="972"/>
                  </a:lnTo>
                  <a:lnTo>
                    <a:pt x="913" y="961"/>
                  </a:lnTo>
                  <a:lnTo>
                    <a:pt x="913" y="957"/>
                  </a:lnTo>
                  <a:lnTo>
                    <a:pt x="911" y="954"/>
                  </a:lnTo>
                  <a:lnTo>
                    <a:pt x="909" y="952"/>
                  </a:lnTo>
                  <a:lnTo>
                    <a:pt x="911" y="948"/>
                  </a:lnTo>
                  <a:lnTo>
                    <a:pt x="915" y="948"/>
                  </a:lnTo>
                  <a:lnTo>
                    <a:pt x="917" y="948"/>
                  </a:lnTo>
                  <a:lnTo>
                    <a:pt x="917" y="948"/>
                  </a:lnTo>
                  <a:lnTo>
                    <a:pt x="922" y="946"/>
                  </a:lnTo>
                  <a:lnTo>
                    <a:pt x="922" y="946"/>
                  </a:lnTo>
                  <a:lnTo>
                    <a:pt x="922" y="941"/>
                  </a:lnTo>
                  <a:lnTo>
                    <a:pt x="922" y="941"/>
                  </a:lnTo>
                  <a:lnTo>
                    <a:pt x="924" y="941"/>
                  </a:lnTo>
                  <a:lnTo>
                    <a:pt x="926" y="941"/>
                  </a:lnTo>
                  <a:lnTo>
                    <a:pt x="926" y="941"/>
                  </a:lnTo>
                  <a:lnTo>
                    <a:pt x="933" y="941"/>
                  </a:lnTo>
                  <a:lnTo>
                    <a:pt x="937" y="939"/>
                  </a:lnTo>
                  <a:lnTo>
                    <a:pt x="939" y="937"/>
                  </a:lnTo>
                  <a:lnTo>
                    <a:pt x="942" y="935"/>
                  </a:lnTo>
                  <a:lnTo>
                    <a:pt x="946" y="935"/>
                  </a:lnTo>
                  <a:lnTo>
                    <a:pt x="948" y="937"/>
                  </a:lnTo>
                  <a:lnTo>
                    <a:pt x="959" y="937"/>
                  </a:lnTo>
                  <a:lnTo>
                    <a:pt x="961" y="935"/>
                  </a:lnTo>
                  <a:lnTo>
                    <a:pt x="964" y="935"/>
                  </a:lnTo>
                  <a:lnTo>
                    <a:pt x="964" y="932"/>
                  </a:lnTo>
                  <a:lnTo>
                    <a:pt x="964" y="930"/>
                  </a:lnTo>
                  <a:lnTo>
                    <a:pt x="964" y="928"/>
                  </a:lnTo>
                  <a:lnTo>
                    <a:pt x="966" y="926"/>
                  </a:lnTo>
                  <a:lnTo>
                    <a:pt x="972" y="924"/>
                  </a:lnTo>
                  <a:lnTo>
                    <a:pt x="977" y="919"/>
                  </a:lnTo>
                  <a:lnTo>
                    <a:pt x="979" y="917"/>
                  </a:lnTo>
                  <a:lnTo>
                    <a:pt x="983" y="915"/>
                  </a:lnTo>
                  <a:lnTo>
                    <a:pt x="985" y="915"/>
                  </a:lnTo>
                  <a:lnTo>
                    <a:pt x="988" y="915"/>
                  </a:lnTo>
                  <a:lnTo>
                    <a:pt x="990" y="913"/>
                  </a:lnTo>
                  <a:lnTo>
                    <a:pt x="990" y="911"/>
                  </a:lnTo>
                  <a:lnTo>
                    <a:pt x="992" y="911"/>
                  </a:lnTo>
                  <a:lnTo>
                    <a:pt x="992" y="908"/>
                  </a:lnTo>
                  <a:lnTo>
                    <a:pt x="992" y="908"/>
                  </a:lnTo>
                  <a:lnTo>
                    <a:pt x="992" y="906"/>
                  </a:lnTo>
                  <a:lnTo>
                    <a:pt x="992" y="906"/>
                  </a:lnTo>
                  <a:lnTo>
                    <a:pt x="992" y="906"/>
                  </a:lnTo>
                  <a:lnTo>
                    <a:pt x="996" y="906"/>
                  </a:lnTo>
                  <a:lnTo>
                    <a:pt x="996" y="906"/>
                  </a:lnTo>
                  <a:lnTo>
                    <a:pt x="1001" y="904"/>
                  </a:lnTo>
                  <a:lnTo>
                    <a:pt x="1003" y="902"/>
                  </a:lnTo>
                  <a:lnTo>
                    <a:pt x="1005" y="897"/>
                  </a:lnTo>
                  <a:lnTo>
                    <a:pt x="1007" y="889"/>
                  </a:lnTo>
                  <a:lnTo>
                    <a:pt x="1010" y="886"/>
                  </a:lnTo>
                  <a:lnTo>
                    <a:pt x="1016" y="884"/>
                  </a:lnTo>
                  <a:lnTo>
                    <a:pt x="1018" y="882"/>
                  </a:lnTo>
                  <a:lnTo>
                    <a:pt x="1018" y="882"/>
                  </a:lnTo>
                  <a:lnTo>
                    <a:pt x="1018" y="880"/>
                  </a:lnTo>
                  <a:lnTo>
                    <a:pt x="1021" y="880"/>
                  </a:lnTo>
                  <a:lnTo>
                    <a:pt x="1027" y="880"/>
                  </a:lnTo>
                  <a:lnTo>
                    <a:pt x="1032" y="880"/>
                  </a:lnTo>
                  <a:lnTo>
                    <a:pt x="1034" y="880"/>
                  </a:lnTo>
                  <a:lnTo>
                    <a:pt x="1038" y="878"/>
                  </a:lnTo>
                  <a:lnTo>
                    <a:pt x="1047" y="871"/>
                  </a:lnTo>
                  <a:lnTo>
                    <a:pt x="1058" y="864"/>
                  </a:lnTo>
                  <a:lnTo>
                    <a:pt x="1060" y="862"/>
                  </a:lnTo>
                  <a:lnTo>
                    <a:pt x="1062" y="858"/>
                  </a:lnTo>
                  <a:lnTo>
                    <a:pt x="1067" y="851"/>
                  </a:lnTo>
                  <a:lnTo>
                    <a:pt x="1067" y="851"/>
                  </a:lnTo>
                  <a:lnTo>
                    <a:pt x="1069" y="851"/>
                  </a:lnTo>
                  <a:lnTo>
                    <a:pt x="1071" y="851"/>
                  </a:lnTo>
                  <a:lnTo>
                    <a:pt x="1073" y="851"/>
                  </a:lnTo>
                  <a:lnTo>
                    <a:pt x="1073" y="851"/>
                  </a:lnTo>
                  <a:lnTo>
                    <a:pt x="1075" y="851"/>
                  </a:lnTo>
                  <a:lnTo>
                    <a:pt x="1080" y="847"/>
                  </a:lnTo>
                  <a:lnTo>
                    <a:pt x="1084" y="847"/>
                  </a:lnTo>
                  <a:lnTo>
                    <a:pt x="1093" y="838"/>
                  </a:lnTo>
                  <a:lnTo>
                    <a:pt x="1097" y="834"/>
                  </a:lnTo>
                  <a:lnTo>
                    <a:pt x="1102" y="834"/>
                  </a:lnTo>
                  <a:lnTo>
                    <a:pt x="1117" y="832"/>
                  </a:lnTo>
                  <a:lnTo>
                    <a:pt x="1117" y="832"/>
                  </a:lnTo>
                  <a:lnTo>
                    <a:pt x="1119" y="829"/>
                  </a:lnTo>
                  <a:lnTo>
                    <a:pt x="1119" y="829"/>
                  </a:lnTo>
                  <a:lnTo>
                    <a:pt x="1119" y="827"/>
                  </a:lnTo>
                  <a:lnTo>
                    <a:pt x="1122" y="827"/>
                  </a:lnTo>
                  <a:lnTo>
                    <a:pt x="1122" y="827"/>
                  </a:lnTo>
                  <a:lnTo>
                    <a:pt x="1126" y="829"/>
                  </a:lnTo>
                  <a:lnTo>
                    <a:pt x="1128" y="829"/>
                  </a:lnTo>
                  <a:lnTo>
                    <a:pt x="1133" y="829"/>
                  </a:lnTo>
                  <a:lnTo>
                    <a:pt x="1135" y="827"/>
                  </a:lnTo>
                  <a:lnTo>
                    <a:pt x="1137" y="827"/>
                  </a:lnTo>
                  <a:lnTo>
                    <a:pt x="1139" y="829"/>
                  </a:lnTo>
                  <a:lnTo>
                    <a:pt x="1141" y="832"/>
                  </a:lnTo>
                  <a:lnTo>
                    <a:pt x="1144" y="832"/>
                  </a:lnTo>
                  <a:lnTo>
                    <a:pt x="1144" y="832"/>
                  </a:lnTo>
                  <a:lnTo>
                    <a:pt x="1148" y="832"/>
                  </a:lnTo>
                  <a:lnTo>
                    <a:pt x="1150" y="827"/>
                  </a:lnTo>
                  <a:lnTo>
                    <a:pt x="1152" y="827"/>
                  </a:lnTo>
                  <a:lnTo>
                    <a:pt x="1152" y="832"/>
                  </a:lnTo>
                  <a:lnTo>
                    <a:pt x="1161" y="827"/>
                  </a:lnTo>
                  <a:lnTo>
                    <a:pt x="1163" y="827"/>
                  </a:lnTo>
                  <a:lnTo>
                    <a:pt x="1168" y="827"/>
                  </a:lnTo>
                  <a:lnTo>
                    <a:pt x="1170" y="827"/>
                  </a:lnTo>
                  <a:lnTo>
                    <a:pt x="1170" y="827"/>
                  </a:lnTo>
                  <a:lnTo>
                    <a:pt x="1172" y="823"/>
                  </a:lnTo>
                  <a:lnTo>
                    <a:pt x="1172" y="821"/>
                  </a:lnTo>
                  <a:lnTo>
                    <a:pt x="1174" y="821"/>
                  </a:lnTo>
                  <a:lnTo>
                    <a:pt x="1179" y="821"/>
                  </a:lnTo>
                  <a:lnTo>
                    <a:pt x="1183" y="821"/>
                  </a:lnTo>
                  <a:lnTo>
                    <a:pt x="1192" y="818"/>
                  </a:lnTo>
                  <a:lnTo>
                    <a:pt x="1194" y="818"/>
                  </a:lnTo>
                  <a:lnTo>
                    <a:pt x="1196" y="821"/>
                  </a:lnTo>
                  <a:lnTo>
                    <a:pt x="1198" y="823"/>
                  </a:lnTo>
                  <a:lnTo>
                    <a:pt x="1198" y="823"/>
                  </a:lnTo>
                  <a:lnTo>
                    <a:pt x="1201" y="823"/>
                  </a:lnTo>
                  <a:lnTo>
                    <a:pt x="1203" y="821"/>
                  </a:lnTo>
                  <a:lnTo>
                    <a:pt x="1205" y="818"/>
                  </a:lnTo>
                  <a:lnTo>
                    <a:pt x="1205" y="818"/>
                  </a:lnTo>
                  <a:lnTo>
                    <a:pt x="1207" y="818"/>
                  </a:lnTo>
                  <a:lnTo>
                    <a:pt x="1207" y="821"/>
                  </a:lnTo>
                  <a:lnTo>
                    <a:pt x="1207" y="821"/>
                  </a:lnTo>
                  <a:lnTo>
                    <a:pt x="1209" y="816"/>
                  </a:lnTo>
                  <a:lnTo>
                    <a:pt x="1209" y="816"/>
                  </a:lnTo>
                  <a:lnTo>
                    <a:pt x="1209" y="814"/>
                  </a:lnTo>
                  <a:lnTo>
                    <a:pt x="1209" y="812"/>
                  </a:lnTo>
                  <a:lnTo>
                    <a:pt x="1214" y="810"/>
                  </a:lnTo>
                  <a:lnTo>
                    <a:pt x="1218" y="807"/>
                  </a:lnTo>
                  <a:lnTo>
                    <a:pt x="1223" y="807"/>
                  </a:lnTo>
                  <a:lnTo>
                    <a:pt x="1227" y="814"/>
                  </a:lnTo>
                  <a:lnTo>
                    <a:pt x="1229" y="812"/>
                  </a:lnTo>
                  <a:lnTo>
                    <a:pt x="1231" y="807"/>
                  </a:lnTo>
                  <a:lnTo>
                    <a:pt x="1236" y="805"/>
                  </a:lnTo>
                  <a:lnTo>
                    <a:pt x="1236" y="807"/>
                  </a:lnTo>
                  <a:lnTo>
                    <a:pt x="1238" y="810"/>
                  </a:lnTo>
                  <a:lnTo>
                    <a:pt x="1240" y="812"/>
                  </a:lnTo>
                  <a:lnTo>
                    <a:pt x="1242" y="812"/>
                  </a:lnTo>
                  <a:lnTo>
                    <a:pt x="1245" y="812"/>
                  </a:lnTo>
                  <a:lnTo>
                    <a:pt x="1247" y="807"/>
                  </a:lnTo>
                  <a:lnTo>
                    <a:pt x="1251" y="805"/>
                  </a:lnTo>
                  <a:lnTo>
                    <a:pt x="1262" y="810"/>
                  </a:lnTo>
                  <a:lnTo>
                    <a:pt x="1264" y="807"/>
                  </a:lnTo>
                  <a:lnTo>
                    <a:pt x="1267" y="803"/>
                  </a:lnTo>
                  <a:lnTo>
                    <a:pt x="1269" y="805"/>
                  </a:lnTo>
                  <a:lnTo>
                    <a:pt x="1273" y="810"/>
                  </a:lnTo>
                  <a:lnTo>
                    <a:pt x="1275" y="805"/>
                  </a:lnTo>
                  <a:lnTo>
                    <a:pt x="1277" y="801"/>
                  </a:lnTo>
                  <a:lnTo>
                    <a:pt x="1280" y="799"/>
                  </a:lnTo>
                  <a:lnTo>
                    <a:pt x="1286" y="794"/>
                  </a:lnTo>
                  <a:lnTo>
                    <a:pt x="1288" y="790"/>
                  </a:lnTo>
                  <a:lnTo>
                    <a:pt x="1288" y="788"/>
                  </a:lnTo>
                  <a:lnTo>
                    <a:pt x="1291" y="783"/>
                  </a:lnTo>
                  <a:lnTo>
                    <a:pt x="1293" y="783"/>
                  </a:lnTo>
                  <a:lnTo>
                    <a:pt x="1295" y="781"/>
                  </a:lnTo>
                  <a:lnTo>
                    <a:pt x="1297" y="781"/>
                  </a:lnTo>
                  <a:lnTo>
                    <a:pt x="1295" y="777"/>
                  </a:lnTo>
                  <a:lnTo>
                    <a:pt x="1295" y="772"/>
                  </a:lnTo>
                  <a:lnTo>
                    <a:pt x="1297" y="770"/>
                  </a:lnTo>
                  <a:lnTo>
                    <a:pt x="1306" y="766"/>
                  </a:lnTo>
                  <a:lnTo>
                    <a:pt x="1308" y="766"/>
                  </a:lnTo>
                  <a:lnTo>
                    <a:pt x="1319" y="770"/>
                  </a:lnTo>
                  <a:lnTo>
                    <a:pt x="1324" y="770"/>
                  </a:lnTo>
                  <a:lnTo>
                    <a:pt x="1326" y="768"/>
                  </a:lnTo>
                  <a:lnTo>
                    <a:pt x="1328" y="764"/>
                  </a:lnTo>
                  <a:lnTo>
                    <a:pt x="1330" y="761"/>
                  </a:lnTo>
                  <a:lnTo>
                    <a:pt x="1332" y="759"/>
                  </a:lnTo>
                  <a:lnTo>
                    <a:pt x="1335" y="759"/>
                  </a:lnTo>
                  <a:lnTo>
                    <a:pt x="1335" y="764"/>
                  </a:lnTo>
                  <a:lnTo>
                    <a:pt x="1335" y="766"/>
                  </a:lnTo>
                  <a:lnTo>
                    <a:pt x="1335" y="768"/>
                  </a:lnTo>
                  <a:lnTo>
                    <a:pt x="1343" y="774"/>
                  </a:lnTo>
                  <a:lnTo>
                    <a:pt x="1346" y="772"/>
                  </a:lnTo>
                  <a:lnTo>
                    <a:pt x="1346" y="768"/>
                  </a:lnTo>
                  <a:lnTo>
                    <a:pt x="1348" y="766"/>
                  </a:lnTo>
                  <a:lnTo>
                    <a:pt x="1350" y="764"/>
                  </a:lnTo>
                  <a:lnTo>
                    <a:pt x="1354" y="766"/>
                  </a:lnTo>
                  <a:lnTo>
                    <a:pt x="1354" y="768"/>
                  </a:lnTo>
                  <a:lnTo>
                    <a:pt x="1354" y="770"/>
                  </a:lnTo>
                  <a:lnTo>
                    <a:pt x="1357" y="772"/>
                  </a:lnTo>
                  <a:lnTo>
                    <a:pt x="1359" y="770"/>
                  </a:lnTo>
                  <a:lnTo>
                    <a:pt x="1368" y="764"/>
                  </a:lnTo>
                  <a:lnTo>
                    <a:pt x="1370" y="764"/>
                  </a:lnTo>
                  <a:lnTo>
                    <a:pt x="1372" y="764"/>
                  </a:lnTo>
                  <a:lnTo>
                    <a:pt x="1376" y="764"/>
                  </a:lnTo>
                  <a:lnTo>
                    <a:pt x="1378" y="764"/>
                  </a:lnTo>
                  <a:lnTo>
                    <a:pt x="1383" y="768"/>
                  </a:lnTo>
                  <a:lnTo>
                    <a:pt x="1385" y="768"/>
                  </a:lnTo>
                  <a:lnTo>
                    <a:pt x="1389" y="764"/>
                  </a:lnTo>
                  <a:lnTo>
                    <a:pt x="1392" y="764"/>
                  </a:lnTo>
                  <a:lnTo>
                    <a:pt x="1394" y="766"/>
                  </a:lnTo>
                  <a:lnTo>
                    <a:pt x="1394" y="770"/>
                  </a:lnTo>
                  <a:lnTo>
                    <a:pt x="1396" y="772"/>
                  </a:lnTo>
                  <a:lnTo>
                    <a:pt x="1394" y="781"/>
                  </a:lnTo>
                  <a:lnTo>
                    <a:pt x="1394" y="783"/>
                  </a:lnTo>
                  <a:lnTo>
                    <a:pt x="1396" y="785"/>
                  </a:lnTo>
                  <a:lnTo>
                    <a:pt x="1405" y="794"/>
                  </a:lnTo>
                  <a:lnTo>
                    <a:pt x="1407" y="794"/>
                  </a:lnTo>
                  <a:lnTo>
                    <a:pt x="1407" y="794"/>
                  </a:lnTo>
                  <a:lnTo>
                    <a:pt x="1409" y="794"/>
                  </a:lnTo>
                  <a:lnTo>
                    <a:pt x="1411" y="796"/>
                  </a:lnTo>
                  <a:lnTo>
                    <a:pt x="1411" y="799"/>
                  </a:lnTo>
                  <a:lnTo>
                    <a:pt x="1414" y="801"/>
                  </a:lnTo>
                  <a:lnTo>
                    <a:pt x="1418" y="799"/>
                  </a:lnTo>
                  <a:lnTo>
                    <a:pt x="1420" y="792"/>
                  </a:lnTo>
                  <a:lnTo>
                    <a:pt x="1422" y="788"/>
                  </a:lnTo>
                  <a:lnTo>
                    <a:pt x="1427" y="785"/>
                  </a:lnTo>
                  <a:lnTo>
                    <a:pt x="1431" y="785"/>
                  </a:lnTo>
                  <a:lnTo>
                    <a:pt x="1436" y="788"/>
                  </a:lnTo>
                  <a:lnTo>
                    <a:pt x="1436" y="790"/>
                  </a:lnTo>
                  <a:lnTo>
                    <a:pt x="1438" y="794"/>
                  </a:lnTo>
                  <a:lnTo>
                    <a:pt x="1438" y="796"/>
                  </a:lnTo>
                  <a:lnTo>
                    <a:pt x="1440" y="799"/>
                  </a:lnTo>
                  <a:lnTo>
                    <a:pt x="1442" y="801"/>
                  </a:lnTo>
                  <a:lnTo>
                    <a:pt x="1447" y="801"/>
                  </a:lnTo>
                  <a:lnTo>
                    <a:pt x="1449" y="801"/>
                  </a:lnTo>
                  <a:lnTo>
                    <a:pt x="1455" y="796"/>
                  </a:lnTo>
                  <a:lnTo>
                    <a:pt x="1458" y="792"/>
                  </a:lnTo>
                  <a:lnTo>
                    <a:pt x="1460" y="788"/>
                  </a:lnTo>
                  <a:lnTo>
                    <a:pt x="1460" y="781"/>
                  </a:lnTo>
                  <a:lnTo>
                    <a:pt x="1460" y="781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  <p:sp>
          <p:nvSpPr>
            <p:cNvPr id="128" name="Freeform 30"/>
            <p:cNvSpPr>
              <a:spLocks/>
            </p:cNvSpPr>
            <p:nvPr/>
          </p:nvSpPr>
          <p:spPr bwMode="auto">
            <a:xfrm>
              <a:off x="4471988" y="1916113"/>
              <a:ext cx="473075" cy="1198562"/>
            </a:xfrm>
            <a:custGeom>
              <a:avLst/>
              <a:gdLst>
                <a:gd name="T0" fmla="*/ 281 w 298"/>
                <a:gd name="T1" fmla="*/ 588 h 755"/>
                <a:gd name="T2" fmla="*/ 226 w 298"/>
                <a:gd name="T3" fmla="*/ 566 h 755"/>
                <a:gd name="T4" fmla="*/ 197 w 298"/>
                <a:gd name="T5" fmla="*/ 501 h 755"/>
                <a:gd name="T6" fmla="*/ 197 w 298"/>
                <a:gd name="T7" fmla="*/ 468 h 755"/>
                <a:gd name="T8" fmla="*/ 191 w 298"/>
                <a:gd name="T9" fmla="*/ 376 h 755"/>
                <a:gd name="T10" fmla="*/ 186 w 298"/>
                <a:gd name="T11" fmla="*/ 340 h 755"/>
                <a:gd name="T12" fmla="*/ 204 w 298"/>
                <a:gd name="T13" fmla="*/ 307 h 755"/>
                <a:gd name="T14" fmla="*/ 224 w 298"/>
                <a:gd name="T15" fmla="*/ 268 h 755"/>
                <a:gd name="T16" fmla="*/ 230 w 298"/>
                <a:gd name="T17" fmla="*/ 196 h 755"/>
                <a:gd name="T18" fmla="*/ 222 w 298"/>
                <a:gd name="T19" fmla="*/ 167 h 755"/>
                <a:gd name="T20" fmla="*/ 211 w 298"/>
                <a:gd name="T21" fmla="*/ 138 h 755"/>
                <a:gd name="T22" fmla="*/ 204 w 298"/>
                <a:gd name="T23" fmla="*/ 95 h 755"/>
                <a:gd name="T24" fmla="*/ 186 w 298"/>
                <a:gd name="T25" fmla="*/ 38 h 755"/>
                <a:gd name="T26" fmla="*/ 169 w 298"/>
                <a:gd name="T27" fmla="*/ 5 h 755"/>
                <a:gd name="T28" fmla="*/ 116 w 298"/>
                <a:gd name="T29" fmla="*/ 66 h 755"/>
                <a:gd name="T30" fmla="*/ 114 w 298"/>
                <a:gd name="T31" fmla="*/ 86 h 755"/>
                <a:gd name="T32" fmla="*/ 101 w 298"/>
                <a:gd name="T33" fmla="*/ 99 h 755"/>
                <a:gd name="T34" fmla="*/ 81 w 298"/>
                <a:gd name="T35" fmla="*/ 77 h 755"/>
                <a:gd name="T36" fmla="*/ 77 w 298"/>
                <a:gd name="T37" fmla="*/ 97 h 755"/>
                <a:gd name="T38" fmla="*/ 68 w 298"/>
                <a:gd name="T39" fmla="*/ 125 h 755"/>
                <a:gd name="T40" fmla="*/ 63 w 298"/>
                <a:gd name="T41" fmla="*/ 134 h 755"/>
                <a:gd name="T42" fmla="*/ 57 w 298"/>
                <a:gd name="T43" fmla="*/ 158 h 755"/>
                <a:gd name="T44" fmla="*/ 50 w 298"/>
                <a:gd name="T45" fmla="*/ 182 h 755"/>
                <a:gd name="T46" fmla="*/ 37 w 298"/>
                <a:gd name="T47" fmla="*/ 191 h 755"/>
                <a:gd name="T48" fmla="*/ 17 w 298"/>
                <a:gd name="T49" fmla="*/ 248 h 755"/>
                <a:gd name="T50" fmla="*/ 24 w 298"/>
                <a:gd name="T51" fmla="*/ 277 h 755"/>
                <a:gd name="T52" fmla="*/ 17 w 298"/>
                <a:gd name="T53" fmla="*/ 297 h 755"/>
                <a:gd name="T54" fmla="*/ 31 w 298"/>
                <a:gd name="T55" fmla="*/ 351 h 755"/>
                <a:gd name="T56" fmla="*/ 35 w 298"/>
                <a:gd name="T57" fmla="*/ 378 h 755"/>
                <a:gd name="T58" fmla="*/ 22 w 298"/>
                <a:gd name="T59" fmla="*/ 406 h 755"/>
                <a:gd name="T60" fmla="*/ 28 w 298"/>
                <a:gd name="T61" fmla="*/ 463 h 755"/>
                <a:gd name="T62" fmla="*/ 28 w 298"/>
                <a:gd name="T63" fmla="*/ 476 h 755"/>
                <a:gd name="T64" fmla="*/ 9 w 298"/>
                <a:gd name="T65" fmla="*/ 503 h 755"/>
                <a:gd name="T66" fmla="*/ 4 w 298"/>
                <a:gd name="T67" fmla="*/ 509 h 755"/>
                <a:gd name="T68" fmla="*/ 9 w 298"/>
                <a:gd name="T69" fmla="*/ 514 h 755"/>
                <a:gd name="T70" fmla="*/ 2 w 298"/>
                <a:gd name="T71" fmla="*/ 520 h 755"/>
                <a:gd name="T72" fmla="*/ 2 w 298"/>
                <a:gd name="T73" fmla="*/ 536 h 755"/>
                <a:gd name="T74" fmla="*/ 13 w 298"/>
                <a:gd name="T75" fmla="*/ 555 h 755"/>
                <a:gd name="T76" fmla="*/ 28 w 298"/>
                <a:gd name="T77" fmla="*/ 575 h 755"/>
                <a:gd name="T78" fmla="*/ 39 w 298"/>
                <a:gd name="T79" fmla="*/ 580 h 755"/>
                <a:gd name="T80" fmla="*/ 63 w 298"/>
                <a:gd name="T81" fmla="*/ 604 h 755"/>
                <a:gd name="T82" fmla="*/ 107 w 298"/>
                <a:gd name="T83" fmla="*/ 648 h 755"/>
                <a:gd name="T84" fmla="*/ 121 w 298"/>
                <a:gd name="T85" fmla="*/ 665 h 755"/>
                <a:gd name="T86" fmla="*/ 140 w 298"/>
                <a:gd name="T87" fmla="*/ 720 h 755"/>
                <a:gd name="T88" fmla="*/ 140 w 298"/>
                <a:gd name="T89" fmla="*/ 729 h 755"/>
                <a:gd name="T90" fmla="*/ 143 w 298"/>
                <a:gd name="T91" fmla="*/ 751 h 755"/>
                <a:gd name="T92" fmla="*/ 167 w 298"/>
                <a:gd name="T93" fmla="*/ 749 h 755"/>
                <a:gd name="T94" fmla="*/ 186 w 298"/>
                <a:gd name="T95" fmla="*/ 746 h 755"/>
                <a:gd name="T96" fmla="*/ 193 w 298"/>
                <a:gd name="T97" fmla="*/ 696 h 755"/>
                <a:gd name="T98" fmla="*/ 204 w 298"/>
                <a:gd name="T99" fmla="*/ 672 h 755"/>
                <a:gd name="T100" fmla="*/ 235 w 298"/>
                <a:gd name="T101" fmla="*/ 678 h 755"/>
                <a:gd name="T102" fmla="*/ 265 w 298"/>
                <a:gd name="T103" fmla="*/ 672 h 755"/>
                <a:gd name="T104" fmla="*/ 279 w 298"/>
                <a:gd name="T105" fmla="*/ 648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755">
                  <a:moveTo>
                    <a:pt x="298" y="621"/>
                  </a:moveTo>
                  <a:lnTo>
                    <a:pt x="294" y="608"/>
                  </a:lnTo>
                  <a:lnTo>
                    <a:pt x="292" y="604"/>
                  </a:lnTo>
                  <a:lnTo>
                    <a:pt x="290" y="599"/>
                  </a:lnTo>
                  <a:lnTo>
                    <a:pt x="285" y="593"/>
                  </a:lnTo>
                  <a:lnTo>
                    <a:pt x="281" y="588"/>
                  </a:lnTo>
                  <a:lnTo>
                    <a:pt x="279" y="584"/>
                  </a:lnTo>
                  <a:lnTo>
                    <a:pt x="272" y="582"/>
                  </a:lnTo>
                  <a:lnTo>
                    <a:pt x="263" y="577"/>
                  </a:lnTo>
                  <a:lnTo>
                    <a:pt x="239" y="571"/>
                  </a:lnTo>
                  <a:lnTo>
                    <a:pt x="230" y="569"/>
                  </a:lnTo>
                  <a:lnTo>
                    <a:pt x="226" y="566"/>
                  </a:lnTo>
                  <a:lnTo>
                    <a:pt x="224" y="564"/>
                  </a:lnTo>
                  <a:lnTo>
                    <a:pt x="219" y="558"/>
                  </a:lnTo>
                  <a:lnTo>
                    <a:pt x="215" y="547"/>
                  </a:lnTo>
                  <a:lnTo>
                    <a:pt x="195" y="514"/>
                  </a:lnTo>
                  <a:lnTo>
                    <a:pt x="195" y="505"/>
                  </a:lnTo>
                  <a:lnTo>
                    <a:pt x="197" y="501"/>
                  </a:lnTo>
                  <a:lnTo>
                    <a:pt x="200" y="496"/>
                  </a:lnTo>
                  <a:lnTo>
                    <a:pt x="200" y="492"/>
                  </a:lnTo>
                  <a:lnTo>
                    <a:pt x="200" y="490"/>
                  </a:lnTo>
                  <a:lnTo>
                    <a:pt x="195" y="472"/>
                  </a:lnTo>
                  <a:lnTo>
                    <a:pt x="195" y="470"/>
                  </a:lnTo>
                  <a:lnTo>
                    <a:pt x="197" y="468"/>
                  </a:lnTo>
                  <a:lnTo>
                    <a:pt x="197" y="463"/>
                  </a:lnTo>
                  <a:lnTo>
                    <a:pt x="204" y="457"/>
                  </a:lnTo>
                  <a:lnTo>
                    <a:pt x="211" y="450"/>
                  </a:lnTo>
                  <a:lnTo>
                    <a:pt x="197" y="422"/>
                  </a:lnTo>
                  <a:lnTo>
                    <a:pt x="193" y="402"/>
                  </a:lnTo>
                  <a:lnTo>
                    <a:pt x="191" y="376"/>
                  </a:lnTo>
                  <a:lnTo>
                    <a:pt x="189" y="367"/>
                  </a:lnTo>
                  <a:lnTo>
                    <a:pt x="186" y="362"/>
                  </a:lnTo>
                  <a:lnTo>
                    <a:pt x="186" y="358"/>
                  </a:lnTo>
                  <a:lnTo>
                    <a:pt x="184" y="356"/>
                  </a:lnTo>
                  <a:lnTo>
                    <a:pt x="184" y="349"/>
                  </a:lnTo>
                  <a:lnTo>
                    <a:pt x="186" y="340"/>
                  </a:lnTo>
                  <a:lnTo>
                    <a:pt x="186" y="334"/>
                  </a:lnTo>
                  <a:lnTo>
                    <a:pt x="191" y="323"/>
                  </a:lnTo>
                  <a:lnTo>
                    <a:pt x="195" y="318"/>
                  </a:lnTo>
                  <a:lnTo>
                    <a:pt x="197" y="314"/>
                  </a:lnTo>
                  <a:lnTo>
                    <a:pt x="202" y="310"/>
                  </a:lnTo>
                  <a:lnTo>
                    <a:pt x="204" y="307"/>
                  </a:lnTo>
                  <a:lnTo>
                    <a:pt x="206" y="305"/>
                  </a:lnTo>
                  <a:lnTo>
                    <a:pt x="211" y="297"/>
                  </a:lnTo>
                  <a:lnTo>
                    <a:pt x="215" y="283"/>
                  </a:lnTo>
                  <a:lnTo>
                    <a:pt x="219" y="277"/>
                  </a:lnTo>
                  <a:lnTo>
                    <a:pt x="222" y="272"/>
                  </a:lnTo>
                  <a:lnTo>
                    <a:pt x="224" y="268"/>
                  </a:lnTo>
                  <a:lnTo>
                    <a:pt x="224" y="255"/>
                  </a:lnTo>
                  <a:lnTo>
                    <a:pt x="224" y="242"/>
                  </a:lnTo>
                  <a:lnTo>
                    <a:pt x="226" y="211"/>
                  </a:lnTo>
                  <a:lnTo>
                    <a:pt x="226" y="204"/>
                  </a:lnTo>
                  <a:lnTo>
                    <a:pt x="230" y="198"/>
                  </a:lnTo>
                  <a:lnTo>
                    <a:pt x="230" y="196"/>
                  </a:lnTo>
                  <a:lnTo>
                    <a:pt x="228" y="193"/>
                  </a:lnTo>
                  <a:lnTo>
                    <a:pt x="228" y="191"/>
                  </a:lnTo>
                  <a:lnTo>
                    <a:pt x="226" y="185"/>
                  </a:lnTo>
                  <a:lnTo>
                    <a:pt x="226" y="174"/>
                  </a:lnTo>
                  <a:lnTo>
                    <a:pt x="224" y="171"/>
                  </a:lnTo>
                  <a:lnTo>
                    <a:pt x="222" y="167"/>
                  </a:lnTo>
                  <a:lnTo>
                    <a:pt x="222" y="163"/>
                  </a:lnTo>
                  <a:lnTo>
                    <a:pt x="213" y="152"/>
                  </a:lnTo>
                  <a:lnTo>
                    <a:pt x="213" y="149"/>
                  </a:lnTo>
                  <a:lnTo>
                    <a:pt x="211" y="147"/>
                  </a:lnTo>
                  <a:lnTo>
                    <a:pt x="211" y="143"/>
                  </a:lnTo>
                  <a:lnTo>
                    <a:pt x="211" y="138"/>
                  </a:lnTo>
                  <a:lnTo>
                    <a:pt x="211" y="132"/>
                  </a:lnTo>
                  <a:lnTo>
                    <a:pt x="211" y="128"/>
                  </a:lnTo>
                  <a:lnTo>
                    <a:pt x="211" y="125"/>
                  </a:lnTo>
                  <a:lnTo>
                    <a:pt x="211" y="123"/>
                  </a:lnTo>
                  <a:lnTo>
                    <a:pt x="206" y="112"/>
                  </a:lnTo>
                  <a:lnTo>
                    <a:pt x="204" y="95"/>
                  </a:lnTo>
                  <a:lnTo>
                    <a:pt x="202" y="88"/>
                  </a:lnTo>
                  <a:lnTo>
                    <a:pt x="197" y="75"/>
                  </a:lnTo>
                  <a:lnTo>
                    <a:pt x="189" y="59"/>
                  </a:lnTo>
                  <a:lnTo>
                    <a:pt x="186" y="57"/>
                  </a:lnTo>
                  <a:lnTo>
                    <a:pt x="186" y="53"/>
                  </a:lnTo>
                  <a:lnTo>
                    <a:pt x="186" y="38"/>
                  </a:lnTo>
                  <a:lnTo>
                    <a:pt x="186" y="33"/>
                  </a:lnTo>
                  <a:lnTo>
                    <a:pt x="182" y="20"/>
                  </a:lnTo>
                  <a:lnTo>
                    <a:pt x="178" y="0"/>
                  </a:lnTo>
                  <a:lnTo>
                    <a:pt x="178" y="0"/>
                  </a:lnTo>
                  <a:lnTo>
                    <a:pt x="171" y="2"/>
                  </a:lnTo>
                  <a:lnTo>
                    <a:pt x="169" y="5"/>
                  </a:lnTo>
                  <a:lnTo>
                    <a:pt x="153" y="16"/>
                  </a:lnTo>
                  <a:lnTo>
                    <a:pt x="136" y="40"/>
                  </a:lnTo>
                  <a:lnTo>
                    <a:pt x="127" y="49"/>
                  </a:lnTo>
                  <a:lnTo>
                    <a:pt x="123" y="51"/>
                  </a:lnTo>
                  <a:lnTo>
                    <a:pt x="118" y="62"/>
                  </a:lnTo>
                  <a:lnTo>
                    <a:pt x="116" y="66"/>
                  </a:lnTo>
                  <a:lnTo>
                    <a:pt x="110" y="70"/>
                  </a:lnTo>
                  <a:lnTo>
                    <a:pt x="107" y="73"/>
                  </a:lnTo>
                  <a:lnTo>
                    <a:pt x="107" y="77"/>
                  </a:lnTo>
                  <a:lnTo>
                    <a:pt x="110" y="81"/>
                  </a:lnTo>
                  <a:lnTo>
                    <a:pt x="112" y="84"/>
                  </a:lnTo>
                  <a:lnTo>
                    <a:pt x="114" y="86"/>
                  </a:lnTo>
                  <a:lnTo>
                    <a:pt x="114" y="90"/>
                  </a:lnTo>
                  <a:lnTo>
                    <a:pt x="112" y="95"/>
                  </a:lnTo>
                  <a:lnTo>
                    <a:pt x="110" y="95"/>
                  </a:lnTo>
                  <a:lnTo>
                    <a:pt x="107" y="97"/>
                  </a:lnTo>
                  <a:lnTo>
                    <a:pt x="103" y="99"/>
                  </a:lnTo>
                  <a:lnTo>
                    <a:pt x="101" y="99"/>
                  </a:lnTo>
                  <a:lnTo>
                    <a:pt x="99" y="97"/>
                  </a:lnTo>
                  <a:lnTo>
                    <a:pt x="96" y="84"/>
                  </a:lnTo>
                  <a:lnTo>
                    <a:pt x="96" y="81"/>
                  </a:lnTo>
                  <a:lnTo>
                    <a:pt x="94" y="79"/>
                  </a:lnTo>
                  <a:lnTo>
                    <a:pt x="85" y="77"/>
                  </a:lnTo>
                  <a:lnTo>
                    <a:pt x="81" y="77"/>
                  </a:lnTo>
                  <a:lnTo>
                    <a:pt x="79" y="77"/>
                  </a:lnTo>
                  <a:lnTo>
                    <a:pt x="77" y="81"/>
                  </a:lnTo>
                  <a:lnTo>
                    <a:pt x="77" y="84"/>
                  </a:lnTo>
                  <a:lnTo>
                    <a:pt x="77" y="86"/>
                  </a:lnTo>
                  <a:lnTo>
                    <a:pt x="77" y="88"/>
                  </a:lnTo>
                  <a:lnTo>
                    <a:pt x="77" y="97"/>
                  </a:lnTo>
                  <a:lnTo>
                    <a:pt x="74" y="103"/>
                  </a:lnTo>
                  <a:lnTo>
                    <a:pt x="72" y="106"/>
                  </a:lnTo>
                  <a:lnTo>
                    <a:pt x="70" y="112"/>
                  </a:lnTo>
                  <a:lnTo>
                    <a:pt x="68" y="117"/>
                  </a:lnTo>
                  <a:lnTo>
                    <a:pt x="68" y="119"/>
                  </a:lnTo>
                  <a:lnTo>
                    <a:pt x="68" y="125"/>
                  </a:lnTo>
                  <a:lnTo>
                    <a:pt x="68" y="130"/>
                  </a:lnTo>
                  <a:lnTo>
                    <a:pt x="68" y="132"/>
                  </a:lnTo>
                  <a:lnTo>
                    <a:pt x="68" y="134"/>
                  </a:lnTo>
                  <a:lnTo>
                    <a:pt x="66" y="134"/>
                  </a:lnTo>
                  <a:lnTo>
                    <a:pt x="63" y="134"/>
                  </a:lnTo>
                  <a:lnTo>
                    <a:pt x="63" y="134"/>
                  </a:lnTo>
                  <a:lnTo>
                    <a:pt x="63" y="136"/>
                  </a:lnTo>
                  <a:lnTo>
                    <a:pt x="66" y="149"/>
                  </a:lnTo>
                  <a:lnTo>
                    <a:pt x="66" y="152"/>
                  </a:lnTo>
                  <a:lnTo>
                    <a:pt x="61" y="156"/>
                  </a:lnTo>
                  <a:lnTo>
                    <a:pt x="59" y="158"/>
                  </a:lnTo>
                  <a:lnTo>
                    <a:pt x="57" y="158"/>
                  </a:lnTo>
                  <a:lnTo>
                    <a:pt x="57" y="160"/>
                  </a:lnTo>
                  <a:lnTo>
                    <a:pt x="55" y="163"/>
                  </a:lnTo>
                  <a:lnTo>
                    <a:pt x="52" y="167"/>
                  </a:lnTo>
                  <a:lnTo>
                    <a:pt x="50" y="180"/>
                  </a:lnTo>
                  <a:lnTo>
                    <a:pt x="50" y="182"/>
                  </a:lnTo>
                  <a:lnTo>
                    <a:pt x="50" y="182"/>
                  </a:lnTo>
                  <a:lnTo>
                    <a:pt x="48" y="185"/>
                  </a:lnTo>
                  <a:lnTo>
                    <a:pt x="46" y="185"/>
                  </a:lnTo>
                  <a:lnTo>
                    <a:pt x="44" y="185"/>
                  </a:lnTo>
                  <a:lnTo>
                    <a:pt x="42" y="187"/>
                  </a:lnTo>
                  <a:lnTo>
                    <a:pt x="39" y="187"/>
                  </a:lnTo>
                  <a:lnTo>
                    <a:pt x="37" y="191"/>
                  </a:lnTo>
                  <a:lnTo>
                    <a:pt x="37" y="202"/>
                  </a:lnTo>
                  <a:lnTo>
                    <a:pt x="37" y="211"/>
                  </a:lnTo>
                  <a:lnTo>
                    <a:pt x="24" y="235"/>
                  </a:lnTo>
                  <a:lnTo>
                    <a:pt x="24" y="242"/>
                  </a:lnTo>
                  <a:lnTo>
                    <a:pt x="22" y="246"/>
                  </a:lnTo>
                  <a:lnTo>
                    <a:pt x="17" y="248"/>
                  </a:lnTo>
                  <a:lnTo>
                    <a:pt x="17" y="253"/>
                  </a:lnTo>
                  <a:lnTo>
                    <a:pt x="17" y="259"/>
                  </a:lnTo>
                  <a:lnTo>
                    <a:pt x="17" y="266"/>
                  </a:lnTo>
                  <a:lnTo>
                    <a:pt x="20" y="270"/>
                  </a:lnTo>
                  <a:lnTo>
                    <a:pt x="24" y="272"/>
                  </a:lnTo>
                  <a:lnTo>
                    <a:pt x="24" y="277"/>
                  </a:lnTo>
                  <a:lnTo>
                    <a:pt x="22" y="279"/>
                  </a:lnTo>
                  <a:lnTo>
                    <a:pt x="20" y="283"/>
                  </a:lnTo>
                  <a:lnTo>
                    <a:pt x="17" y="288"/>
                  </a:lnTo>
                  <a:lnTo>
                    <a:pt x="17" y="290"/>
                  </a:lnTo>
                  <a:lnTo>
                    <a:pt x="17" y="294"/>
                  </a:lnTo>
                  <a:lnTo>
                    <a:pt x="17" y="297"/>
                  </a:lnTo>
                  <a:lnTo>
                    <a:pt x="11" y="301"/>
                  </a:lnTo>
                  <a:lnTo>
                    <a:pt x="13" y="307"/>
                  </a:lnTo>
                  <a:lnTo>
                    <a:pt x="22" y="321"/>
                  </a:lnTo>
                  <a:lnTo>
                    <a:pt x="24" y="338"/>
                  </a:lnTo>
                  <a:lnTo>
                    <a:pt x="26" y="345"/>
                  </a:lnTo>
                  <a:lnTo>
                    <a:pt x="31" y="351"/>
                  </a:lnTo>
                  <a:lnTo>
                    <a:pt x="35" y="356"/>
                  </a:lnTo>
                  <a:lnTo>
                    <a:pt x="35" y="358"/>
                  </a:lnTo>
                  <a:lnTo>
                    <a:pt x="35" y="369"/>
                  </a:lnTo>
                  <a:lnTo>
                    <a:pt x="35" y="371"/>
                  </a:lnTo>
                  <a:lnTo>
                    <a:pt x="35" y="373"/>
                  </a:lnTo>
                  <a:lnTo>
                    <a:pt x="35" y="378"/>
                  </a:lnTo>
                  <a:lnTo>
                    <a:pt x="33" y="380"/>
                  </a:lnTo>
                  <a:lnTo>
                    <a:pt x="28" y="382"/>
                  </a:lnTo>
                  <a:lnTo>
                    <a:pt x="28" y="384"/>
                  </a:lnTo>
                  <a:lnTo>
                    <a:pt x="24" y="397"/>
                  </a:lnTo>
                  <a:lnTo>
                    <a:pt x="22" y="402"/>
                  </a:lnTo>
                  <a:lnTo>
                    <a:pt x="22" y="406"/>
                  </a:lnTo>
                  <a:lnTo>
                    <a:pt x="22" y="408"/>
                  </a:lnTo>
                  <a:lnTo>
                    <a:pt x="24" y="413"/>
                  </a:lnTo>
                  <a:lnTo>
                    <a:pt x="26" y="422"/>
                  </a:lnTo>
                  <a:lnTo>
                    <a:pt x="28" y="428"/>
                  </a:lnTo>
                  <a:lnTo>
                    <a:pt x="31" y="448"/>
                  </a:lnTo>
                  <a:lnTo>
                    <a:pt x="28" y="463"/>
                  </a:lnTo>
                  <a:lnTo>
                    <a:pt x="31" y="468"/>
                  </a:lnTo>
                  <a:lnTo>
                    <a:pt x="31" y="468"/>
                  </a:lnTo>
                  <a:lnTo>
                    <a:pt x="31" y="470"/>
                  </a:lnTo>
                  <a:lnTo>
                    <a:pt x="31" y="472"/>
                  </a:lnTo>
                  <a:lnTo>
                    <a:pt x="31" y="474"/>
                  </a:lnTo>
                  <a:lnTo>
                    <a:pt x="28" y="476"/>
                  </a:lnTo>
                  <a:lnTo>
                    <a:pt x="24" y="481"/>
                  </a:lnTo>
                  <a:lnTo>
                    <a:pt x="24" y="481"/>
                  </a:lnTo>
                  <a:lnTo>
                    <a:pt x="24" y="483"/>
                  </a:lnTo>
                  <a:lnTo>
                    <a:pt x="13" y="496"/>
                  </a:lnTo>
                  <a:lnTo>
                    <a:pt x="13" y="496"/>
                  </a:lnTo>
                  <a:lnTo>
                    <a:pt x="9" y="503"/>
                  </a:lnTo>
                  <a:lnTo>
                    <a:pt x="9" y="505"/>
                  </a:lnTo>
                  <a:lnTo>
                    <a:pt x="9" y="505"/>
                  </a:lnTo>
                  <a:lnTo>
                    <a:pt x="4" y="505"/>
                  </a:lnTo>
                  <a:lnTo>
                    <a:pt x="4" y="507"/>
                  </a:lnTo>
                  <a:lnTo>
                    <a:pt x="4" y="507"/>
                  </a:lnTo>
                  <a:lnTo>
                    <a:pt x="4" y="509"/>
                  </a:lnTo>
                  <a:lnTo>
                    <a:pt x="4" y="509"/>
                  </a:lnTo>
                  <a:lnTo>
                    <a:pt x="4" y="509"/>
                  </a:lnTo>
                  <a:lnTo>
                    <a:pt x="6" y="512"/>
                  </a:lnTo>
                  <a:lnTo>
                    <a:pt x="9" y="512"/>
                  </a:lnTo>
                  <a:lnTo>
                    <a:pt x="9" y="512"/>
                  </a:lnTo>
                  <a:lnTo>
                    <a:pt x="9" y="514"/>
                  </a:lnTo>
                  <a:lnTo>
                    <a:pt x="6" y="516"/>
                  </a:lnTo>
                  <a:lnTo>
                    <a:pt x="6" y="518"/>
                  </a:lnTo>
                  <a:lnTo>
                    <a:pt x="4" y="518"/>
                  </a:lnTo>
                  <a:lnTo>
                    <a:pt x="4" y="518"/>
                  </a:lnTo>
                  <a:lnTo>
                    <a:pt x="2" y="518"/>
                  </a:lnTo>
                  <a:lnTo>
                    <a:pt x="2" y="520"/>
                  </a:lnTo>
                  <a:lnTo>
                    <a:pt x="2" y="520"/>
                  </a:lnTo>
                  <a:lnTo>
                    <a:pt x="0" y="523"/>
                  </a:lnTo>
                  <a:lnTo>
                    <a:pt x="0" y="525"/>
                  </a:lnTo>
                  <a:lnTo>
                    <a:pt x="0" y="527"/>
                  </a:lnTo>
                  <a:lnTo>
                    <a:pt x="0" y="534"/>
                  </a:lnTo>
                  <a:lnTo>
                    <a:pt x="2" y="536"/>
                  </a:lnTo>
                  <a:lnTo>
                    <a:pt x="4" y="540"/>
                  </a:lnTo>
                  <a:lnTo>
                    <a:pt x="6" y="542"/>
                  </a:lnTo>
                  <a:lnTo>
                    <a:pt x="6" y="545"/>
                  </a:lnTo>
                  <a:lnTo>
                    <a:pt x="9" y="547"/>
                  </a:lnTo>
                  <a:lnTo>
                    <a:pt x="11" y="553"/>
                  </a:lnTo>
                  <a:lnTo>
                    <a:pt x="13" y="555"/>
                  </a:lnTo>
                  <a:lnTo>
                    <a:pt x="24" y="569"/>
                  </a:lnTo>
                  <a:lnTo>
                    <a:pt x="26" y="571"/>
                  </a:lnTo>
                  <a:lnTo>
                    <a:pt x="26" y="571"/>
                  </a:lnTo>
                  <a:lnTo>
                    <a:pt x="26" y="573"/>
                  </a:lnTo>
                  <a:lnTo>
                    <a:pt x="28" y="575"/>
                  </a:lnTo>
                  <a:lnTo>
                    <a:pt x="28" y="575"/>
                  </a:lnTo>
                  <a:lnTo>
                    <a:pt x="31" y="577"/>
                  </a:lnTo>
                  <a:lnTo>
                    <a:pt x="33" y="577"/>
                  </a:lnTo>
                  <a:lnTo>
                    <a:pt x="35" y="580"/>
                  </a:lnTo>
                  <a:lnTo>
                    <a:pt x="37" y="580"/>
                  </a:lnTo>
                  <a:lnTo>
                    <a:pt x="39" y="580"/>
                  </a:lnTo>
                  <a:lnTo>
                    <a:pt x="39" y="580"/>
                  </a:lnTo>
                  <a:lnTo>
                    <a:pt x="42" y="580"/>
                  </a:lnTo>
                  <a:lnTo>
                    <a:pt x="46" y="584"/>
                  </a:lnTo>
                  <a:lnTo>
                    <a:pt x="55" y="588"/>
                  </a:lnTo>
                  <a:lnTo>
                    <a:pt x="59" y="593"/>
                  </a:lnTo>
                  <a:lnTo>
                    <a:pt x="61" y="595"/>
                  </a:lnTo>
                  <a:lnTo>
                    <a:pt x="63" y="604"/>
                  </a:lnTo>
                  <a:lnTo>
                    <a:pt x="70" y="615"/>
                  </a:lnTo>
                  <a:lnTo>
                    <a:pt x="79" y="630"/>
                  </a:lnTo>
                  <a:lnTo>
                    <a:pt x="83" y="634"/>
                  </a:lnTo>
                  <a:lnTo>
                    <a:pt x="94" y="641"/>
                  </a:lnTo>
                  <a:lnTo>
                    <a:pt x="99" y="645"/>
                  </a:lnTo>
                  <a:lnTo>
                    <a:pt x="107" y="648"/>
                  </a:lnTo>
                  <a:lnTo>
                    <a:pt x="112" y="650"/>
                  </a:lnTo>
                  <a:lnTo>
                    <a:pt x="112" y="652"/>
                  </a:lnTo>
                  <a:lnTo>
                    <a:pt x="114" y="656"/>
                  </a:lnTo>
                  <a:lnTo>
                    <a:pt x="114" y="659"/>
                  </a:lnTo>
                  <a:lnTo>
                    <a:pt x="118" y="663"/>
                  </a:lnTo>
                  <a:lnTo>
                    <a:pt x="121" y="665"/>
                  </a:lnTo>
                  <a:lnTo>
                    <a:pt x="129" y="687"/>
                  </a:lnTo>
                  <a:lnTo>
                    <a:pt x="138" y="703"/>
                  </a:lnTo>
                  <a:lnTo>
                    <a:pt x="140" y="707"/>
                  </a:lnTo>
                  <a:lnTo>
                    <a:pt x="140" y="711"/>
                  </a:lnTo>
                  <a:lnTo>
                    <a:pt x="140" y="720"/>
                  </a:lnTo>
                  <a:lnTo>
                    <a:pt x="140" y="720"/>
                  </a:lnTo>
                  <a:lnTo>
                    <a:pt x="140" y="720"/>
                  </a:lnTo>
                  <a:lnTo>
                    <a:pt x="138" y="722"/>
                  </a:lnTo>
                  <a:lnTo>
                    <a:pt x="138" y="724"/>
                  </a:lnTo>
                  <a:lnTo>
                    <a:pt x="138" y="724"/>
                  </a:lnTo>
                  <a:lnTo>
                    <a:pt x="140" y="727"/>
                  </a:lnTo>
                  <a:lnTo>
                    <a:pt x="140" y="729"/>
                  </a:lnTo>
                  <a:lnTo>
                    <a:pt x="140" y="731"/>
                  </a:lnTo>
                  <a:lnTo>
                    <a:pt x="140" y="735"/>
                  </a:lnTo>
                  <a:lnTo>
                    <a:pt x="140" y="740"/>
                  </a:lnTo>
                  <a:lnTo>
                    <a:pt x="143" y="744"/>
                  </a:lnTo>
                  <a:lnTo>
                    <a:pt x="143" y="751"/>
                  </a:lnTo>
                  <a:lnTo>
                    <a:pt x="143" y="751"/>
                  </a:lnTo>
                  <a:lnTo>
                    <a:pt x="145" y="755"/>
                  </a:lnTo>
                  <a:lnTo>
                    <a:pt x="149" y="753"/>
                  </a:lnTo>
                  <a:lnTo>
                    <a:pt x="156" y="751"/>
                  </a:lnTo>
                  <a:lnTo>
                    <a:pt x="160" y="751"/>
                  </a:lnTo>
                  <a:lnTo>
                    <a:pt x="164" y="749"/>
                  </a:lnTo>
                  <a:lnTo>
                    <a:pt x="167" y="749"/>
                  </a:lnTo>
                  <a:lnTo>
                    <a:pt x="171" y="751"/>
                  </a:lnTo>
                  <a:lnTo>
                    <a:pt x="175" y="751"/>
                  </a:lnTo>
                  <a:lnTo>
                    <a:pt x="180" y="753"/>
                  </a:lnTo>
                  <a:lnTo>
                    <a:pt x="191" y="751"/>
                  </a:lnTo>
                  <a:lnTo>
                    <a:pt x="189" y="749"/>
                  </a:lnTo>
                  <a:lnTo>
                    <a:pt x="186" y="746"/>
                  </a:lnTo>
                  <a:lnTo>
                    <a:pt x="184" y="744"/>
                  </a:lnTo>
                  <a:lnTo>
                    <a:pt x="184" y="742"/>
                  </a:lnTo>
                  <a:lnTo>
                    <a:pt x="184" y="738"/>
                  </a:lnTo>
                  <a:lnTo>
                    <a:pt x="184" y="731"/>
                  </a:lnTo>
                  <a:lnTo>
                    <a:pt x="191" y="716"/>
                  </a:lnTo>
                  <a:lnTo>
                    <a:pt x="193" y="696"/>
                  </a:lnTo>
                  <a:lnTo>
                    <a:pt x="191" y="685"/>
                  </a:lnTo>
                  <a:lnTo>
                    <a:pt x="193" y="681"/>
                  </a:lnTo>
                  <a:lnTo>
                    <a:pt x="195" y="676"/>
                  </a:lnTo>
                  <a:lnTo>
                    <a:pt x="195" y="674"/>
                  </a:lnTo>
                  <a:lnTo>
                    <a:pt x="202" y="672"/>
                  </a:lnTo>
                  <a:lnTo>
                    <a:pt x="204" y="672"/>
                  </a:lnTo>
                  <a:lnTo>
                    <a:pt x="211" y="674"/>
                  </a:lnTo>
                  <a:lnTo>
                    <a:pt x="215" y="678"/>
                  </a:lnTo>
                  <a:lnTo>
                    <a:pt x="217" y="678"/>
                  </a:lnTo>
                  <a:lnTo>
                    <a:pt x="222" y="681"/>
                  </a:lnTo>
                  <a:lnTo>
                    <a:pt x="224" y="681"/>
                  </a:lnTo>
                  <a:lnTo>
                    <a:pt x="235" y="678"/>
                  </a:lnTo>
                  <a:lnTo>
                    <a:pt x="237" y="678"/>
                  </a:lnTo>
                  <a:lnTo>
                    <a:pt x="244" y="681"/>
                  </a:lnTo>
                  <a:lnTo>
                    <a:pt x="246" y="681"/>
                  </a:lnTo>
                  <a:lnTo>
                    <a:pt x="259" y="676"/>
                  </a:lnTo>
                  <a:lnTo>
                    <a:pt x="263" y="674"/>
                  </a:lnTo>
                  <a:lnTo>
                    <a:pt x="265" y="672"/>
                  </a:lnTo>
                  <a:lnTo>
                    <a:pt x="268" y="667"/>
                  </a:lnTo>
                  <a:lnTo>
                    <a:pt x="270" y="663"/>
                  </a:lnTo>
                  <a:lnTo>
                    <a:pt x="270" y="659"/>
                  </a:lnTo>
                  <a:lnTo>
                    <a:pt x="272" y="654"/>
                  </a:lnTo>
                  <a:lnTo>
                    <a:pt x="274" y="652"/>
                  </a:lnTo>
                  <a:lnTo>
                    <a:pt x="279" y="648"/>
                  </a:lnTo>
                  <a:lnTo>
                    <a:pt x="294" y="634"/>
                  </a:lnTo>
                  <a:lnTo>
                    <a:pt x="298" y="628"/>
                  </a:lnTo>
                  <a:lnTo>
                    <a:pt x="298" y="621"/>
                  </a:lnTo>
                  <a:lnTo>
                    <a:pt x="298" y="621"/>
                  </a:lnTo>
                  <a:close/>
                </a:path>
              </a:pathLst>
            </a:custGeom>
            <a:grpFill/>
            <a:ln w="3175" cap="rnd">
              <a:solidFill>
                <a:srgbClr val="F9F9F9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s-P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s-PE">
                <a:latin typeface="Corbel" panose="020B05030202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2626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343990" y="181942"/>
            <a:ext cx="8545185" cy="768107"/>
          </a:xfrm>
        </p:spPr>
        <p:txBody>
          <a:bodyPr/>
          <a:lstStyle/>
          <a:p>
            <a:r>
              <a:rPr lang="es-PE" sz="2800" b="1" dirty="0" smtClean="0">
                <a:latin typeface="Corbel" panose="020B0503020204020204" pitchFamily="34" charset="0"/>
              </a:rPr>
              <a:t>Perfil de los encuestados</a:t>
            </a:r>
            <a:endParaRPr lang="es-PE" sz="2800" b="1" dirty="0">
              <a:latin typeface="Corbel" panose="020B0503020204020204" pitchFamily="34" charset="0"/>
            </a:endParaRPr>
          </a:p>
        </p:txBody>
      </p:sp>
      <p:sp>
        <p:nvSpPr>
          <p:cNvPr id="41" name="Rectángulo redondeado 40"/>
          <p:cNvSpPr/>
          <p:nvPr/>
        </p:nvSpPr>
        <p:spPr bwMode="gray">
          <a:xfrm>
            <a:off x="725005" y="2744171"/>
            <a:ext cx="1001611" cy="347909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PE" b="1" dirty="0" smtClean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Sexo</a:t>
            </a:r>
          </a:p>
        </p:txBody>
      </p:sp>
      <p:cxnSp>
        <p:nvCxnSpPr>
          <p:cNvPr id="44" name="Straight Connector 13"/>
          <p:cNvCxnSpPr/>
          <p:nvPr/>
        </p:nvCxnSpPr>
        <p:spPr bwMode="gray">
          <a:xfrm flipH="1" flipV="1">
            <a:off x="4169860" y="2097817"/>
            <a:ext cx="1494092" cy="22675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13"/>
          <p:cNvCxnSpPr/>
          <p:nvPr/>
        </p:nvCxnSpPr>
        <p:spPr bwMode="gray">
          <a:xfrm flipH="1">
            <a:off x="3241231" y="4952026"/>
            <a:ext cx="2287123" cy="8009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ángulo redondeado 49"/>
          <p:cNvSpPr/>
          <p:nvPr/>
        </p:nvSpPr>
        <p:spPr bwMode="gray">
          <a:xfrm>
            <a:off x="1671732" y="4713920"/>
            <a:ext cx="1826841" cy="347909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PE" b="1" dirty="0" smtClean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Nivel educativo</a:t>
            </a:r>
          </a:p>
        </p:txBody>
      </p:sp>
      <p:sp>
        <p:nvSpPr>
          <p:cNvPr id="51" name="Rectángulo redondeado 50"/>
          <p:cNvSpPr/>
          <p:nvPr/>
        </p:nvSpPr>
        <p:spPr bwMode="gray">
          <a:xfrm>
            <a:off x="8335600" y="1317464"/>
            <a:ext cx="2399683" cy="267096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PE" b="1" dirty="0" smtClean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Rol en el hogar</a:t>
            </a:r>
          </a:p>
        </p:txBody>
      </p:sp>
      <p:sp>
        <p:nvSpPr>
          <p:cNvPr id="52" name="Rectángulo redondeado 51"/>
          <p:cNvSpPr/>
          <p:nvPr/>
        </p:nvSpPr>
        <p:spPr bwMode="gray">
          <a:xfrm>
            <a:off x="10345590" y="4543840"/>
            <a:ext cx="1001611" cy="347909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PE" b="1" dirty="0" smtClean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Edad</a:t>
            </a:r>
            <a:endParaRPr lang="es-PE" sz="1600" b="1" dirty="0" smtClean="0">
              <a:solidFill>
                <a:schemeClr val="tx1"/>
              </a:solidFill>
              <a:latin typeface="Corbel" panose="020B0503020204020204" pitchFamily="34" charset="0"/>
              <a:cs typeface="Arial" pitchFamily="34" charset="0"/>
            </a:endParaRPr>
          </a:p>
        </p:txBody>
      </p:sp>
      <p:sp>
        <p:nvSpPr>
          <p:cNvPr id="54" name="Rectángulo redondeado 53"/>
          <p:cNvSpPr/>
          <p:nvPr/>
        </p:nvSpPr>
        <p:spPr bwMode="gray">
          <a:xfrm>
            <a:off x="1721082" y="1212419"/>
            <a:ext cx="2794157" cy="435286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r>
              <a:rPr lang="es-PE" b="1" dirty="0" smtClean="0">
                <a:solidFill>
                  <a:schemeClr val="tx1"/>
                </a:solidFill>
                <a:latin typeface="Corbel" panose="020B0503020204020204" pitchFamily="34" charset="0"/>
                <a:cs typeface="Arial" pitchFamily="34" charset="0"/>
              </a:rPr>
              <a:t>Nivel socioeconómico</a:t>
            </a:r>
          </a:p>
        </p:txBody>
      </p:sp>
      <p:cxnSp>
        <p:nvCxnSpPr>
          <p:cNvPr id="53" name="Straight Connector 13"/>
          <p:cNvCxnSpPr/>
          <p:nvPr/>
        </p:nvCxnSpPr>
        <p:spPr bwMode="gray">
          <a:xfrm flipV="1">
            <a:off x="6852518" y="4110733"/>
            <a:ext cx="1920948" cy="1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13"/>
          <p:cNvCxnSpPr/>
          <p:nvPr/>
        </p:nvCxnSpPr>
        <p:spPr bwMode="gray">
          <a:xfrm flipV="1">
            <a:off x="6852518" y="2791817"/>
            <a:ext cx="1691772" cy="2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22"/>
          <p:cNvSpPr>
            <a:spLocks noChangeArrowheads="1"/>
          </p:cNvSpPr>
          <p:nvPr/>
        </p:nvSpPr>
        <p:spPr bwMode="gray">
          <a:xfrm>
            <a:off x="604097" y="3343315"/>
            <a:ext cx="418389" cy="737996"/>
          </a:xfrm>
          <a:custGeom>
            <a:avLst/>
            <a:gdLst/>
            <a:ahLst/>
            <a:cxnLst/>
            <a:rect l="l" t="t" r="r" b="b"/>
            <a:pathLst>
              <a:path w="248606" h="495932">
                <a:moveTo>
                  <a:pt x="85781" y="92257"/>
                </a:moveTo>
                <a:cubicBezTo>
                  <a:pt x="85781" y="92257"/>
                  <a:pt x="85781" y="92257"/>
                  <a:pt x="124412" y="92257"/>
                </a:cubicBezTo>
                <a:cubicBezTo>
                  <a:pt x="124412" y="92257"/>
                  <a:pt x="124412" y="92257"/>
                  <a:pt x="126283" y="92257"/>
                </a:cubicBezTo>
                <a:lnTo>
                  <a:pt x="139386" y="92257"/>
                </a:lnTo>
                <a:cubicBezTo>
                  <a:pt x="139386" y="92257"/>
                  <a:pt x="139386" y="92257"/>
                  <a:pt x="162825" y="92257"/>
                </a:cubicBezTo>
                <a:cubicBezTo>
                  <a:pt x="188869" y="92257"/>
                  <a:pt x="199720" y="106369"/>
                  <a:pt x="209486" y="135677"/>
                </a:cubicBezTo>
                <a:cubicBezTo>
                  <a:pt x="209486" y="135677"/>
                  <a:pt x="209486" y="135677"/>
                  <a:pt x="247466" y="253998"/>
                </a:cubicBezTo>
                <a:cubicBezTo>
                  <a:pt x="255062" y="276793"/>
                  <a:pt x="222508" y="287649"/>
                  <a:pt x="214912" y="264853"/>
                </a:cubicBezTo>
                <a:cubicBezTo>
                  <a:pt x="214912" y="264853"/>
                  <a:pt x="214912" y="264853"/>
                  <a:pt x="179102" y="155217"/>
                </a:cubicBezTo>
                <a:cubicBezTo>
                  <a:pt x="174762" y="155217"/>
                  <a:pt x="174762" y="155217"/>
                  <a:pt x="174762" y="333023"/>
                </a:cubicBezTo>
                <a:cubicBezTo>
                  <a:pt x="174762" y="333023"/>
                  <a:pt x="174762" y="333023"/>
                  <a:pt x="174762" y="471099"/>
                </a:cubicBezTo>
                <a:cubicBezTo>
                  <a:pt x="174762" y="504750"/>
                  <a:pt x="128101" y="503665"/>
                  <a:pt x="127016" y="471099"/>
                </a:cubicBezTo>
                <a:cubicBezTo>
                  <a:pt x="127016" y="471099"/>
                  <a:pt x="127016" y="471099"/>
                  <a:pt x="127016" y="287649"/>
                </a:cubicBezTo>
                <a:cubicBezTo>
                  <a:pt x="127016" y="287649"/>
                  <a:pt x="127016" y="287649"/>
                  <a:pt x="126202" y="287649"/>
                </a:cubicBezTo>
                <a:lnTo>
                  <a:pt x="120505" y="287649"/>
                </a:lnTo>
                <a:cubicBezTo>
                  <a:pt x="120505" y="287649"/>
                  <a:pt x="120505" y="287649"/>
                  <a:pt x="120505" y="471099"/>
                </a:cubicBezTo>
                <a:cubicBezTo>
                  <a:pt x="120505" y="503665"/>
                  <a:pt x="73844" y="504750"/>
                  <a:pt x="73844" y="471099"/>
                </a:cubicBezTo>
                <a:cubicBezTo>
                  <a:pt x="73844" y="471099"/>
                  <a:pt x="73844" y="471099"/>
                  <a:pt x="73844" y="155217"/>
                </a:cubicBezTo>
                <a:cubicBezTo>
                  <a:pt x="69504" y="155217"/>
                  <a:pt x="69504" y="155217"/>
                  <a:pt x="33694" y="264853"/>
                </a:cubicBezTo>
                <a:cubicBezTo>
                  <a:pt x="26098" y="287649"/>
                  <a:pt x="-6456" y="276793"/>
                  <a:pt x="1140" y="253998"/>
                </a:cubicBezTo>
                <a:cubicBezTo>
                  <a:pt x="1140" y="253998"/>
                  <a:pt x="1140" y="253998"/>
                  <a:pt x="39120" y="135677"/>
                </a:cubicBezTo>
                <a:cubicBezTo>
                  <a:pt x="48886" y="106369"/>
                  <a:pt x="59737" y="92257"/>
                  <a:pt x="85781" y="92257"/>
                </a:cubicBezTo>
                <a:close/>
                <a:moveTo>
                  <a:pt x="124258" y="0"/>
                </a:moveTo>
                <a:cubicBezTo>
                  <a:pt x="146613" y="0"/>
                  <a:pt x="164736" y="18123"/>
                  <a:pt x="164736" y="40478"/>
                </a:cubicBezTo>
                <a:cubicBezTo>
                  <a:pt x="164736" y="62833"/>
                  <a:pt x="146613" y="80956"/>
                  <a:pt x="124258" y="80956"/>
                </a:cubicBezTo>
                <a:cubicBezTo>
                  <a:pt x="101903" y="80956"/>
                  <a:pt x="83780" y="62833"/>
                  <a:pt x="83780" y="40478"/>
                </a:cubicBezTo>
                <a:cubicBezTo>
                  <a:pt x="83780" y="18123"/>
                  <a:pt x="101903" y="0"/>
                  <a:pt x="124258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2" name="Oval 8"/>
          <p:cNvSpPr>
            <a:spLocks noChangeArrowheads="1"/>
          </p:cNvSpPr>
          <p:nvPr/>
        </p:nvSpPr>
        <p:spPr bwMode="gray">
          <a:xfrm>
            <a:off x="1331388" y="3335015"/>
            <a:ext cx="422356" cy="717722"/>
          </a:xfrm>
          <a:custGeom>
            <a:avLst/>
            <a:gdLst/>
            <a:ahLst/>
            <a:cxnLst/>
            <a:rect l="l" t="t" r="r" b="b"/>
            <a:pathLst>
              <a:path w="227685" h="497559">
                <a:moveTo>
                  <a:pt x="85908" y="92067"/>
                </a:moveTo>
                <a:cubicBezTo>
                  <a:pt x="141893" y="92067"/>
                  <a:pt x="141893" y="92067"/>
                  <a:pt x="141893" y="92067"/>
                </a:cubicBezTo>
                <a:cubicBezTo>
                  <a:pt x="170221" y="92736"/>
                  <a:pt x="186949" y="116381"/>
                  <a:pt x="191857" y="129541"/>
                </a:cubicBezTo>
                <a:cubicBezTo>
                  <a:pt x="226652" y="245308"/>
                  <a:pt x="226652" y="245308"/>
                  <a:pt x="226652" y="245308"/>
                </a:cubicBezTo>
                <a:cubicBezTo>
                  <a:pt x="233790" y="270514"/>
                  <a:pt x="201894" y="280998"/>
                  <a:pt x="194310" y="256684"/>
                </a:cubicBezTo>
                <a:cubicBezTo>
                  <a:pt x="163083" y="149393"/>
                  <a:pt x="163083" y="149393"/>
                  <a:pt x="163083" y="149393"/>
                </a:cubicBezTo>
                <a:lnTo>
                  <a:pt x="154496" y="149393"/>
                </a:lnTo>
                <a:cubicBezTo>
                  <a:pt x="153269" y="149393"/>
                  <a:pt x="153269" y="149393"/>
                  <a:pt x="153269" y="149393"/>
                </a:cubicBezTo>
                <a:cubicBezTo>
                  <a:pt x="207916" y="337655"/>
                  <a:pt x="207916" y="337655"/>
                  <a:pt x="207916" y="337655"/>
                </a:cubicBezTo>
                <a:cubicBezTo>
                  <a:pt x="156838" y="337655"/>
                  <a:pt x="156838" y="337655"/>
                  <a:pt x="156838" y="337655"/>
                </a:cubicBezTo>
                <a:cubicBezTo>
                  <a:pt x="156838" y="478405"/>
                  <a:pt x="156838" y="478405"/>
                  <a:pt x="156838" y="478405"/>
                </a:cubicBezTo>
                <a:cubicBezTo>
                  <a:pt x="157284" y="504056"/>
                  <a:pt x="119365" y="503833"/>
                  <a:pt x="119588" y="478405"/>
                </a:cubicBezTo>
                <a:cubicBezTo>
                  <a:pt x="119588" y="337655"/>
                  <a:pt x="119588" y="337655"/>
                  <a:pt x="119588" y="337655"/>
                </a:cubicBezTo>
                <a:lnTo>
                  <a:pt x="108436" y="337655"/>
                </a:lnTo>
                <a:cubicBezTo>
                  <a:pt x="108436" y="478405"/>
                  <a:pt x="108436" y="478405"/>
                  <a:pt x="108436" y="478405"/>
                </a:cubicBezTo>
                <a:cubicBezTo>
                  <a:pt x="108213" y="504056"/>
                  <a:pt x="70071" y="504056"/>
                  <a:pt x="69625" y="478405"/>
                </a:cubicBezTo>
                <a:cubicBezTo>
                  <a:pt x="69625" y="337655"/>
                  <a:pt x="69625" y="337655"/>
                  <a:pt x="69625" y="337655"/>
                </a:cubicBezTo>
                <a:cubicBezTo>
                  <a:pt x="19885" y="337655"/>
                  <a:pt x="19885" y="337655"/>
                  <a:pt x="19885" y="337655"/>
                </a:cubicBezTo>
                <a:cubicBezTo>
                  <a:pt x="73417" y="149393"/>
                  <a:pt x="73417" y="149393"/>
                  <a:pt x="73417" y="149393"/>
                </a:cubicBezTo>
                <a:lnTo>
                  <a:pt x="65805" y="149393"/>
                </a:lnTo>
                <a:cubicBezTo>
                  <a:pt x="64718" y="149393"/>
                  <a:pt x="64718" y="149393"/>
                  <a:pt x="64718" y="149393"/>
                </a:cubicBezTo>
                <a:cubicBezTo>
                  <a:pt x="33491" y="256684"/>
                  <a:pt x="33491" y="256684"/>
                  <a:pt x="33491" y="256684"/>
                </a:cubicBezTo>
                <a:cubicBezTo>
                  <a:pt x="25684" y="280329"/>
                  <a:pt x="-6435" y="270737"/>
                  <a:pt x="1149" y="245308"/>
                </a:cubicBezTo>
                <a:cubicBezTo>
                  <a:pt x="36168" y="129541"/>
                  <a:pt x="36168" y="129541"/>
                  <a:pt x="36168" y="129541"/>
                </a:cubicBezTo>
                <a:cubicBezTo>
                  <a:pt x="40182" y="116158"/>
                  <a:pt x="56911" y="92736"/>
                  <a:pt x="85908" y="92067"/>
                </a:cubicBezTo>
                <a:close/>
                <a:moveTo>
                  <a:pt x="113914" y="0"/>
                </a:moveTo>
                <a:cubicBezTo>
                  <a:pt x="136261" y="0"/>
                  <a:pt x="154377" y="18116"/>
                  <a:pt x="154377" y="40463"/>
                </a:cubicBezTo>
                <a:cubicBezTo>
                  <a:pt x="154377" y="62810"/>
                  <a:pt x="136261" y="80926"/>
                  <a:pt x="113914" y="80926"/>
                </a:cubicBezTo>
                <a:cubicBezTo>
                  <a:pt x="91567" y="80926"/>
                  <a:pt x="73451" y="62810"/>
                  <a:pt x="73451" y="40463"/>
                </a:cubicBezTo>
                <a:cubicBezTo>
                  <a:pt x="73451" y="18116"/>
                  <a:pt x="91567" y="0"/>
                  <a:pt x="113914" y="0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3" name="CuadroTexto 62"/>
          <p:cNvSpPr txBox="1"/>
          <p:nvPr/>
        </p:nvSpPr>
        <p:spPr bwMode="gray">
          <a:xfrm>
            <a:off x="300569" y="4096306"/>
            <a:ext cx="937623" cy="5309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Hombres</a:t>
            </a:r>
          </a:p>
          <a:p>
            <a:pPr algn="ctr">
              <a:spcBef>
                <a:spcPts val="300"/>
              </a:spcBef>
            </a:pP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49%</a:t>
            </a:r>
          </a:p>
        </p:txBody>
      </p:sp>
      <p:sp>
        <p:nvSpPr>
          <p:cNvPr id="64" name="CuadroTexto 63"/>
          <p:cNvSpPr txBox="1"/>
          <p:nvPr/>
        </p:nvSpPr>
        <p:spPr bwMode="gray">
          <a:xfrm>
            <a:off x="1258526" y="4110733"/>
            <a:ext cx="87507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PE" sz="1600" dirty="0">
                <a:latin typeface="Corbel" panose="020B0503020204020204" pitchFamily="34" charset="0"/>
                <a:cs typeface="Arial" pitchFamily="34" charset="0"/>
              </a:rPr>
              <a:t>Mujeres </a:t>
            </a:r>
            <a:r>
              <a:rPr lang="es-PE" sz="1600" dirty="0" smtClean="0">
                <a:latin typeface="Corbel" panose="020B0503020204020204" pitchFamily="34" charset="0"/>
                <a:cs typeface="Arial" pitchFamily="34" charset="0"/>
              </a:rPr>
              <a:t>51%</a:t>
            </a:r>
            <a:endParaRPr lang="es-PE" sz="1600" dirty="0">
              <a:latin typeface="Corbel" panose="020B0503020204020204" pitchFamily="34" charset="0"/>
              <a:cs typeface="Arial" pitchFamily="34" charset="0"/>
            </a:endParaRPr>
          </a:p>
        </p:txBody>
      </p:sp>
      <p:graphicFrame>
        <p:nvGraphicFramePr>
          <p:cNvPr id="65" name="Gráfico 64"/>
          <p:cNvGraphicFramePr/>
          <p:nvPr>
            <p:extLst>
              <p:ext uri="{D42A27DB-BD31-4B8C-83A1-F6EECF244321}">
                <p14:modId xmlns:p14="http://schemas.microsoft.com/office/powerpoint/2010/main" val="3782087513"/>
              </p:ext>
            </p:extLst>
          </p:nvPr>
        </p:nvGraphicFramePr>
        <p:xfrm>
          <a:off x="7585657" y="4942471"/>
          <a:ext cx="3357946" cy="1585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6" name="CuadroTexto 65"/>
          <p:cNvSpPr txBox="1"/>
          <p:nvPr/>
        </p:nvSpPr>
        <p:spPr>
          <a:xfrm>
            <a:off x="8658878" y="3780353"/>
            <a:ext cx="1104798" cy="8945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PE" dirty="0" smtClean="0">
                <a:latin typeface="Corbel" panose="020B0503020204020204" pitchFamily="34" charset="0"/>
                <a:cs typeface="Arial" pitchFamily="34" charset="0"/>
              </a:rPr>
              <a:t>Edad promedio</a:t>
            </a:r>
          </a:p>
          <a:p>
            <a:pPr algn="ctr">
              <a:spcBef>
                <a:spcPts val="300"/>
              </a:spcBef>
            </a:pPr>
            <a:r>
              <a:rPr lang="es-PE" b="1" dirty="0" smtClean="0">
                <a:solidFill>
                  <a:schemeClr val="accent6"/>
                </a:solidFill>
                <a:latin typeface="Corbel" panose="020B0503020204020204" pitchFamily="34" charset="0"/>
                <a:cs typeface="Arial" pitchFamily="34" charset="0"/>
              </a:rPr>
              <a:t>39 años</a:t>
            </a:r>
          </a:p>
        </p:txBody>
      </p:sp>
      <p:graphicFrame>
        <p:nvGraphicFramePr>
          <p:cNvPr id="101" name="Gráfico 100"/>
          <p:cNvGraphicFramePr/>
          <p:nvPr>
            <p:extLst>
              <p:ext uri="{D42A27DB-BD31-4B8C-83A1-F6EECF244321}">
                <p14:modId xmlns:p14="http://schemas.microsoft.com/office/powerpoint/2010/main" val="219664459"/>
              </p:ext>
            </p:extLst>
          </p:nvPr>
        </p:nvGraphicFramePr>
        <p:xfrm>
          <a:off x="748241" y="5234495"/>
          <a:ext cx="3585517" cy="12444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2" name="Gráfico 101"/>
          <p:cNvGraphicFramePr/>
          <p:nvPr>
            <p:extLst>
              <p:ext uri="{D42A27DB-BD31-4B8C-83A1-F6EECF244321}">
                <p14:modId xmlns:p14="http://schemas.microsoft.com/office/powerpoint/2010/main" val="3750693093"/>
              </p:ext>
            </p:extLst>
          </p:nvPr>
        </p:nvGraphicFramePr>
        <p:xfrm>
          <a:off x="1626453" y="1720579"/>
          <a:ext cx="2990129" cy="1585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04" name="Straight Connector 13"/>
          <p:cNvCxnSpPr/>
          <p:nvPr/>
        </p:nvCxnSpPr>
        <p:spPr bwMode="gray">
          <a:xfrm flipH="1">
            <a:off x="2009178" y="3714693"/>
            <a:ext cx="3243509" cy="10748"/>
          </a:xfrm>
          <a:prstGeom prst="line">
            <a:avLst/>
          </a:prstGeom>
          <a:ln w="9525">
            <a:solidFill>
              <a:schemeClr val="accent3"/>
            </a:solidFill>
            <a:headEnd type="oval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Gráfico 55"/>
          <p:cNvGraphicFramePr/>
          <p:nvPr>
            <p:extLst>
              <p:ext uri="{D42A27DB-BD31-4B8C-83A1-F6EECF244321}">
                <p14:modId xmlns:p14="http://schemas.microsoft.com/office/powerpoint/2010/main" val="1957118560"/>
              </p:ext>
            </p:extLst>
          </p:nvPr>
        </p:nvGraphicFramePr>
        <p:xfrm>
          <a:off x="8062175" y="1951452"/>
          <a:ext cx="3422807" cy="1585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57" name="Imagen 5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834" y="469325"/>
            <a:ext cx="2157725" cy="644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263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solidFill>
            <a:srgbClr val="008442"/>
          </a:solidFill>
        </p:spPr>
        <p:txBody>
          <a:bodyPr/>
          <a:lstStyle/>
          <a:p>
            <a:pPr>
              <a:spcAft>
                <a:spcPts val="400"/>
              </a:spcAft>
            </a:pPr>
            <a:r>
              <a:rPr lang="es-419" sz="4400" dirty="0" smtClean="0">
                <a:latin typeface="Corbel" panose="020B0503020204020204" pitchFamily="34" charset="0"/>
              </a:rPr>
              <a:t>Corrupción como problema nacional</a:t>
            </a:r>
            <a:endParaRPr lang="es-PE" sz="4400" dirty="0">
              <a:latin typeface="Corbel" panose="020B0503020204020204" pitchFamily="34" charset="0"/>
            </a:endParaRPr>
          </a:p>
        </p:txBody>
      </p:sp>
      <p:sp>
        <p:nvSpPr>
          <p:cNvPr id="3" name="Rectángulo 2"/>
          <p:cNvSpPr/>
          <p:nvPr/>
        </p:nvSpPr>
        <p:spPr bwMode="gray">
          <a:xfrm>
            <a:off x="6542988" y="6353187"/>
            <a:ext cx="5366327" cy="40178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8977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F76F29E-7EE9-42F9-B3F6-AC12F733CE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482" y="1534506"/>
            <a:ext cx="4500425" cy="2213132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C224AE83-7A15-47A1-BDC8-4514953B28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128" y="4246952"/>
            <a:ext cx="3784871" cy="2119528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561318B7-C5B9-4388-AF2F-D6D24C9C53A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749"/>
          <a:stretch/>
        </p:blipFill>
        <p:spPr>
          <a:xfrm>
            <a:off x="5061269" y="848777"/>
            <a:ext cx="3269306" cy="3156995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7CA58067-934B-44B7-AF2C-9AC510F49789}"/>
              </a:ext>
            </a:extLst>
          </p:cNvPr>
          <p:cNvSpPr/>
          <p:nvPr/>
        </p:nvSpPr>
        <p:spPr>
          <a:xfrm>
            <a:off x="8835032" y="1957739"/>
            <a:ext cx="3187302" cy="2721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41093" indent="-241093">
              <a:spcBef>
                <a:spcPts val="844"/>
              </a:spcBef>
              <a:buFont typeface="Arial" panose="020B0604020202020204" pitchFamily="34" charset="0"/>
              <a:buChar char="•"/>
            </a:pPr>
            <a:r>
              <a:rPr lang="en-GB" sz="1969" dirty="0" err="1">
                <a:latin typeface="Corbel" panose="020B0503020204020204" pitchFamily="34" charset="0"/>
              </a:rPr>
              <a:t>Gobiernos</a:t>
            </a:r>
            <a:r>
              <a:rPr lang="en-GB" sz="1969" dirty="0">
                <a:latin typeface="Corbel" panose="020B0503020204020204" pitchFamily="34" charset="0"/>
              </a:rPr>
              <a:t> </a:t>
            </a:r>
            <a:r>
              <a:rPr lang="en-GB" sz="1969" dirty="0" err="1">
                <a:latin typeface="Corbel" panose="020B0503020204020204" pitchFamily="34" charset="0"/>
              </a:rPr>
              <a:t>Regionales</a:t>
            </a:r>
            <a:r>
              <a:rPr lang="en-GB" sz="1969" dirty="0">
                <a:latin typeface="Corbel" panose="020B0503020204020204" pitchFamily="34" charset="0"/>
              </a:rPr>
              <a:t>: 19 de 25 </a:t>
            </a:r>
            <a:r>
              <a:rPr lang="en-GB" sz="1969" dirty="0" err="1">
                <a:latin typeface="Corbel" panose="020B0503020204020204" pitchFamily="34" charset="0"/>
              </a:rPr>
              <a:t>Gobernadores</a:t>
            </a:r>
            <a:r>
              <a:rPr lang="en-GB" sz="1969" dirty="0">
                <a:latin typeface="Corbel" panose="020B0503020204020204" pitchFamily="34" charset="0"/>
              </a:rPr>
              <a:t> </a:t>
            </a:r>
            <a:r>
              <a:rPr lang="en-GB" sz="1969" dirty="0" err="1">
                <a:latin typeface="Corbel" panose="020B0503020204020204" pitchFamily="34" charset="0"/>
              </a:rPr>
              <a:t>investigados</a:t>
            </a:r>
            <a:r>
              <a:rPr lang="en-GB" sz="1969" dirty="0">
                <a:latin typeface="Corbel" panose="020B0503020204020204" pitchFamily="34" charset="0"/>
              </a:rPr>
              <a:t> </a:t>
            </a:r>
            <a:r>
              <a:rPr lang="en-GB" sz="1969" dirty="0" err="1">
                <a:latin typeface="Corbel" panose="020B0503020204020204" pitchFamily="34" charset="0"/>
              </a:rPr>
              <a:t>en</a:t>
            </a:r>
            <a:r>
              <a:rPr lang="en-GB" sz="1969" dirty="0">
                <a:latin typeface="Corbel" panose="020B0503020204020204" pitchFamily="34" charset="0"/>
              </a:rPr>
              <a:t> 158 </a:t>
            </a:r>
            <a:r>
              <a:rPr lang="en-GB" sz="1969" dirty="0" err="1">
                <a:latin typeface="Corbel" panose="020B0503020204020204" pitchFamily="34" charset="0"/>
              </a:rPr>
              <a:t>casos</a:t>
            </a:r>
            <a:r>
              <a:rPr lang="en-GB" sz="1969" dirty="0">
                <a:latin typeface="Corbel" panose="020B0503020204020204" pitchFamily="34" charset="0"/>
              </a:rPr>
              <a:t> de </a:t>
            </a:r>
            <a:r>
              <a:rPr lang="en-GB" sz="1969" dirty="0" err="1">
                <a:latin typeface="Corbel" panose="020B0503020204020204" pitchFamily="34" charset="0"/>
              </a:rPr>
              <a:t>corrupción</a:t>
            </a:r>
            <a:r>
              <a:rPr lang="en-GB" sz="1969" dirty="0">
                <a:latin typeface="Corbel" panose="020B0503020204020204" pitchFamily="34" charset="0"/>
              </a:rPr>
              <a:t>  (8 </a:t>
            </a:r>
            <a:r>
              <a:rPr lang="en-GB" sz="1969" dirty="0" err="1">
                <a:latin typeface="Corbel" panose="020B0503020204020204" pitchFamily="34" charset="0"/>
              </a:rPr>
              <a:t>presos</a:t>
            </a:r>
            <a:r>
              <a:rPr lang="en-GB" sz="1969" dirty="0">
                <a:latin typeface="Corbel" panose="020B0503020204020204" pitchFamily="34" charset="0"/>
              </a:rPr>
              <a:t>)</a:t>
            </a:r>
          </a:p>
          <a:p>
            <a:pPr marL="241093" indent="-241093">
              <a:spcBef>
                <a:spcPts val="844"/>
              </a:spcBef>
              <a:buFont typeface="Arial" panose="020B0604020202020204" pitchFamily="34" charset="0"/>
              <a:buChar char="•"/>
            </a:pPr>
            <a:endParaRPr lang="en-GB" sz="1969" dirty="0">
              <a:latin typeface="Corbel" panose="020B0503020204020204" pitchFamily="34" charset="0"/>
            </a:endParaRPr>
          </a:p>
          <a:p>
            <a:pPr marL="241093" indent="-241093">
              <a:spcBef>
                <a:spcPts val="844"/>
              </a:spcBef>
              <a:buFont typeface="Arial" panose="020B0604020202020204" pitchFamily="34" charset="0"/>
              <a:buChar char="•"/>
            </a:pPr>
            <a:r>
              <a:rPr lang="en-GB" sz="1969" dirty="0">
                <a:latin typeface="Corbel" panose="020B0503020204020204" pitchFamily="34" charset="0"/>
              </a:rPr>
              <a:t>92% de los alcaldes </a:t>
            </a:r>
            <a:r>
              <a:rPr lang="en-GB" sz="1969" dirty="0" err="1">
                <a:latin typeface="Corbel" panose="020B0503020204020204" pitchFamily="34" charset="0"/>
              </a:rPr>
              <a:t>están</a:t>
            </a:r>
            <a:r>
              <a:rPr lang="en-GB" sz="1969" dirty="0">
                <a:latin typeface="Corbel" panose="020B0503020204020204" pitchFamily="34" charset="0"/>
              </a:rPr>
              <a:t> </a:t>
            </a:r>
            <a:r>
              <a:rPr lang="en-GB" sz="1969" dirty="0" err="1">
                <a:latin typeface="Corbel" panose="020B0503020204020204" pitchFamily="34" charset="0"/>
              </a:rPr>
              <a:t>investigados</a:t>
            </a:r>
            <a:r>
              <a:rPr lang="en-GB" sz="1969" dirty="0">
                <a:latin typeface="Corbel" panose="020B0503020204020204" pitchFamily="34" charset="0"/>
              </a:rPr>
              <a:t> </a:t>
            </a:r>
            <a:r>
              <a:rPr lang="en-GB" sz="1969" dirty="0" err="1">
                <a:latin typeface="Corbel" panose="020B0503020204020204" pitchFamily="34" charset="0"/>
              </a:rPr>
              <a:t>por</a:t>
            </a:r>
            <a:r>
              <a:rPr lang="en-GB" sz="1969" dirty="0">
                <a:latin typeface="Corbel" panose="020B0503020204020204" pitchFamily="34" charset="0"/>
              </a:rPr>
              <a:t> </a:t>
            </a:r>
            <a:r>
              <a:rPr lang="en-GB" sz="1969" dirty="0" err="1" smtClean="0">
                <a:latin typeface="Corbel" panose="020B0503020204020204" pitchFamily="34" charset="0"/>
              </a:rPr>
              <a:t>corrupción</a:t>
            </a:r>
            <a:endParaRPr lang="en-GB" sz="1969" dirty="0">
              <a:latin typeface="Corbel" panose="020B0503020204020204" pitchFamily="34" charset="0"/>
            </a:endParaRPr>
          </a:p>
        </p:txBody>
      </p:sp>
      <p:sp>
        <p:nvSpPr>
          <p:cNvPr id="9" name="Título 10"/>
          <p:cNvSpPr txBox="1">
            <a:spLocks/>
          </p:cNvSpPr>
          <p:nvPr/>
        </p:nvSpPr>
        <p:spPr>
          <a:xfrm>
            <a:off x="224482" y="182480"/>
            <a:ext cx="6781625" cy="101954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/>
          <a:lstStyle>
            <a:lvl1pPr algn="l" defTabSz="121917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" sz="2800" dirty="0" smtClean="0">
                <a:latin typeface="Corbel" panose="020B0503020204020204" pitchFamily="34" charset="0"/>
              </a:rPr>
              <a:t>Algunos hitos que han marcado la historia de nuestro país en los últimos tres años</a:t>
            </a:r>
            <a:endParaRPr lang="es-419" sz="2800" dirty="0">
              <a:latin typeface="Corbel" panose="020B0503020204020204" pitchFamily="34" charset="0"/>
            </a:endParaRPr>
          </a:p>
        </p:txBody>
      </p:sp>
      <p:sp>
        <p:nvSpPr>
          <p:cNvPr id="2" name="Rectángulo 1"/>
          <p:cNvSpPr/>
          <p:nvPr/>
        </p:nvSpPr>
        <p:spPr bwMode="gray">
          <a:xfrm>
            <a:off x="8446416" y="6202837"/>
            <a:ext cx="3377306" cy="46191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PE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089945CD-496F-4026-B313-B936E6F00C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907" y="4364984"/>
            <a:ext cx="4110125" cy="2443605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 bwMode="gray">
          <a:xfrm>
            <a:off x="9469207" y="1534506"/>
            <a:ext cx="191895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PE" sz="1600" b="1" dirty="0" smtClean="0">
                <a:latin typeface="Arial" pitchFamily="34" charset="0"/>
                <a:cs typeface="Arial" pitchFamily="34" charset="0"/>
              </a:rPr>
              <a:t>Hasta el 2018</a:t>
            </a:r>
          </a:p>
        </p:txBody>
      </p:sp>
    </p:spTree>
    <p:extLst>
      <p:ext uri="{BB962C8B-B14F-4D97-AF65-F5344CB8AC3E}">
        <p14:creationId xmlns:p14="http://schemas.microsoft.com/office/powerpoint/2010/main" val="3914993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gfk">
  <a:themeElements>
    <a:clrScheme name="Paleta IEP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599B8"/>
      </a:accent1>
      <a:accent2>
        <a:srgbClr val="8DB795"/>
      </a:accent2>
      <a:accent3>
        <a:srgbClr val="CCC4A3"/>
      </a:accent3>
      <a:accent4>
        <a:srgbClr val="8EA9A3"/>
      </a:accent4>
      <a:accent5>
        <a:srgbClr val="2B8041"/>
      </a:accent5>
      <a:accent6>
        <a:srgbClr val="938518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Modelo de informe - IEP La República.potx" id="{1756A772-1D41-4C50-A678-2C0002506D05}" vid="{9A097EAD-4E10-4B9E-B72B-9A473CEC7379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forme OP Octubre 2018</Template>
  <TotalTime>29140</TotalTime>
  <Words>4114</Words>
  <Application>Microsoft Office PowerPoint</Application>
  <PresentationFormat>Panorámica</PresentationFormat>
  <Paragraphs>782</Paragraphs>
  <Slides>50</Slides>
  <Notes>46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50</vt:i4>
      </vt:variant>
    </vt:vector>
  </HeadingPairs>
  <TitlesOfParts>
    <vt:vector size="59" baseType="lpstr">
      <vt:lpstr>Arial</vt:lpstr>
      <vt:lpstr>Calibri</vt:lpstr>
      <vt:lpstr>Corbel</vt:lpstr>
      <vt:lpstr>Courier New</vt:lpstr>
      <vt:lpstr>Tahoma</vt:lpstr>
      <vt:lpstr>Times New Roman</vt:lpstr>
      <vt:lpstr>Wingdings</vt:lpstr>
      <vt:lpstr>gfk</vt:lpstr>
      <vt:lpstr>Diapositiva de think-cell</vt:lpstr>
      <vt:lpstr>XI Encuesta nacional anual sobre percepciones de corrupción</vt:lpstr>
      <vt:lpstr>Presentación de PowerPoint</vt:lpstr>
      <vt:lpstr>Objetivos y metodología</vt:lpstr>
      <vt:lpstr>Objetivo</vt:lpstr>
      <vt:lpstr>Metodología</vt:lpstr>
      <vt:lpstr>Composición de la muestra</vt:lpstr>
      <vt:lpstr>Perfil de los encuestados</vt:lpstr>
      <vt:lpstr>Corrupción como problema nacion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ero….¿qué entiende la gente por corrupción?</vt:lpstr>
      <vt:lpstr>Presentación de PowerPoint</vt:lpstr>
      <vt:lpstr>Presentación de PowerPoint</vt:lpstr>
      <vt:lpstr>Microcorrup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avores sexuales</vt:lpstr>
      <vt:lpstr>Presentación de PowerPoint</vt:lpstr>
      <vt:lpstr>Presentación de PowerPoint</vt:lpstr>
      <vt:lpstr>Presentación de PowerPoint</vt:lpstr>
      <vt:lpstr>Corrupción en las instituciones</vt:lpstr>
      <vt:lpstr>Presentación de PowerPoint</vt:lpstr>
      <vt:lpstr>Presentación de PowerPoint</vt:lpstr>
      <vt:lpstr>Caso Lava Jato</vt:lpstr>
      <vt:lpstr>Presentación de PowerPoint</vt:lpstr>
      <vt:lpstr>Presentación de PowerPoint</vt:lpstr>
      <vt:lpstr>Tolerancia a la corrupción</vt:lpstr>
      <vt:lpstr>Presentación de PowerPoint</vt:lpstr>
      <vt:lpstr>Presentación de PowerPoint</vt:lpstr>
      <vt:lpstr>Lucha contra la corrupción: ¿qué hacer?</vt:lpstr>
      <vt:lpstr>Presentación de PowerPoint</vt:lpstr>
      <vt:lpstr>Presentación de PowerPoint</vt:lpstr>
      <vt:lpstr>Presentación de PowerPoint</vt:lpstr>
      <vt:lpstr>Presentación de PowerPoint</vt:lpstr>
      <vt:lpstr>¿Cómo generar confianza en las instituciones públicas? La clave está en la rendición de cuentas y procesos transparentes</vt:lpstr>
      <vt:lpstr>Presentación de PowerPoint</vt:lpstr>
      <vt:lpstr>Acciones de la ciudadanía para luchar contra la corrupción. Aumenta intención de no pagar coimas ni votar por candidatos o partidos con antecedentes de corrupción.</vt:lpstr>
      <vt:lpstr>Conclusiones</vt:lpstr>
      <vt:lpstr>Presentación de PowerPoint</vt:lpstr>
      <vt:lpstr>Presentación de PowerPoint</vt:lpstr>
      <vt:lpstr>Presentación de PowerPoint</vt:lpstr>
      <vt:lpstr>¡Muchas gracias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bel 48 Título del informe</dc:title>
  <dc:creator>Laura Amaya</dc:creator>
  <cp:lastModifiedBy>Cynthia Sanchez (TI PE)</cp:lastModifiedBy>
  <cp:revision>3055</cp:revision>
  <cp:lastPrinted>2019-03-29T14:14:56Z</cp:lastPrinted>
  <dcterms:created xsi:type="dcterms:W3CDTF">2018-10-22T23:39:07Z</dcterms:created>
  <dcterms:modified xsi:type="dcterms:W3CDTF">2019-12-05T20:40:36Z</dcterms:modified>
</cp:coreProperties>
</file>